
<file path=[Content_Types].xml><?xml version="1.0" encoding="utf-8"?>
<Types xmlns="http://schemas.openxmlformats.org/package/2006/content-types">
  <Default Extension="xml" ContentType="application/xml"/>
  <Default Extension="wmf" ContentType="image/x-wmf"/>
  <Default Extension="jpg" ContentType="image/jpeg"/>
  <Default Extension="tiff" ContentType="image/tiff"/>
  <Default Extension="emf" ContentType="image/x-emf"/>
  <Default Extension="jpeg" ContentType="image/jpeg"/>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32.xml" ContentType="application/vnd.openxmlformats-officedocument.presentationml.notesSlide+xml"/>
  <Override PartName="/ppt/embeddings/oleObject1.bin" ContentType="application/vnd.openxmlformats-officedocument.oleObject"/>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46"/>
  </p:notesMasterIdLst>
  <p:handoutMasterIdLst>
    <p:handoutMasterId r:id="rId47"/>
  </p:handoutMasterIdLst>
  <p:sldIdLst>
    <p:sldId id="461" r:id="rId2"/>
    <p:sldId id="462" r:id="rId3"/>
    <p:sldId id="524" r:id="rId4"/>
    <p:sldId id="539" r:id="rId5"/>
    <p:sldId id="537" r:id="rId6"/>
    <p:sldId id="526" r:id="rId7"/>
    <p:sldId id="540" r:id="rId8"/>
    <p:sldId id="492" r:id="rId9"/>
    <p:sldId id="530" r:id="rId10"/>
    <p:sldId id="491" r:id="rId11"/>
    <p:sldId id="531" r:id="rId12"/>
    <p:sldId id="516" r:id="rId13"/>
    <p:sldId id="494" r:id="rId14"/>
    <p:sldId id="495" r:id="rId15"/>
    <p:sldId id="496" r:id="rId16"/>
    <p:sldId id="493" r:id="rId17"/>
    <p:sldId id="527" r:id="rId18"/>
    <p:sldId id="511" r:id="rId19"/>
    <p:sldId id="522" r:id="rId20"/>
    <p:sldId id="542" r:id="rId21"/>
    <p:sldId id="541" r:id="rId22"/>
    <p:sldId id="510" r:id="rId23"/>
    <p:sldId id="546" r:id="rId24"/>
    <p:sldId id="532" r:id="rId25"/>
    <p:sldId id="533" r:id="rId26"/>
    <p:sldId id="463" r:id="rId27"/>
    <p:sldId id="466" r:id="rId28"/>
    <p:sldId id="467" r:id="rId29"/>
    <p:sldId id="490" r:id="rId30"/>
    <p:sldId id="483" r:id="rId31"/>
    <p:sldId id="487" r:id="rId32"/>
    <p:sldId id="484" r:id="rId33"/>
    <p:sldId id="485" r:id="rId34"/>
    <p:sldId id="468" r:id="rId35"/>
    <p:sldId id="489" r:id="rId36"/>
    <p:sldId id="469" r:id="rId37"/>
    <p:sldId id="535" r:id="rId38"/>
    <p:sldId id="534" r:id="rId39"/>
    <p:sldId id="464" r:id="rId40"/>
    <p:sldId id="465" r:id="rId41"/>
    <p:sldId id="481" r:id="rId42"/>
    <p:sldId id="548" r:id="rId43"/>
    <p:sldId id="453" r:id="rId44"/>
    <p:sldId id="549" r:id="rId45"/>
  </p:sldIdLst>
  <p:sldSz cx="9144000" cy="5143500" type="screen16x9"/>
  <p:notesSz cx="7077075" cy="9363075"/>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xmlns="">
        <p15:guide id="1" orient="horz" pos="307">
          <p15:clr>
            <a:srgbClr val="A4A3A4"/>
          </p15:clr>
        </p15:guide>
        <p15:guide id="2" orient="horz" pos="3053">
          <p15:clr>
            <a:srgbClr val="A4A3A4"/>
          </p15:clr>
        </p15:guide>
        <p15:guide id="3" pos="2741">
          <p15:clr>
            <a:srgbClr val="A4A3A4"/>
          </p15:clr>
        </p15:guide>
        <p15:guide id="4" pos="2453">
          <p15:clr>
            <a:srgbClr val="A4A3A4"/>
          </p15:clr>
        </p15:guide>
        <p15:guide id="5" pos="5558">
          <p15:clr>
            <a:srgbClr val="A4A3A4"/>
          </p15:clr>
        </p15:guide>
        <p15:guide id="6" pos="399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0810"/>
    <a:srgbClr val="FDBE24"/>
    <a:srgbClr val="FA661C"/>
    <a:srgbClr val="90BDDB"/>
    <a:srgbClr val="335FFA"/>
    <a:srgbClr val="349A97"/>
    <a:srgbClr val="2C92B6"/>
    <a:srgbClr val="489542"/>
    <a:srgbClr val="545454"/>
    <a:srgbClr val="759CB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テーマ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0" autoAdjust="0"/>
    <p:restoredTop sz="80830" autoAdjust="0"/>
  </p:normalViewPr>
  <p:slideViewPr>
    <p:cSldViewPr snapToGrid="0" snapToObjects="1" showGuides="1">
      <p:cViewPr varScale="1">
        <p:scale>
          <a:sx n="125" d="100"/>
          <a:sy n="125" d="100"/>
        </p:scale>
        <p:origin x="-264" y="-104"/>
      </p:cViewPr>
      <p:guideLst>
        <p:guide orient="horz" pos="307"/>
        <p:guide orient="horz" pos="3053"/>
        <p:guide pos="2741"/>
        <p:guide pos="2453"/>
        <p:guide pos="5558"/>
        <p:guide pos="3998"/>
      </p:guideLst>
    </p:cSldViewPr>
  </p:slideViewPr>
  <p:notesTextViewPr>
    <p:cViewPr>
      <p:scale>
        <a:sx n="100" d="100"/>
        <a:sy n="100" d="100"/>
      </p:scale>
      <p:origin x="0" y="0"/>
    </p:cViewPr>
  </p:notesTextViewPr>
  <p:sorterViewPr>
    <p:cViewPr>
      <p:scale>
        <a:sx n="206" d="100"/>
        <a:sy n="20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notesMaster" Target="notesMasters/notesMaster1.xml"/><Relationship Id="rId47" Type="http://schemas.openxmlformats.org/officeDocument/2006/relationships/handoutMaster" Target="handoutMasters/handoutMaster1.xml"/><Relationship Id="rId48" Type="http://schemas.openxmlformats.org/officeDocument/2006/relationships/printerSettings" Target="printerSettings/printerSettings1.bin"/><Relationship Id="rId4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E55EF9-6519-3244-B20D-7B020EC68FE9}" type="doc">
      <dgm:prSet loTypeId="urn:microsoft.com/office/officeart/2005/8/layout/hProcess11" loCatId="" qsTypeId="urn:microsoft.com/office/officeart/2005/8/quickstyle/simple4" qsCatId="simple" csTypeId="urn:microsoft.com/office/officeart/2005/8/colors/accent1_2" csCatId="accent1" phldr="1"/>
      <dgm:spPr/>
      <dgm:t>
        <a:bodyPr/>
        <a:lstStyle/>
        <a:p>
          <a:endParaRPr lang="en-US"/>
        </a:p>
      </dgm:t>
    </dgm:pt>
    <dgm:pt modelId="{BEF050A4-A0E2-3147-A28C-6AFDEFEE7C7A}">
      <dgm:prSet phldrT="[Text]" custT="1"/>
      <dgm:spPr/>
      <dgm:t>
        <a:bodyPr/>
        <a:lstStyle/>
        <a:p>
          <a:r>
            <a:rPr lang="ja-JP" altLang="en-US" sz="1200" dirty="0" smtClean="0">
              <a:latin typeface="メイリオ"/>
              <a:ea typeface="メイリオ"/>
              <a:cs typeface="メイリオ"/>
            </a:rPr>
            <a:t>プロジェクトスタート</a:t>
          </a:r>
        </a:p>
        <a:p>
          <a:r>
            <a:rPr lang="en-US" altLang="en-US" sz="1200" dirty="0" smtClean="0">
              <a:latin typeface="メイリオ"/>
              <a:ea typeface="メイリオ"/>
              <a:cs typeface="メイリオ"/>
            </a:rPr>
            <a:t>(</a:t>
          </a:r>
          <a:r>
            <a:rPr lang="en-US" sz="1200" dirty="0" smtClean="0">
              <a:latin typeface="メイリオ"/>
              <a:ea typeface="メイリオ"/>
              <a:cs typeface="メイリオ"/>
            </a:rPr>
            <a:t>Lockhart</a:t>
          </a:r>
          <a:r>
            <a:rPr lang="en-US" altLang="en-US" sz="1200" dirty="0" smtClean="0">
              <a:latin typeface="メイリオ"/>
              <a:ea typeface="メイリオ"/>
              <a:cs typeface="メイリオ"/>
            </a:rPr>
            <a:t>)</a:t>
          </a:r>
          <a:endParaRPr lang="en-US" sz="1200" dirty="0">
            <a:latin typeface="メイリオ"/>
            <a:ea typeface="メイリオ"/>
            <a:cs typeface="メイリオ"/>
          </a:endParaRPr>
        </a:p>
      </dgm:t>
    </dgm:pt>
    <dgm:pt modelId="{3C7C4A8E-403C-724E-8EE7-1B756B6B4AF0}" type="parTrans" cxnId="{A61303AD-B437-5E43-A8AB-C5D3736ACD30}">
      <dgm:prSet/>
      <dgm:spPr/>
      <dgm:t>
        <a:bodyPr/>
        <a:lstStyle/>
        <a:p>
          <a:endParaRPr lang="en-US" sz="1200"/>
        </a:p>
      </dgm:t>
    </dgm:pt>
    <dgm:pt modelId="{7C9B5CA3-76EC-B741-9FC2-90A4F15DE6B2}" type="sibTrans" cxnId="{A61303AD-B437-5E43-A8AB-C5D3736ACD30}">
      <dgm:prSet/>
      <dgm:spPr/>
      <dgm:t>
        <a:bodyPr/>
        <a:lstStyle/>
        <a:p>
          <a:endParaRPr lang="en-US" sz="1200"/>
        </a:p>
      </dgm:t>
    </dgm:pt>
    <dgm:pt modelId="{ECBC59B3-CD29-F744-A6FA-89B1429A9750}">
      <dgm:prSet phldrT="[Text]" custT="1"/>
      <dgm:spPr/>
      <dgm:t>
        <a:bodyPr/>
        <a:lstStyle/>
        <a:p>
          <a:endParaRPr lang="en-US" sz="1200" dirty="0">
            <a:latin typeface="メイリオ"/>
            <a:ea typeface="メイリオ"/>
            <a:cs typeface="メイリオ"/>
          </a:endParaRPr>
        </a:p>
      </dgm:t>
    </dgm:pt>
    <dgm:pt modelId="{43A1BC33-5372-5649-9C07-501BECC21BA7}" type="parTrans" cxnId="{8031F91C-54C0-BC4A-B728-B1DE71C7F5A7}">
      <dgm:prSet/>
      <dgm:spPr/>
      <dgm:t>
        <a:bodyPr/>
        <a:lstStyle/>
        <a:p>
          <a:endParaRPr lang="en-US" sz="1200"/>
        </a:p>
      </dgm:t>
    </dgm:pt>
    <dgm:pt modelId="{BBF48719-0011-124E-A4B2-C1759836CEF5}" type="sibTrans" cxnId="{8031F91C-54C0-BC4A-B728-B1DE71C7F5A7}">
      <dgm:prSet/>
      <dgm:spPr/>
      <dgm:t>
        <a:bodyPr/>
        <a:lstStyle/>
        <a:p>
          <a:endParaRPr lang="en-US" sz="1200"/>
        </a:p>
      </dgm:t>
    </dgm:pt>
    <dgm:pt modelId="{EC0807D1-36D6-244C-852E-00A887E24DC8}">
      <dgm:prSet phldrT="[Text]" custT="1"/>
      <dgm:spPr/>
      <dgm:t>
        <a:bodyPr/>
        <a:lstStyle/>
        <a:p>
          <a:r>
            <a:rPr lang="ja-JP" altLang="en-US" sz="1200" dirty="0" smtClean="0">
              <a:latin typeface="メイリオ"/>
              <a:ea typeface="メイリオ"/>
              <a:cs typeface="メイリオ"/>
            </a:rPr>
            <a:t>日本価格表</a:t>
          </a:r>
        </a:p>
        <a:p>
          <a:r>
            <a:rPr lang="ja-JP" altLang="en-US" sz="1200" dirty="0" smtClean="0">
              <a:latin typeface="メイリオ"/>
              <a:ea typeface="メイリオ"/>
              <a:cs typeface="メイリオ"/>
            </a:rPr>
            <a:t>掲載予定？？</a:t>
          </a:r>
        </a:p>
      </dgm:t>
    </dgm:pt>
    <dgm:pt modelId="{FCF17E45-5769-294B-843F-8C91E8AF834C}" type="parTrans" cxnId="{3AC67467-9DCB-284A-B095-133B4B81CE3D}">
      <dgm:prSet/>
      <dgm:spPr/>
      <dgm:t>
        <a:bodyPr/>
        <a:lstStyle/>
        <a:p>
          <a:endParaRPr lang="en-US" sz="1200"/>
        </a:p>
      </dgm:t>
    </dgm:pt>
    <dgm:pt modelId="{4D0D465B-C859-B24A-A588-2F5A47B61DF1}" type="sibTrans" cxnId="{3AC67467-9DCB-284A-B095-133B4B81CE3D}">
      <dgm:prSet/>
      <dgm:spPr/>
      <dgm:t>
        <a:bodyPr/>
        <a:lstStyle/>
        <a:p>
          <a:endParaRPr lang="en-US" sz="1200"/>
        </a:p>
      </dgm:t>
    </dgm:pt>
    <dgm:pt modelId="{5D04613C-5FD0-BA49-97B3-65AF88B7559E}">
      <dgm:prSet phldrT="[Text]" custT="1"/>
      <dgm:spPr/>
      <dgm:t>
        <a:bodyPr/>
        <a:lstStyle/>
        <a:p>
          <a:r>
            <a:rPr lang="en-US" sz="1200" dirty="0" smtClean="0">
              <a:latin typeface="メイリオ"/>
              <a:ea typeface="メイリオ"/>
              <a:cs typeface="メイリオ"/>
            </a:rPr>
            <a:t>7/11 @ Cisco Live</a:t>
          </a:r>
          <a:r>
            <a:rPr lang="ja-JP" altLang="en-US" sz="1200" dirty="0" smtClean="0">
              <a:latin typeface="メイリオ"/>
              <a:ea typeface="メイリオ"/>
              <a:cs typeface="メイリオ"/>
            </a:rPr>
            <a:t> ラスベガス</a:t>
          </a:r>
          <a:endParaRPr lang="en-US" sz="1200" dirty="0">
            <a:latin typeface="メイリオ"/>
            <a:ea typeface="メイリオ"/>
            <a:cs typeface="メイリオ"/>
          </a:endParaRPr>
        </a:p>
      </dgm:t>
    </dgm:pt>
    <dgm:pt modelId="{5CC57FF1-7F86-D941-A4B6-E6CC24DD9912}" type="parTrans" cxnId="{D37967E6-D799-D44A-AD32-158321C0381E}">
      <dgm:prSet/>
      <dgm:spPr/>
      <dgm:t>
        <a:bodyPr/>
        <a:lstStyle/>
        <a:p>
          <a:endParaRPr lang="en-US" sz="1200"/>
        </a:p>
      </dgm:t>
    </dgm:pt>
    <dgm:pt modelId="{CB5A39D8-92AA-EB42-86D4-CFF077FF9B6F}" type="sibTrans" cxnId="{D37967E6-D799-D44A-AD32-158321C0381E}">
      <dgm:prSet/>
      <dgm:spPr/>
      <dgm:t>
        <a:bodyPr/>
        <a:lstStyle/>
        <a:p>
          <a:endParaRPr lang="en-US" sz="1200"/>
        </a:p>
      </dgm:t>
    </dgm:pt>
    <dgm:pt modelId="{2FCAF7C3-8614-F247-82E3-7A2E9357CE49}">
      <dgm:prSet phldrT="[Text]" custT="1"/>
      <dgm:spPr/>
      <dgm:t>
        <a:bodyPr/>
        <a:lstStyle/>
        <a:p>
          <a:r>
            <a:rPr lang="en-US" sz="1200" dirty="0" smtClean="0">
              <a:latin typeface="メイリオ"/>
              <a:ea typeface="メイリオ"/>
              <a:cs typeface="メイリオ"/>
            </a:rPr>
            <a:t>2/29 @ RSA</a:t>
          </a:r>
          <a:r>
            <a:rPr lang="ja-JP" altLang="en-US" sz="1200" dirty="0" smtClean="0">
              <a:latin typeface="メイリオ"/>
              <a:ea typeface="メイリオ"/>
              <a:cs typeface="メイリオ"/>
            </a:rPr>
            <a:t>カンファレンス発表　</a:t>
          </a:r>
          <a:r>
            <a:rPr lang="en-US" altLang="ja-JP" sz="1200" dirty="0" smtClean="0">
              <a:latin typeface="メイリオ"/>
              <a:ea typeface="メイリオ"/>
              <a:cs typeface="メイリオ"/>
            </a:rPr>
            <a:t>US Only</a:t>
          </a:r>
          <a:endParaRPr lang="en-US" sz="1200" dirty="0">
            <a:latin typeface="メイリオ"/>
            <a:ea typeface="メイリオ"/>
            <a:cs typeface="メイリオ"/>
          </a:endParaRPr>
        </a:p>
      </dgm:t>
    </dgm:pt>
    <dgm:pt modelId="{407CAA23-962B-174D-A4AF-1C4FECCB3219}" type="parTrans" cxnId="{0D732C7A-764E-1E48-877E-F24F48B6E0DA}">
      <dgm:prSet/>
      <dgm:spPr/>
      <dgm:t>
        <a:bodyPr/>
        <a:lstStyle/>
        <a:p>
          <a:endParaRPr lang="en-US"/>
        </a:p>
      </dgm:t>
    </dgm:pt>
    <dgm:pt modelId="{31910387-0B44-F448-B81C-B4A1FFFD429B}" type="sibTrans" cxnId="{0D732C7A-764E-1E48-877E-F24F48B6E0DA}">
      <dgm:prSet/>
      <dgm:spPr/>
      <dgm:t>
        <a:bodyPr/>
        <a:lstStyle/>
        <a:p>
          <a:endParaRPr lang="en-US"/>
        </a:p>
      </dgm:t>
    </dgm:pt>
    <dgm:pt modelId="{A09FE20C-FBFF-6A46-9C99-E0614D66B0FC}" type="pres">
      <dgm:prSet presAssocID="{37E55EF9-6519-3244-B20D-7B020EC68FE9}" presName="Name0" presStyleCnt="0">
        <dgm:presLayoutVars>
          <dgm:dir/>
          <dgm:resizeHandles val="exact"/>
        </dgm:presLayoutVars>
      </dgm:prSet>
      <dgm:spPr/>
      <dgm:t>
        <a:bodyPr/>
        <a:lstStyle/>
        <a:p>
          <a:endParaRPr lang="en-US"/>
        </a:p>
      </dgm:t>
    </dgm:pt>
    <dgm:pt modelId="{8F8BC91C-85DD-F140-AD99-9A86435402DC}" type="pres">
      <dgm:prSet presAssocID="{37E55EF9-6519-3244-B20D-7B020EC68FE9}" presName="arrow" presStyleLbl="bgShp" presStyleIdx="0" presStyleCnt="1" custLinFactNeighborX="8374" custLinFactNeighborY="-1427"/>
      <dgm:spPr/>
    </dgm:pt>
    <dgm:pt modelId="{9C8864F4-D7DA-E64A-B440-1C5DEFEEC19A}" type="pres">
      <dgm:prSet presAssocID="{37E55EF9-6519-3244-B20D-7B020EC68FE9}" presName="points" presStyleCnt="0"/>
      <dgm:spPr/>
    </dgm:pt>
    <dgm:pt modelId="{0ABF9711-386B-F04C-B0B5-1A569227905E}" type="pres">
      <dgm:prSet presAssocID="{BEF050A4-A0E2-3147-A28C-6AFDEFEE7C7A}" presName="compositeA" presStyleCnt="0"/>
      <dgm:spPr/>
    </dgm:pt>
    <dgm:pt modelId="{13752D28-8208-9E45-BC07-5D7D50258125}" type="pres">
      <dgm:prSet presAssocID="{BEF050A4-A0E2-3147-A28C-6AFDEFEE7C7A}" presName="textA" presStyleLbl="revTx" presStyleIdx="0" presStyleCnt="5" custScaleX="172424" custScaleY="68317" custLinFactNeighborX="29635" custLinFactNeighborY="21839">
        <dgm:presLayoutVars>
          <dgm:bulletEnabled val="1"/>
        </dgm:presLayoutVars>
      </dgm:prSet>
      <dgm:spPr/>
      <dgm:t>
        <a:bodyPr/>
        <a:lstStyle/>
        <a:p>
          <a:endParaRPr lang="en-US"/>
        </a:p>
      </dgm:t>
    </dgm:pt>
    <dgm:pt modelId="{C713D6C4-116A-734B-BAFF-6354E6BC3951}" type="pres">
      <dgm:prSet presAssocID="{BEF050A4-A0E2-3147-A28C-6AFDEFEE7C7A}" presName="circleA" presStyleLbl="node1" presStyleIdx="0" presStyleCnt="5" custLinFactNeighborX="53709" custLinFactNeighborY="-10388"/>
      <dgm:spPr/>
    </dgm:pt>
    <dgm:pt modelId="{086C4AC4-BF78-0347-A9F4-099A88A15E9E}" type="pres">
      <dgm:prSet presAssocID="{BEF050A4-A0E2-3147-A28C-6AFDEFEE7C7A}" presName="spaceA" presStyleCnt="0"/>
      <dgm:spPr/>
    </dgm:pt>
    <dgm:pt modelId="{725FF53F-7E98-F54F-B78D-476363B378A2}" type="pres">
      <dgm:prSet presAssocID="{7C9B5CA3-76EC-B741-9FC2-90A4F15DE6B2}" presName="space" presStyleCnt="0"/>
      <dgm:spPr/>
    </dgm:pt>
    <dgm:pt modelId="{D19F368F-E97A-8540-8A2F-0DFAA15E5137}" type="pres">
      <dgm:prSet presAssocID="{2FCAF7C3-8614-F247-82E3-7A2E9357CE49}" presName="compositeB" presStyleCnt="0"/>
      <dgm:spPr/>
    </dgm:pt>
    <dgm:pt modelId="{6725A608-B9A3-194D-B162-00DC4A16E86A}" type="pres">
      <dgm:prSet presAssocID="{2FCAF7C3-8614-F247-82E3-7A2E9357CE49}" presName="textB" presStyleLbl="revTx" presStyleIdx="1" presStyleCnt="5" custScaleX="218934" custScaleY="56997" custLinFactNeighborX="62206" custLinFactNeighborY="-25567">
        <dgm:presLayoutVars>
          <dgm:bulletEnabled val="1"/>
        </dgm:presLayoutVars>
      </dgm:prSet>
      <dgm:spPr/>
      <dgm:t>
        <a:bodyPr/>
        <a:lstStyle/>
        <a:p>
          <a:endParaRPr lang="en-US"/>
        </a:p>
      </dgm:t>
    </dgm:pt>
    <dgm:pt modelId="{E4E7A5AD-0697-9F47-9553-EA07912E646B}" type="pres">
      <dgm:prSet presAssocID="{2FCAF7C3-8614-F247-82E3-7A2E9357CE49}" presName="circleB" presStyleLbl="node1" presStyleIdx="1" presStyleCnt="5" custLinFactX="17922" custLinFactNeighborX="100000" custLinFactNeighborY="-72120"/>
      <dgm:spPr/>
    </dgm:pt>
    <dgm:pt modelId="{4D341B96-4B38-0D4C-B763-04DE03C312ED}" type="pres">
      <dgm:prSet presAssocID="{2FCAF7C3-8614-F247-82E3-7A2E9357CE49}" presName="spaceB" presStyleCnt="0"/>
      <dgm:spPr/>
    </dgm:pt>
    <dgm:pt modelId="{5B98A939-B8F4-9140-AD14-7944166FA526}" type="pres">
      <dgm:prSet presAssocID="{31910387-0B44-F448-B81C-B4A1FFFD429B}" presName="space" presStyleCnt="0"/>
      <dgm:spPr/>
    </dgm:pt>
    <dgm:pt modelId="{364C0E1B-5CC6-504A-97EC-9700D35325EE}" type="pres">
      <dgm:prSet presAssocID="{ECBC59B3-CD29-F744-A6FA-89B1429A9750}" presName="compositeA" presStyleCnt="0"/>
      <dgm:spPr/>
    </dgm:pt>
    <dgm:pt modelId="{BCC24287-CC94-5749-AB8F-A6D544FCAE9F}" type="pres">
      <dgm:prSet presAssocID="{ECBC59B3-CD29-F744-A6FA-89B1429A9750}" presName="textA" presStyleLbl="revTx" presStyleIdx="2" presStyleCnt="5" custScaleX="219996" custScaleY="40481" custLinFactNeighborX="74249" custLinFactNeighborY="41608">
        <dgm:presLayoutVars>
          <dgm:bulletEnabled val="1"/>
        </dgm:presLayoutVars>
      </dgm:prSet>
      <dgm:spPr/>
      <dgm:t>
        <a:bodyPr/>
        <a:lstStyle/>
        <a:p>
          <a:endParaRPr lang="en-US"/>
        </a:p>
      </dgm:t>
    </dgm:pt>
    <dgm:pt modelId="{64BA7C46-AC79-8F48-863F-9504A02CC442}" type="pres">
      <dgm:prSet presAssocID="{ECBC59B3-CD29-F744-A6FA-89B1429A9750}" presName="circleA" presStyleLbl="node1" presStyleIdx="2" presStyleCnt="5" custLinFactX="71910" custLinFactNeighborX="100000" custLinFactNeighborY="26691"/>
      <dgm:spPr/>
    </dgm:pt>
    <dgm:pt modelId="{6067E53A-08D7-5C45-888D-51710F680B5E}" type="pres">
      <dgm:prSet presAssocID="{ECBC59B3-CD29-F744-A6FA-89B1429A9750}" presName="spaceA" presStyleCnt="0"/>
      <dgm:spPr/>
    </dgm:pt>
    <dgm:pt modelId="{699A72CB-A506-F147-9C9A-F0832B33536D}" type="pres">
      <dgm:prSet presAssocID="{BBF48719-0011-124E-A4B2-C1759836CEF5}" presName="space" presStyleCnt="0"/>
      <dgm:spPr/>
    </dgm:pt>
    <dgm:pt modelId="{C20E53EA-CD40-7B42-9853-FF7422ABAAEB}" type="pres">
      <dgm:prSet presAssocID="{5D04613C-5FD0-BA49-97B3-65AF88B7559E}" presName="compositeB" presStyleCnt="0"/>
      <dgm:spPr/>
    </dgm:pt>
    <dgm:pt modelId="{427D35A0-4D6E-FF4B-A583-422879025932}" type="pres">
      <dgm:prSet presAssocID="{5D04613C-5FD0-BA49-97B3-65AF88B7559E}" presName="textB" presStyleLbl="revTx" presStyleIdx="3" presStyleCnt="5" custScaleX="240251" custScaleY="38688" custLinFactNeighborX="-80856" custLinFactNeighborY="-37484">
        <dgm:presLayoutVars>
          <dgm:bulletEnabled val="1"/>
        </dgm:presLayoutVars>
      </dgm:prSet>
      <dgm:spPr/>
      <dgm:t>
        <a:bodyPr/>
        <a:lstStyle/>
        <a:p>
          <a:endParaRPr lang="en-US"/>
        </a:p>
      </dgm:t>
    </dgm:pt>
    <dgm:pt modelId="{8AA31393-23B4-9548-814E-C6BC9080C625}" type="pres">
      <dgm:prSet presAssocID="{5D04613C-5FD0-BA49-97B3-65AF88B7559E}" presName="circleB" presStyleLbl="node1" presStyleIdx="3" presStyleCnt="5" custLinFactX="47159" custLinFactNeighborX="100000" custLinFactNeighborY="-81563"/>
      <dgm:spPr/>
    </dgm:pt>
    <dgm:pt modelId="{F6B8C8E0-6E6B-DD49-9730-EE2223CD378E}" type="pres">
      <dgm:prSet presAssocID="{5D04613C-5FD0-BA49-97B3-65AF88B7559E}" presName="spaceB" presStyleCnt="0"/>
      <dgm:spPr/>
    </dgm:pt>
    <dgm:pt modelId="{4B80A032-B87B-FC42-B132-8D7C63A0CE8F}" type="pres">
      <dgm:prSet presAssocID="{CB5A39D8-92AA-EB42-86D4-CFF077FF9B6F}" presName="space" presStyleCnt="0"/>
      <dgm:spPr/>
    </dgm:pt>
    <dgm:pt modelId="{73F7F6B4-6227-F94F-8285-70AE5B6F5064}" type="pres">
      <dgm:prSet presAssocID="{EC0807D1-36D6-244C-852E-00A887E24DC8}" presName="compositeA" presStyleCnt="0"/>
      <dgm:spPr/>
    </dgm:pt>
    <dgm:pt modelId="{E1C28521-12D6-D048-8F8F-E2A3612B520E}" type="pres">
      <dgm:prSet presAssocID="{EC0807D1-36D6-244C-852E-00A887E24DC8}" presName="textA" presStyleLbl="revTx" presStyleIdx="4" presStyleCnt="5" custScaleX="182498" custScaleY="40481" custLinFactNeighborX="-58574" custLinFactNeighborY="41312">
        <dgm:presLayoutVars>
          <dgm:bulletEnabled val="1"/>
        </dgm:presLayoutVars>
      </dgm:prSet>
      <dgm:spPr/>
      <dgm:t>
        <a:bodyPr/>
        <a:lstStyle/>
        <a:p>
          <a:endParaRPr lang="en-US"/>
        </a:p>
      </dgm:t>
    </dgm:pt>
    <dgm:pt modelId="{101CF234-16AF-2B44-9444-DBE5AA9E200C}" type="pres">
      <dgm:prSet presAssocID="{EC0807D1-36D6-244C-852E-00A887E24DC8}" presName="circleA" presStyleLbl="node1" presStyleIdx="4" presStyleCnt="5" custLinFactNeighborX="81632" custLinFactNeighborY="25685"/>
      <dgm:spPr/>
    </dgm:pt>
    <dgm:pt modelId="{6E7988A8-7E72-3747-9746-6A98E5023DC1}" type="pres">
      <dgm:prSet presAssocID="{EC0807D1-36D6-244C-852E-00A887E24DC8}" presName="spaceA" presStyleCnt="0"/>
      <dgm:spPr/>
    </dgm:pt>
  </dgm:ptLst>
  <dgm:cxnLst>
    <dgm:cxn modelId="{0D732C7A-764E-1E48-877E-F24F48B6E0DA}" srcId="{37E55EF9-6519-3244-B20D-7B020EC68FE9}" destId="{2FCAF7C3-8614-F247-82E3-7A2E9357CE49}" srcOrd="1" destOrd="0" parTransId="{407CAA23-962B-174D-A4AF-1C4FECCB3219}" sibTransId="{31910387-0B44-F448-B81C-B4A1FFFD429B}"/>
    <dgm:cxn modelId="{31A31051-20D9-EF47-959E-F6FEB3CF8B31}" type="presOf" srcId="{BEF050A4-A0E2-3147-A28C-6AFDEFEE7C7A}" destId="{13752D28-8208-9E45-BC07-5D7D50258125}" srcOrd="0" destOrd="0" presId="urn:microsoft.com/office/officeart/2005/8/layout/hProcess11"/>
    <dgm:cxn modelId="{1F9860B9-C6AB-D24E-9C69-0E6DBEA48AA3}" type="presOf" srcId="{2FCAF7C3-8614-F247-82E3-7A2E9357CE49}" destId="{6725A608-B9A3-194D-B162-00DC4A16E86A}" srcOrd="0" destOrd="0" presId="urn:microsoft.com/office/officeart/2005/8/layout/hProcess11"/>
    <dgm:cxn modelId="{6CAC1AC2-EA20-0A46-92DC-5BCB9491CED5}" type="presOf" srcId="{EC0807D1-36D6-244C-852E-00A887E24DC8}" destId="{E1C28521-12D6-D048-8F8F-E2A3612B520E}" srcOrd="0" destOrd="0" presId="urn:microsoft.com/office/officeart/2005/8/layout/hProcess11"/>
    <dgm:cxn modelId="{439A03EF-1FF0-0A46-BC77-426C4D39B13A}" type="presOf" srcId="{5D04613C-5FD0-BA49-97B3-65AF88B7559E}" destId="{427D35A0-4D6E-FF4B-A583-422879025932}" srcOrd="0" destOrd="0" presId="urn:microsoft.com/office/officeart/2005/8/layout/hProcess11"/>
    <dgm:cxn modelId="{E3933CCB-7876-6E48-A2B0-C69159334035}" type="presOf" srcId="{ECBC59B3-CD29-F744-A6FA-89B1429A9750}" destId="{BCC24287-CC94-5749-AB8F-A6D544FCAE9F}" srcOrd="0" destOrd="0" presId="urn:microsoft.com/office/officeart/2005/8/layout/hProcess11"/>
    <dgm:cxn modelId="{3DC0C6B0-A79F-6F4D-BE6F-5CB91692DBE2}" type="presOf" srcId="{37E55EF9-6519-3244-B20D-7B020EC68FE9}" destId="{A09FE20C-FBFF-6A46-9C99-E0614D66B0FC}" srcOrd="0" destOrd="0" presId="urn:microsoft.com/office/officeart/2005/8/layout/hProcess11"/>
    <dgm:cxn modelId="{D37967E6-D799-D44A-AD32-158321C0381E}" srcId="{37E55EF9-6519-3244-B20D-7B020EC68FE9}" destId="{5D04613C-5FD0-BA49-97B3-65AF88B7559E}" srcOrd="3" destOrd="0" parTransId="{5CC57FF1-7F86-D941-A4B6-E6CC24DD9912}" sibTransId="{CB5A39D8-92AA-EB42-86D4-CFF077FF9B6F}"/>
    <dgm:cxn modelId="{3AC67467-9DCB-284A-B095-133B4B81CE3D}" srcId="{37E55EF9-6519-3244-B20D-7B020EC68FE9}" destId="{EC0807D1-36D6-244C-852E-00A887E24DC8}" srcOrd="4" destOrd="0" parTransId="{FCF17E45-5769-294B-843F-8C91E8AF834C}" sibTransId="{4D0D465B-C859-B24A-A588-2F5A47B61DF1}"/>
    <dgm:cxn modelId="{A61303AD-B437-5E43-A8AB-C5D3736ACD30}" srcId="{37E55EF9-6519-3244-B20D-7B020EC68FE9}" destId="{BEF050A4-A0E2-3147-A28C-6AFDEFEE7C7A}" srcOrd="0" destOrd="0" parTransId="{3C7C4A8E-403C-724E-8EE7-1B756B6B4AF0}" sibTransId="{7C9B5CA3-76EC-B741-9FC2-90A4F15DE6B2}"/>
    <dgm:cxn modelId="{8031F91C-54C0-BC4A-B728-B1DE71C7F5A7}" srcId="{37E55EF9-6519-3244-B20D-7B020EC68FE9}" destId="{ECBC59B3-CD29-F744-A6FA-89B1429A9750}" srcOrd="2" destOrd="0" parTransId="{43A1BC33-5372-5649-9C07-501BECC21BA7}" sibTransId="{BBF48719-0011-124E-A4B2-C1759836CEF5}"/>
    <dgm:cxn modelId="{C022B379-D96E-3E45-AB42-DEFE05AED2B3}" type="presParOf" srcId="{A09FE20C-FBFF-6A46-9C99-E0614D66B0FC}" destId="{8F8BC91C-85DD-F140-AD99-9A86435402DC}" srcOrd="0" destOrd="0" presId="urn:microsoft.com/office/officeart/2005/8/layout/hProcess11"/>
    <dgm:cxn modelId="{B99321B2-9033-564A-AFCF-68059036ABAC}" type="presParOf" srcId="{A09FE20C-FBFF-6A46-9C99-E0614D66B0FC}" destId="{9C8864F4-D7DA-E64A-B440-1C5DEFEEC19A}" srcOrd="1" destOrd="0" presId="urn:microsoft.com/office/officeart/2005/8/layout/hProcess11"/>
    <dgm:cxn modelId="{AAA7020D-295A-EA44-BA8F-F353836F6482}" type="presParOf" srcId="{9C8864F4-D7DA-E64A-B440-1C5DEFEEC19A}" destId="{0ABF9711-386B-F04C-B0B5-1A569227905E}" srcOrd="0" destOrd="0" presId="urn:microsoft.com/office/officeart/2005/8/layout/hProcess11"/>
    <dgm:cxn modelId="{1F2FFBF9-D535-B140-A0B9-7E00C372234B}" type="presParOf" srcId="{0ABF9711-386B-F04C-B0B5-1A569227905E}" destId="{13752D28-8208-9E45-BC07-5D7D50258125}" srcOrd="0" destOrd="0" presId="urn:microsoft.com/office/officeart/2005/8/layout/hProcess11"/>
    <dgm:cxn modelId="{7BF4EC09-FC77-654E-B0E7-14FCA44AF318}" type="presParOf" srcId="{0ABF9711-386B-F04C-B0B5-1A569227905E}" destId="{C713D6C4-116A-734B-BAFF-6354E6BC3951}" srcOrd="1" destOrd="0" presId="urn:microsoft.com/office/officeart/2005/8/layout/hProcess11"/>
    <dgm:cxn modelId="{6997D278-4405-6846-8DE3-D3B8A4600914}" type="presParOf" srcId="{0ABF9711-386B-F04C-B0B5-1A569227905E}" destId="{086C4AC4-BF78-0347-A9F4-099A88A15E9E}" srcOrd="2" destOrd="0" presId="urn:microsoft.com/office/officeart/2005/8/layout/hProcess11"/>
    <dgm:cxn modelId="{7307B00A-212E-894F-A63E-FE1BD68AADD2}" type="presParOf" srcId="{9C8864F4-D7DA-E64A-B440-1C5DEFEEC19A}" destId="{725FF53F-7E98-F54F-B78D-476363B378A2}" srcOrd="1" destOrd="0" presId="urn:microsoft.com/office/officeart/2005/8/layout/hProcess11"/>
    <dgm:cxn modelId="{88440CDF-EB38-8D46-8035-FA42A55EBDA4}" type="presParOf" srcId="{9C8864F4-D7DA-E64A-B440-1C5DEFEEC19A}" destId="{D19F368F-E97A-8540-8A2F-0DFAA15E5137}" srcOrd="2" destOrd="0" presId="urn:microsoft.com/office/officeart/2005/8/layout/hProcess11"/>
    <dgm:cxn modelId="{01005EE4-7121-454D-AE54-CD4A7F35C609}" type="presParOf" srcId="{D19F368F-E97A-8540-8A2F-0DFAA15E5137}" destId="{6725A608-B9A3-194D-B162-00DC4A16E86A}" srcOrd="0" destOrd="0" presId="urn:microsoft.com/office/officeart/2005/8/layout/hProcess11"/>
    <dgm:cxn modelId="{98C74A63-E44E-8949-8F7D-01A7CC4FC081}" type="presParOf" srcId="{D19F368F-E97A-8540-8A2F-0DFAA15E5137}" destId="{E4E7A5AD-0697-9F47-9553-EA07912E646B}" srcOrd="1" destOrd="0" presId="urn:microsoft.com/office/officeart/2005/8/layout/hProcess11"/>
    <dgm:cxn modelId="{F545E0AE-B4E1-DB49-8D36-F3BD84E9E45E}" type="presParOf" srcId="{D19F368F-E97A-8540-8A2F-0DFAA15E5137}" destId="{4D341B96-4B38-0D4C-B763-04DE03C312ED}" srcOrd="2" destOrd="0" presId="urn:microsoft.com/office/officeart/2005/8/layout/hProcess11"/>
    <dgm:cxn modelId="{240EE5E7-C915-9C4F-8124-580AED28ACAD}" type="presParOf" srcId="{9C8864F4-D7DA-E64A-B440-1C5DEFEEC19A}" destId="{5B98A939-B8F4-9140-AD14-7944166FA526}" srcOrd="3" destOrd="0" presId="urn:microsoft.com/office/officeart/2005/8/layout/hProcess11"/>
    <dgm:cxn modelId="{FD479539-3D6C-2241-BF54-4E4D5252BD34}" type="presParOf" srcId="{9C8864F4-D7DA-E64A-B440-1C5DEFEEC19A}" destId="{364C0E1B-5CC6-504A-97EC-9700D35325EE}" srcOrd="4" destOrd="0" presId="urn:microsoft.com/office/officeart/2005/8/layout/hProcess11"/>
    <dgm:cxn modelId="{AF6EA2C6-6065-764E-BE2B-79E92EBB2862}" type="presParOf" srcId="{364C0E1B-5CC6-504A-97EC-9700D35325EE}" destId="{BCC24287-CC94-5749-AB8F-A6D544FCAE9F}" srcOrd="0" destOrd="0" presId="urn:microsoft.com/office/officeart/2005/8/layout/hProcess11"/>
    <dgm:cxn modelId="{817C11CA-27CC-C84C-B261-CFB97A4FB48D}" type="presParOf" srcId="{364C0E1B-5CC6-504A-97EC-9700D35325EE}" destId="{64BA7C46-AC79-8F48-863F-9504A02CC442}" srcOrd="1" destOrd="0" presId="urn:microsoft.com/office/officeart/2005/8/layout/hProcess11"/>
    <dgm:cxn modelId="{440ADE4C-FD54-C444-A35F-3A33613D5D91}" type="presParOf" srcId="{364C0E1B-5CC6-504A-97EC-9700D35325EE}" destId="{6067E53A-08D7-5C45-888D-51710F680B5E}" srcOrd="2" destOrd="0" presId="urn:microsoft.com/office/officeart/2005/8/layout/hProcess11"/>
    <dgm:cxn modelId="{F1C85FE0-F237-C34F-94A8-D3F163E7932A}" type="presParOf" srcId="{9C8864F4-D7DA-E64A-B440-1C5DEFEEC19A}" destId="{699A72CB-A506-F147-9C9A-F0832B33536D}" srcOrd="5" destOrd="0" presId="urn:microsoft.com/office/officeart/2005/8/layout/hProcess11"/>
    <dgm:cxn modelId="{70E26645-D026-8C4F-ABC4-327139BEF1B3}" type="presParOf" srcId="{9C8864F4-D7DA-E64A-B440-1C5DEFEEC19A}" destId="{C20E53EA-CD40-7B42-9853-FF7422ABAAEB}" srcOrd="6" destOrd="0" presId="urn:microsoft.com/office/officeart/2005/8/layout/hProcess11"/>
    <dgm:cxn modelId="{C840A6DE-61BA-E641-AC67-F263AC6EAF75}" type="presParOf" srcId="{C20E53EA-CD40-7B42-9853-FF7422ABAAEB}" destId="{427D35A0-4D6E-FF4B-A583-422879025932}" srcOrd="0" destOrd="0" presId="urn:microsoft.com/office/officeart/2005/8/layout/hProcess11"/>
    <dgm:cxn modelId="{7A421BA3-49D0-7548-AF9C-BEBE267058E4}" type="presParOf" srcId="{C20E53EA-CD40-7B42-9853-FF7422ABAAEB}" destId="{8AA31393-23B4-9548-814E-C6BC9080C625}" srcOrd="1" destOrd="0" presId="urn:microsoft.com/office/officeart/2005/8/layout/hProcess11"/>
    <dgm:cxn modelId="{D5D296C4-10BC-114F-A9DA-2782C57476E1}" type="presParOf" srcId="{C20E53EA-CD40-7B42-9853-FF7422ABAAEB}" destId="{F6B8C8E0-6E6B-DD49-9730-EE2223CD378E}" srcOrd="2" destOrd="0" presId="urn:microsoft.com/office/officeart/2005/8/layout/hProcess11"/>
    <dgm:cxn modelId="{EE0B966D-83D7-AB4B-848E-04AE01D053DF}" type="presParOf" srcId="{9C8864F4-D7DA-E64A-B440-1C5DEFEEC19A}" destId="{4B80A032-B87B-FC42-B132-8D7C63A0CE8F}" srcOrd="7" destOrd="0" presId="urn:microsoft.com/office/officeart/2005/8/layout/hProcess11"/>
    <dgm:cxn modelId="{E8388944-1B8B-5F41-BF81-92D79AB90872}" type="presParOf" srcId="{9C8864F4-D7DA-E64A-B440-1C5DEFEEC19A}" destId="{73F7F6B4-6227-F94F-8285-70AE5B6F5064}" srcOrd="8" destOrd="0" presId="urn:microsoft.com/office/officeart/2005/8/layout/hProcess11"/>
    <dgm:cxn modelId="{DEB5A445-F6C9-4B4B-B0E0-5F87EFBAE658}" type="presParOf" srcId="{73F7F6B4-6227-F94F-8285-70AE5B6F5064}" destId="{E1C28521-12D6-D048-8F8F-E2A3612B520E}" srcOrd="0" destOrd="0" presId="urn:microsoft.com/office/officeart/2005/8/layout/hProcess11"/>
    <dgm:cxn modelId="{9729823B-8001-9442-A1B8-7B380048EE7A}" type="presParOf" srcId="{73F7F6B4-6227-F94F-8285-70AE5B6F5064}" destId="{101CF234-16AF-2B44-9444-DBE5AA9E200C}" srcOrd="1" destOrd="0" presId="urn:microsoft.com/office/officeart/2005/8/layout/hProcess11"/>
    <dgm:cxn modelId="{715E02C2-9CB0-D44A-B65D-CD2A9F2B2FDC}" type="presParOf" srcId="{73F7F6B4-6227-F94F-8285-70AE5B6F5064}" destId="{6E7988A8-7E72-3747-9746-6A98E5023DC1}"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8BC91C-85DD-F140-AD99-9A86435402DC}">
      <dsp:nvSpPr>
        <dsp:cNvPr id="0" name=""/>
        <dsp:cNvSpPr/>
      </dsp:nvSpPr>
      <dsp:spPr>
        <a:xfrm>
          <a:off x="0" y="904637"/>
          <a:ext cx="8280057" cy="1229578"/>
        </a:xfrm>
        <a:prstGeom prst="notchedRightArrow">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13752D28-8208-9E45-BC07-5D7D50258125}">
      <dsp:nvSpPr>
        <dsp:cNvPr id="0" name=""/>
        <dsp:cNvSpPr/>
      </dsp:nvSpPr>
      <dsp:spPr>
        <a:xfrm>
          <a:off x="210201" y="365919"/>
          <a:ext cx="1218721" cy="840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r>
            <a:rPr lang="ja-JP" altLang="en-US" sz="1200" kern="1200" dirty="0" smtClean="0">
              <a:latin typeface="メイリオ"/>
              <a:ea typeface="メイリオ"/>
              <a:cs typeface="メイリオ"/>
            </a:rPr>
            <a:t>プロジェクトスタート</a:t>
          </a:r>
        </a:p>
        <a:p>
          <a:pPr lvl="0" algn="ctr" defTabSz="533400">
            <a:lnSpc>
              <a:spcPct val="90000"/>
            </a:lnSpc>
            <a:spcBef>
              <a:spcPct val="0"/>
            </a:spcBef>
            <a:spcAft>
              <a:spcPct val="35000"/>
            </a:spcAft>
          </a:pPr>
          <a:r>
            <a:rPr lang="en-US" altLang="en-US" sz="1200" kern="1200" dirty="0" smtClean="0">
              <a:latin typeface="メイリオ"/>
              <a:ea typeface="メイリオ"/>
              <a:cs typeface="メイリオ"/>
            </a:rPr>
            <a:t>(</a:t>
          </a:r>
          <a:r>
            <a:rPr lang="en-US" sz="1200" kern="1200" dirty="0" smtClean="0">
              <a:latin typeface="メイリオ"/>
              <a:ea typeface="メイリオ"/>
              <a:cs typeface="メイリオ"/>
            </a:rPr>
            <a:t>Lockhart</a:t>
          </a:r>
          <a:r>
            <a:rPr lang="en-US" altLang="en-US" sz="1200" kern="1200" dirty="0" smtClean="0">
              <a:latin typeface="メイリオ"/>
              <a:ea typeface="メイリオ"/>
              <a:cs typeface="メイリオ"/>
            </a:rPr>
            <a:t>)</a:t>
          </a:r>
          <a:endParaRPr lang="en-US" sz="1200" kern="1200" dirty="0">
            <a:latin typeface="メイリオ"/>
            <a:ea typeface="メイリオ"/>
            <a:cs typeface="メイリオ"/>
          </a:endParaRPr>
        </a:p>
      </dsp:txBody>
      <dsp:txXfrm>
        <a:off x="210201" y="365919"/>
        <a:ext cx="1218721" cy="840011"/>
      </dsp:txXfrm>
    </dsp:sp>
    <dsp:sp modelId="{C713D6C4-116A-734B-BAFF-6354E6BC3951}">
      <dsp:nvSpPr>
        <dsp:cNvPr id="0" name=""/>
        <dsp:cNvSpPr/>
      </dsp:nvSpPr>
      <dsp:spPr>
        <a:xfrm>
          <a:off x="621498" y="1253951"/>
          <a:ext cx="307394" cy="30739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725A608-B9A3-194D-B162-00DC4A16E86A}">
      <dsp:nvSpPr>
        <dsp:cNvPr id="0" name=""/>
        <dsp:cNvSpPr/>
      </dsp:nvSpPr>
      <dsp:spPr>
        <a:xfrm>
          <a:off x="1694481" y="1926567"/>
          <a:ext cx="1547462" cy="700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r>
            <a:rPr lang="en-US" sz="1200" kern="1200" dirty="0" smtClean="0">
              <a:latin typeface="メイリオ"/>
              <a:ea typeface="メイリオ"/>
              <a:cs typeface="メイリオ"/>
            </a:rPr>
            <a:t>2/29 @ RSA</a:t>
          </a:r>
          <a:r>
            <a:rPr lang="ja-JP" altLang="en-US" sz="1200" kern="1200" dirty="0" smtClean="0">
              <a:latin typeface="メイリオ"/>
              <a:ea typeface="メイリオ"/>
              <a:cs typeface="メイリオ"/>
            </a:rPr>
            <a:t>カンファレンス発表　</a:t>
          </a:r>
          <a:r>
            <a:rPr lang="en-US" altLang="ja-JP" sz="1200" kern="1200" dirty="0" smtClean="0">
              <a:latin typeface="メイリオ"/>
              <a:ea typeface="メイリオ"/>
              <a:cs typeface="メイリオ"/>
            </a:rPr>
            <a:t>US Only</a:t>
          </a:r>
          <a:endParaRPr lang="en-US" sz="1200" kern="1200" dirty="0">
            <a:latin typeface="メイリオ"/>
            <a:ea typeface="メイリオ"/>
            <a:cs typeface="メイリオ"/>
          </a:endParaRPr>
        </a:p>
      </dsp:txBody>
      <dsp:txXfrm>
        <a:off x="1694481" y="1926567"/>
        <a:ext cx="1547462" cy="700822"/>
      </dsp:txXfrm>
    </dsp:sp>
    <dsp:sp modelId="{E4E7A5AD-0697-9F47-9553-EA07912E646B}">
      <dsp:nvSpPr>
        <dsp:cNvPr id="0" name=""/>
        <dsp:cNvSpPr/>
      </dsp:nvSpPr>
      <dsp:spPr>
        <a:xfrm>
          <a:off x="2237319" y="1293771"/>
          <a:ext cx="307394" cy="30739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CC24287-CC94-5749-AB8F-A6D544FCAE9F}">
      <dsp:nvSpPr>
        <dsp:cNvPr id="0" name=""/>
        <dsp:cNvSpPr/>
      </dsp:nvSpPr>
      <dsp:spPr>
        <a:xfrm>
          <a:off x="3362407" y="694561"/>
          <a:ext cx="1554968" cy="497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endParaRPr lang="en-US" sz="1200" kern="1200" dirty="0">
            <a:latin typeface="メイリオ"/>
            <a:ea typeface="メイリオ"/>
            <a:cs typeface="メイリオ"/>
          </a:endParaRPr>
        </a:p>
      </dsp:txBody>
      <dsp:txXfrm>
        <a:off x="3362407" y="694561"/>
        <a:ext cx="1554968" cy="497745"/>
      </dsp:txXfrm>
    </dsp:sp>
    <dsp:sp modelId="{64BA7C46-AC79-8F48-863F-9504A02CC442}">
      <dsp:nvSpPr>
        <dsp:cNvPr id="0" name=""/>
        <dsp:cNvSpPr/>
      </dsp:nvSpPr>
      <dsp:spPr>
        <a:xfrm>
          <a:off x="3989831" y="1282364"/>
          <a:ext cx="307394" cy="30739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27D35A0-4D6E-FF4B-A583-422879025932}">
      <dsp:nvSpPr>
        <dsp:cNvPr id="0" name=""/>
        <dsp:cNvSpPr/>
      </dsp:nvSpPr>
      <dsp:spPr>
        <a:xfrm>
          <a:off x="3856408" y="1948881"/>
          <a:ext cx="1698134" cy="4756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lvl="0" algn="ctr" defTabSz="533400">
            <a:lnSpc>
              <a:spcPct val="90000"/>
            </a:lnSpc>
            <a:spcBef>
              <a:spcPct val="0"/>
            </a:spcBef>
            <a:spcAft>
              <a:spcPct val="35000"/>
            </a:spcAft>
          </a:pPr>
          <a:r>
            <a:rPr lang="en-US" sz="1200" kern="1200" dirty="0" smtClean="0">
              <a:latin typeface="メイリオ"/>
              <a:ea typeface="メイリオ"/>
              <a:cs typeface="メイリオ"/>
            </a:rPr>
            <a:t>7/11 @ Cisco Live</a:t>
          </a:r>
          <a:r>
            <a:rPr lang="ja-JP" altLang="en-US" sz="1200" kern="1200" dirty="0" smtClean="0">
              <a:latin typeface="メイリオ"/>
              <a:ea typeface="メイリオ"/>
              <a:cs typeface="メイリオ"/>
            </a:rPr>
            <a:t> ラスベガス</a:t>
          </a:r>
          <a:endParaRPr lang="en-US" sz="1200" kern="1200" dirty="0">
            <a:latin typeface="メイリオ"/>
            <a:ea typeface="メイリオ"/>
            <a:cs typeface="メイリオ"/>
          </a:endParaRPr>
        </a:p>
      </dsp:txBody>
      <dsp:txXfrm>
        <a:off x="3856408" y="1948881"/>
        <a:ext cx="1698134" cy="475699"/>
      </dsp:txXfrm>
    </dsp:sp>
    <dsp:sp modelId="{8AA31393-23B4-9548-814E-C6BC9080C625}">
      <dsp:nvSpPr>
        <dsp:cNvPr id="0" name=""/>
        <dsp:cNvSpPr/>
      </dsp:nvSpPr>
      <dsp:spPr>
        <a:xfrm>
          <a:off x="5575641" y="1321025"/>
          <a:ext cx="307394" cy="30739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1C28521-12D6-D048-8F8F-E2A3612B520E}">
      <dsp:nvSpPr>
        <dsp:cNvPr id="0" name=""/>
        <dsp:cNvSpPr/>
      </dsp:nvSpPr>
      <dsp:spPr>
        <a:xfrm>
          <a:off x="5747377" y="690921"/>
          <a:ext cx="1289926" cy="497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lvl="0" algn="ctr" defTabSz="533400">
            <a:lnSpc>
              <a:spcPct val="90000"/>
            </a:lnSpc>
            <a:spcBef>
              <a:spcPct val="0"/>
            </a:spcBef>
            <a:spcAft>
              <a:spcPct val="35000"/>
            </a:spcAft>
          </a:pPr>
          <a:r>
            <a:rPr lang="ja-JP" altLang="en-US" sz="1200" kern="1200" dirty="0" smtClean="0">
              <a:latin typeface="メイリオ"/>
              <a:ea typeface="メイリオ"/>
              <a:cs typeface="メイリオ"/>
            </a:rPr>
            <a:t>日本価格表</a:t>
          </a:r>
        </a:p>
        <a:p>
          <a:pPr lvl="0" algn="ctr" defTabSz="533400">
            <a:lnSpc>
              <a:spcPct val="90000"/>
            </a:lnSpc>
            <a:spcBef>
              <a:spcPct val="0"/>
            </a:spcBef>
            <a:spcAft>
              <a:spcPct val="35000"/>
            </a:spcAft>
          </a:pPr>
          <a:r>
            <a:rPr lang="ja-JP" altLang="en-US" sz="1200" kern="1200" dirty="0" smtClean="0">
              <a:latin typeface="メイリオ"/>
              <a:ea typeface="メイリオ"/>
              <a:cs typeface="メイリオ"/>
            </a:rPr>
            <a:t>掲載予定？？</a:t>
          </a:r>
        </a:p>
      </dsp:txBody>
      <dsp:txXfrm>
        <a:off x="5747377" y="690921"/>
        <a:ext cx="1289926" cy="497745"/>
      </dsp:txXfrm>
    </dsp:sp>
    <dsp:sp modelId="{101CF234-16AF-2B44-9444-DBE5AA9E200C}">
      <dsp:nvSpPr>
        <dsp:cNvPr id="0" name=""/>
        <dsp:cNvSpPr/>
      </dsp:nvSpPr>
      <dsp:spPr>
        <a:xfrm>
          <a:off x="6903586" y="1279271"/>
          <a:ext cx="307394" cy="30739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6/07/01</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lIns="93936" tIns="46968" rIns="93936" bIns="4696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lIns="93936" tIns="46968" rIns="93936" bIns="46968"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6/07/01</a:t>
            </a:fld>
            <a:endParaRPr lang="en-US"/>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3936" tIns="46968" rIns="93936" bIns="46968" rtlCol="0" anchor="ctr"/>
          <a:lstStyle/>
          <a:p>
            <a:pPr lvl="0"/>
            <a:endParaRPr lang="en-US" noProof="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a:t>
            </a:fld>
            <a:endParaRPr lang="en-US"/>
          </a:p>
        </p:txBody>
      </p:sp>
    </p:spTree>
    <p:extLst>
      <p:ext uri="{BB962C8B-B14F-4D97-AF65-F5344CB8AC3E}">
        <p14:creationId xmlns:p14="http://schemas.microsoft.com/office/powerpoint/2010/main" val="3538282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smtClean="0"/>
              <a:t>170</a:t>
            </a:r>
            <a:r>
              <a:rPr lang="ja-JP" altLang="en-US" dirty="0" smtClean="0"/>
              <a:t> </a:t>
            </a:r>
            <a:r>
              <a:rPr lang="en-US" altLang="ja-JP" dirty="0" smtClean="0"/>
              <a:t>million</a:t>
            </a:r>
            <a:r>
              <a:rPr lang="ja-JP" altLang="en-US" dirty="0" smtClean="0"/>
              <a:t> </a:t>
            </a:r>
            <a:r>
              <a:rPr lang="en-US" altLang="ja-JP" dirty="0" smtClean="0"/>
              <a:t>170</a:t>
            </a:r>
            <a:r>
              <a:rPr lang="ja-JP" altLang="en-US" dirty="0" smtClean="0"/>
              <a:t> </a:t>
            </a:r>
            <a:r>
              <a:rPr lang="en-US" altLang="ja-JP" dirty="0" smtClean="0"/>
              <a:t>x</a:t>
            </a:r>
            <a:r>
              <a:rPr lang="ja-JP" altLang="en-US" dirty="0" smtClean="0"/>
              <a:t> </a:t>
            </a:r>
            <a:r>
              <a:rPr lang="en-US" altLang="ja-JP" dirty="0" smtClean="0"/>
              <a:t>1000000 </a:t>
            </a:r>
            <a:r>
              <a:rPr lang="is-IS" altLang="ja-JP" sz="1200" kern="1200" smtClean="0">
                <a:solidFill>
                  <a:schemeClr val="tx1"/>
                </a:solidFill>
                <a:latin typeface="+mn-lt"/>
                <a:ea typeface="ＭＳ Ｐゴシック" charset="0"/>
                <a:cs typeface="ＭＳ Ｐゴシック" charset="0"/>
              </a:rPr>
              <a:t>170,000,000</a:t>
            </a:r>
            <a:endParaRPr lang="en-US" dirty="0"/>
          </a:p>
        </p:txBody>
      </p:sp>
      <p:sp>
        <p:nvSpPr>
          <p:cNvPr id="4" name="Slide Number Placeholder 3"/>
          <p:cNvSpPr>
            <a:spLocks noGrp="1"/>
          </p:cNvSpPr>
          <p:nvPr>
            <p:ph type="sldNum" sz="quarter" idx="10"/>
          </p:nvPr>
        </p:nvSpPr>
        <p:spPr/>
        <p:txBody>
          <a:bodyPr/>
          <a:lstStyle/>
          <a:p>
            <a:fld id="{9D219702-FBF2-2E45-B426-417CF33F35BB}" type="slidenum">
              <a:rPr lang="en-US" smtClean="0"/>
              <a:pPr/>
              <a:t>13</a:t>
            </a:fld>
            <a:endParaRPr lang="en-US"/>
          </a:p>
        </p:txBody>
      </p:sp>
    </p:spTree>
    <p:extLst>
      <p:ext uri="{BB962C8B-B14F-4D97-AF65-F5344CB8AC3E}">
        <p14:creationId xmlns:p14="http://schemas.microsoft.com/office/powerpoint/2010/main" val="8868544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219702-FBF2-2E45-B426-417CF33F35BB}" type="slidenum">
              <a:rPr lang="en-US" smtClean="0"/>
              <a:pPr/>
              <a:t>14</a:t>
            </a:fld>
            <a:endParaRPr lang="en-US"/>
          </a:p>
        </p:txBody>
      </p:sp>
    </p:spTree>
    <p:extLst>
      <p:ext uri="{BB962C8B-B14F-4D97-AF65-F5344CB8AC3E}">
        <p14:creationId xmlns:p14="http://schemas.microsoft.com/office/powerpoint/2010/main" val="953719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219702-FBF2-2E45-B426-417CF33F35BB}" type="slidenum">
              <a:rPr lang="en-US" smtClean="0"/>
              <a:pPr/>
              <a:t>15</a:t>
            </a:fld>
            <a:endParaRPr lang="en-US"/>
          </a:p>
        </p:txBody>
      </p:sp>
    </p:spTree>
    <p:extLst>
      <p:ext uri="{BB962C8B-B14F-4D97-AF65-F5344CB8AC3E}">
        <p14:creationId xmlns:p14="http://schemas.microsoft.com/office/powerpoint/2010/main" val="10183189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1330B4-7791-C749-8001-E19381B7308C}" type="slidenum">
              <a:rPr lang="en-US" smtClean="0"/>
              <a:t>17</a:t>
            </a:fld>
            <a:endParaRPr lang="en-US"/>
          </a:p>
        </p:txBody>
      </p:sp>
    </p:spTree>
    <p:extLst>
      <p:ext uri="{BB962C8B-B14F-4D97-AF65-F5344CB8AC3E}">
        <p14:creationId xmlns:p14="http://schemas.microsoft.com/office/powerpoint/2010/main" val="1284253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219702-FBF2-2E45-B426-417CF33F35BB}" type="slidenum">
              <a:rPr lang="en-US" smtClean="0"/>
              <a:pPr/>
              <a:t>19</a:t>
            </a:fld>
            <a:endParaRPr lang="en-US"/>
          </a:p>
        </p:txBody>
      </p:sp>
    </p:spTree>
    <p:extLst>
      <p:ext uri="{BB962C8B-B14F-4D97-AF65-F5344CB8AC3E}">
        <p14:creationId xmlns:p14="http://schemas.microsoft.com/office/powerpoint/2010/main" val="2345158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330714-A4AC-FE4E-A378-D7821A4E400A}" type="slidenum">
              <a:rPr lang="en-US" smtClean="0"/>
              <a:pPr/>
              <a:t>20</a:t>
            </a:fld>
            <a:endParaRPr lang="ja-JP"/>
          </a:p>
        </p:txBody>
      </p:sp>
    </p:spTree>
    <p:extLst>
      <p:ext uri="{BB962C8B-B14F-4D97-AF65-F5344CB8AC3E}">
        <p14:creationId xmlns:p14="http://schemas.microsoft.com/office/powerpoint/2010/main" val="774892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330714-A4AC-FE4E-A378-D7821A4E400A}" type="slidenum">
              <a:rPr lang="en-US" smtClean="0"/>
              <a:pPr/>
              <a:t>21</a:t>
            </a:fld>
            <a:endParaRPr lang="ja-JP"/>
          </a:p>
        </p:txBody>
      </p:sp>
    </p:spTree>
    <p:extLst>
      <p:ext uri="{BB962C8B-B14F-4D97-AF65-F5344CB8AC3E}">
        <p14:creationId xmlns:p14="http://schemas.microsoft.com/office/powerpoint/2010/main" val="3065757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26054" eaLnBrk="1" fontAlgn="auto" hangingPunct="1">
              <a:spcBef>
                <a:spcPts val="0"/>
              </a:spcBef>
              <a:spcAft>
                <a:spcPts val="0"/>
              </a:spcAft>
              <a:defRPr/>
            </a:pPr>
            <a:endParaRPr lang="en-US" b="1" dirty="0" smtClean="0">
              <a:latin typeface="Arial"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a:p>
        </p:txBody>
      </p:sp>
    </p:spTree>
    <p:extLst>
      <p:ext uri="{BB962C8B-B14F-4D97-AF65-F5344CB8AC3E}">
        <p14:creationId xmlns:p14="http://schemas.microsoft.com/office/powerpoint/2010/main" val="3123307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latin typeface="Arial" charset="0"/>
              </a:rPr>
              <a:t>Session Key Objectives(Objectives)– Best Practices:</a:t>
            </a:r>
            <a:endParaRPr lang="en-US" dirty="0" smtClean="0">
              <a:latin typeface="Arial" charset="0"/>
            </a:endParaRPr>
          </a:p>
          <a:p>
            <a:r>
              <a:rPr lang="en-US" dirty="0" smtClean="0">
                <a:latin typeface="Arial" charset="0"/>
              </a:rPr>
              <a:t>Every presentation should contain a</a:t>
            </a:r>
            <a:r>
              <a:rPr lang="en-US" baseline="0" dirty="0" smtClean="0">
                <a:latin typeface="Arial" charset="0"/>
              </a:rPr>
              <a:t> Key Takeaways</a:t>
            </a:r>
            <a:r>
              <a:rPr lang="en-US" dirty="0" smtClean="0">
                <a:latin typeface="Arial" charset="0"/>
              </a:rPr>
              <a:t> slide at the beginning and end of the presentation highlighting what the audience will get out of the session. Key Takeaways help identify what the learner will be able to do or know, after listening to your presentation. Key Takeaways/objectives are statements that contain action verbs and criteria statements. Basically, a good way to think about it - is each objective should be able to finish and flow from the lead in sentence on the screen.  </a:t>
            </a:r>
          </a:p>
          <a:p>
            <a:r>
              <a:rPr lang="en-US" dirty="0" smtClean="0">
                <a:latin typeface="Arial" charset="0"/>
              </a:rPr>
              <a:t>For example, </a:t>
            </a:r>
          </a:p>
          <a:p>
            <a:r>
              <a:rPr lang="en-US" dirty="0" smtClean="0">
                <a:latin typeface="Arial" charset="0"/>
              </a:rPr>
              <a:t>At the end of the session, the participants should be able to: Understand, Identify, Explain, Design, something from your presentation, when completing this slide, you are basically letting them know, what they should be able to do.</a:t>
            </a:r>
          </a:p>
          <a:p>
            <a:r>
              <a:rPr lang="en-US" dirty="0" smtClean="0">
                <a:latin typeface="Arial" charset="0"/>
              </a:rPr>
              <a:t>A Best Practice is to limit this slide to three to five Key Takeaways/objectives that tell the audience what they will be able to do or know after they see the</a:t>
            </a:r>
            <a:r>
              <a:rPr lang="en-US" baseline="0" dirty="0" smtClean="0">
                <a:latin typeface="Arial" charset="0"/>
              </a:rPr>
              <a:t> </a:t>
            </a:r>
            <a:r>
              <a:rPr lang="en-US" dirty="0" smtClean="0">
                <a:latin typeface="Arial" charset="0"/>
              </a:rPr>
              <a:t>presentation. </a:t>
            </a:r>
          </a:p>
          <a:p>
            <a:pPr defTabSz="939363" eaLnBrk="1" fontAlgn="auto" hangingPunct="1">
              <a:spcBef>
                <a:spcPts val="0"/>
              </a:spcBef>
              <a:spcAft>
                <a:spcPts val="0"/>
              </a:spcAft>
              <a:defRPr/>
            </a:pPr>
            <a:r>
              <a:rPr lang="en-US" b="1" dirty="0" smtClean="0">
                <a:latin typeface="Arial" charset="0"/>
              </a:rPr>
              <a:t>Fill this template out by asking yourself;</a:t>
            </a:r>
            <a:r>
              <a:rPr lang="en-US" dirty="0" smtClean="0">
                <a:latin typeface="Arial" charset="0"/>
              </a:rPr>
              <a:t> what are the critical main points of this session that a VT member should go and redeliver to their region/team? Those critical main points should become your key takeaway bullets on screen. </a:t>
            </a:r>
          </a:p>
          <a:p>
            <a:endParaRPr lang="en-US" dirty="0" smtClean="0">
              <a:latin typeface="Arial" charset="0"/>
            </a:endParaRPr>
          </a:p>
          <a:p>
            <a:r>
              <a:rPr lang="en-US" b="1" dirty="0" smtClean="0">
                <a:latin typeface="Arial" charset="0"/>
              </a:rPr>
              <a:t>PLEASE DELETE YELLOW TEXT BOX, and the</a:t>
            </a:r>
            <a:r>
              <a:rPr lang="en-US" b="1" baseline="0" dirty="0" smtClean="0">
                <a:latin typeface="Arial" charset="0"/>
              </a:rPr>
              <a:t> words REQUIRED and </a:t>
            </a:r>
            <a:r>
              <a:rPr lang="en-US" b="1" dirty="0" smtClean="0">
                <a:latin typeface="Arial" charset="0"/>
              </a:rPr>
              <a:t> “TEMPLATE”  and sample red text upon completion.</a:t>
            </a:r>
          </a:p>
          <a:p>
            <a:endParaRPr lang="en-US" b="1" dirty="0" smtClean="0">
              <a:latin typeface="Arial" charset="0"/>
            </a:endParaRPr>
          </a:p>
          <a:p>
            <a:endParaRPr lang="en-US" b="1" dirty="0" smtClean="0">
              <a:latin typeface="Arial" charset="0"/>
            </a:endParaRPr>
          </a:p>
          <a:p>
            <a:r>
              <a:rPr lang="en-US" b="1" dirty="0" smtClean="0">
                <a:latin typeface="Arial" charset="0"/>
              </a:rPr>
              <a:t>Outcome</a:t>
            </a:r>
            <a:r>
              <a:rPr lang="en-US" b="1" baseline="0" dirty="0" smtClean="0">
                <a:latin typeface="Arial" charset="0"/>
              </a:rPr>
              <a:t> should be behavioral:</a:t>
            </a:r>
            <a:endParaRPr lang="en-US" b="1" dirty="0" smtClean="0">
              <a:latin typeface="Arial" charset="0"/>
            </a:endParaRPr>
          </a:p>
          <a:p>
            <a:r>
              <a:rPr lang="en-US" b="1" dirty="0" smtClean="0">
                <a:latin typeface="Arial" charset="0"/>
              </a:rPr>
              <a:t>Can they Articulate a message</a:t>
            </a:r>
          </a:p>
          <a:p>
            <a:r>
              <a:rPr lang="en-US" b="1" dirty="0" smtClean="0">
                <a:latin typeface="Arial" charset="0"/>
              </a:rPr>
              <a:t>Can they</a:t>
            </a:r>
            <a:r>
              <a:rPr lang="en-US" b="1" baseline="0" dirty="0" smtClean="0">
                <a:latin typeface="Arial" charset="0"/>
              </a:rPr>
              <a:t> </a:t>
            </a:r>
            <a:r>
              <a:rPr lang="en-US" b="1" dirty="0" smtClean="0">
                <a:latin typeface="Arial" charset="0"/>
              </a:rPr>
              <a:t>Deploy</a:t>
            </a:r>
            <a:r>
              <a:rPr lang="en-US" b="1" baseline="0" dirty="0" smtClean="0">
                <a:latin typeface="Arial" charset="0"/>
              </a:rPr>
              <a:t> the solution</a:t>
            </a:r>
          </a:p>
          <a:p>
            <a:endParaRPr lang="en-US" b="1" dirty="0" smtClean="0">
              <a:latin typeface="Arial"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3123307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3538282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sz="1200" kern="1200" dirty="0" smtClean="0">
                <a:solidFill>
                  <a:schemeClr val="tx1"/>
                </a:solidFill>
                <a:latin typeface="+mn-lt"/>
                <a:ea typeface="ＭＳ Ｐゴシック" charset="0"/>
                <a:cs typeface="ＭＳ Ｐゴシック" charset="0"/>
              </a:rPr>
              <a:t>What is unique about how CDO was created and introduced to the market?</a:t>
            </a:r>
          </a:p>
          <a:p>
            <a:pPr marL="228600" indent="-228600">
              <a:buAutoNum type="arabicParenR"/>
            </a:pPr>
            <a:endParaRPr lang="en-US" sz="1200" kern="1200" dirty="0" smtClean="0">
              <a:solidFill>
                <a:schemeClr val="tx1"/>
              </a:solidFill>
              <a:latin typeface="+mn-lt"/>
              <a:ea typeface="ＭＳ Ｐゴシック" charset="0"/>
              <a:cs typeface="ＭＳ Ｐゴシック" charset="0"/>
            </a:endParaRPr>
          </a:p>
          <a:p>
            <a:pPr marL="228600" indent="-228600">
              <a:buAutoNum type="arabicParenR"/>
            </a:pPr>
            <a:r>
              <a:rPr lang="en-US" sz="1200" kern="1200" dirty="0" smtClean="0">
                <a:solidFill>
                  <a:schemeClr val="tx1"/>
                </a:solidFill>
                <a:latin typeface="+mn-lt"/>
                <a:ea typeface="ＭＳ Ｐゴシック" charset="0"/>
                <a:cs typeface="ＭＳ Ｐゴシック" charset="0"/>
              </a:rPr>
              <a:t>Talk about the benefits</a:t>
            </a:r>
            <a:r>
              <a:rPr lang="en-US" sz="1200" kern="1200" baseline="0" dirty="0" smtClean="0">
                <a:solidFill>
                  <a:schemeClr val="tx1"/>
                </a:solidFill>
                <a:latin typeface="+mn-lt"/>
                <a:ea typeface="ＭＳ Ｐゴシック" charset="0"/>
                <a:cs typeface="ＭＳ Ｐゴシック" charset="0"/>
              </a:rPr>
              <a:t> to the cisco direct and partners alike.</a:t>
            </a:r>
          </a:p>
          <a:p>
            <a:pPr marL="228600" indent="-228600">
              <a:buAutoNum type="arabicParenR"/>
            </a:pPr>
            <a:endParaRPr lang="en-US" sz="1200" kern="1200" baseline="0" dirty="0" smtClean="0">
              <a:solidFill>
                <a:schemeClr val="tx1"/>
              </a:solidFill>
              <a:latin typeface="+mn-lt"/>
              <a:ea typeface="ＭＳ Ｐゴシック" charset="0"/>
              <a:cs typeface="ＭＳ Ｐゴシック" charset="0"/>
            </a:endParaRPr>
          </a:p>
          <a:p>
            <a:pPr marL="228600" indent="-228600">
              <a:buAutoNum type="arabicParenR"/>
            </a:pP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1271086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eaLnBrk="1" fontAlgn="auto" hangingPunct="1">
              <a:spcBef>
                <a:spcPts val="0"/>
              </a:spcBef>
              <a:spcAft>
                <a:spcPts val="0"/>
              </a:spcAft>
              <a:defRPr/>
            </a:pPr>
            <a:r>
              <a:rPr lang="en-US" dirty="0">
                <a:solidFill>
                  <a:srgbClr val="000000"/>
                </a:solidFill>
              </a:rPr>
              <a:t>I’d like to introduce Cisco Defense Orchestrator, a cloud-based policy management solution for Cisco security products. </a:t>
            </a:r>
          </a:p>
        </p:txBody>
      </p:sp>
      <p:sp>
        <p:nvSpPr>
          <p:cNvPr id="4" name="Slide Number Placeholder 3"/>
          <p:cNvSpPr>
            <a:spLocks noGrp="1"/>
          </p:cNvSpPr>
          <p:nvPr>
            <p:ph type="sldNum" sz="quarter" idx="10"/>
          </p:nvPr>
        </p:nvSpPr>
        <p:spPr/>
        <p:txBody>
          <a:bodyPr/>
          <a:lstStyle/>
          <a:p>
            <a:fld id="{6FBCDAD4-DE78-4A33-9106-D2DBD99813FD}" type="slidenum">
              <a:rPr lang="en-US" smtClean="0"/>
              <a:t>26</a:t>
            </a:fld>
            <a:endParaRPr lang="en-US"/>
          </a:p>
        </p:txBody>
      </p:sp>
    </p:spTree>
    <p:extLst>
      <p:ext uri="{BB962C8B-B14F-4D97-AF65-F5344CB8AC3E}">
        <p14:creationId xmlns:p14="http://schemas.microsoft.com/office/powerpoint/2010/main" val="2176170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eaLnBrk="1" fontAlgn="auto" hangingPunct="1">
              <a:spcBef>
                <a:spcPts val="0"/>
              </a:spcBef>
              <a:spcAft>
                <a:spcPts val="0"/>
              </a:spcAft>
              <a:defRPr/>
            </a:pPr>
            <a:r>
              <a:rPr lang="en-US" dirty="0">
                <a:solidFill>
                  <a:srgbClr val="000000"/>
                </a:solidFill>
              </a:rPr>
              <a:t>Using Defense Orchestrator means you don’t have to be an expert in every Cisco security device and service in order to leverage their capabilities. Defense Orchestrator makes it easy to take advantage of the next-gen capabilities these offerings deliver.</a:t>
            </a:r>
          </a:p>
          <a:p>
            <a:pPr defTabSz="939363" eaLnBrk="1" fontAlgn="auto" hangingPunct="1">
              <a:spcBef>
                <a:spcPts val="0"/>
              </a:spcBef>
              <a:spcAft>
                <a:spcPts val="0"/>
              </a:spcAft>
              <a:defRPr/>
            </a:pPr>
            <a:endParaRPr lang="en-US" dirty="0">
              <a:solidFill>
                <a:srgbClr val="000000"/>
              </a:solidFill>
            </a:endParaRPr>
          </a:p>
          <a:p>
            <a:pPr defTabSz="939363" eaLnBrk="1" fontAlgn="auto" hangingPunct="1">
              <a:spcBef>
                <a:spcPts val="0"/>
              </a:spcBef>
              <a:spcAft>
                <a:spcPts val="0"/>
              </a:spcAft>
              <a:defRPr/>
            </a:pPr>
            <a:r>
              <a:rPr lang="en-US" dirty="0">
                <a:solidFill>
                  <a:srgbClr val="000000"/>
                </a:solidFill>
              </a:rPr>
              <a:t>With Defense Orchestrator, security policy for the ASA, ASA with </a:t>
            </a:r>
            <a:r>
              <a:rPr lang="en-US" dirty="0" err="1">
                <a:solidFill>
                  <a:srgbClr val="000000"/>
                </a:solidFill>
              </a:rPr>
              <a:t>FirePOWER</a:t>
            </a:r>
            <a:r>
              <a:rPr lang="en-US" dirty="0">
                <a:solidFill>
                  <a:srgbClr val="000000"/>
                </a:solidFill>
              </a:rPr>
              <a:t> Services and </a:t>
            </a:r>
            <a:r>
              <a:rPr lang="en-US" dirty="0" err="1">
                <a:solidFill>
                  <a:srgbClr val="000000"/>
                </a:solidFill>
              </a:rPr>
              <a:t>OpenDNS</a:t>
            </a:r>
            <a:r>
              <a:rPr lang="en-US" dirty="0">
                <a:solidFill>
                  <a:srgbClr val="000000"/>
                </a:solidFill>
              </a:rPr>
              <a:t> is managed through a single interface. Defense Orchestrator translates your rulesets into language recognized by each of those technologies, so that you don’t have to manage security policy for each tool separately.</a:t>
            </a:r>
          </a:p>
          <a:p>
            <a:pPr defTabSz="939363" eaLnBrk="1" fontAlgn="auto" hangingPunct="1">
              <a:spcBef>
                <a:spcPts val="0"/>
              </a:spcBef>
              <a:spcAft>
                <a:spcPts val="0"/>
              </a:spcAft>
              <a:defRPr/>
            </a:pPr>
            <a:endParaRPr lang="en-US" dirty="0">
              <a:solidFill>
                <a:srgbClr val="000000"/>
              </a:solidFill>
            </a:endParaRPr>
          </a:p>
          <a:p>
            <a:pPr defTabSz="939363" eaLnBrk="1" fontAlgn="auto" hangingPunct="1">
              <a:spcBef>
                <a:spcPts val="0"/>
              </a:spcBef>
              <a:spcAft>
                <a:spcPts val="0"/>
              </a:spcAft>
              <a:defRPr/>
            </a:pPr>
            <a:r>
              <a:rPr lang="en-US" dirty="0">
                <a:solidFill>
                  <a:srgbClr val="000000"/>
                </a:solidFill>
              </a:rPr>
              <a:t>From one location, you can manage security policies across all of these Cisco security devices and services. And as you add more Cisco security products, you can still systematically maintain a strong security posture.</a:t>
            </a:r>
          </a:p>
        </p:txBody>
      </p:sp>
      <p:sp>
        <p:nvSpPr>
          <p:cNvPr id="4" name="Slide Number Placeholder 3"/>
          <p:cNvSpPr>
            <a:spLocks noGrp="1"/>
          </p:cNvSpPr>
          <p:nvPr>
            <p:ph type="sldNum" sz="quarter" idx="10"/>
          </p:nvPr>
        </p:nvSpPr>
        <p:spPr/>
        <p:txBody>
          <a:bodyPr/>
          <a:lstStyle/>
          <a:p>
            <a:fld id="{6FBCDAD4-DE78-4A33-9106-D2DBD99813FD}" type="slidenum">
              <a:rPr lang="en-US" smtClean="0"/>
              <a:t>27</a:t>
            </a:fld>
            <a:endParaRPr lang="en-US"/>
          </a:p>
        </p:txBody>
      </p:sp>
    </p:spTree>
    <p:extLst>
      <p:ext uri="{BB962C8B-B14F-4D97-AF65-F5344CB8AC3E}">
        <p14:creationId xmlns:p14="http://schemas.microsoft.com/office/powerpoint/2010/main" val="38200990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eaLnBrk="1" fontAlgn="auto" hangingPunct="1">
              <a:spcBef>
                <a:spcPts val="0"/>
              </a:spcBef>
              <a:spcAft>
                <a:spcPts val="0"/>
              </a:spcAft>
              <a:defRPr/>
            </a:pPr>
            <a:r>
              <a:rPr lang="en-US" dirty="0">
                <a:solidFill>
                  <a:srgbClr val="000000"/>
                </a:solidFill>
              </a:rPr>
              <a:t>Defense Orchestrator helps you orchestrate security policy management from one place.</a:t>
            </a:r>
          </a:p>
          <a:p>
            <a:pPr defTabSz="939363" eaLnBrk="1" fontAlgn="auto" hangingPunct="1">
              <a:spcBef>
                <a:spcPts val="0"/>
              </a:spcBef>
              <a:spcAft>
                <a:spcPts val="0"/>
              </a:spcAft>
              <a:defRPr/>
            </a:pPr>
            <a:endParaRPr lang="en-US" dirty="0">
              <a:solidFill>
                <a:srgbClr val="000000"/>
              </a:solidFill>
            </a:endParaRPr>
          </a:p>
          <a:p>
            <a:pPr defTabSz="939363" eaLnBrk="1" fontAlgn="auto" hangingPunct="1">
              <a:spcBef>
                <a:spcPts val="0"/>
              </a:spcBef>
              <a:spcAft>
                <a:spcPts val="0"/>
              </a:spcAft>
              <a:defRPr/>
            </a:pPr>
            <a:r>
              <a:rPr lang="en-US" dirty="0">
                <a:solidFill>
                  <a:srgbClr val="000000"/>
                </a:solidFill>
              </a:rPr>
              <a:t>You can onboard Cisco devices across distributed locations securely, either online or offline. It’s easy and painless and your data is encrypted and secure every step of the way.</a:t>
            </a:r>
          </a:p>
          <a:p>
            <a:pPr defTabSz="939363" eaLnBrk="1" fontAlgn="auto" hangingPunct="1">
              <a:spcBef>
                <a:spcPts val="0"/>
              </a:spcBef>
              <a:spcAft>
                <a:spcPts val="0"/>
              </a:spcAft>
              <a:defRPr/>
            </a:pPr>
            <a:endParaRPr lang="en-US" dirty="0">
              <a:solidFill>
                <a:srgbClr val="000000"/>
              </a:solidFill>
            </a:endParaRPr>
          </a:p>
          <a:p>
            <a:pPr defTabSz="939363" eaLnBrk="1" fontAlgn="auto" hangingPunct="1">
              <a:spcBef>
                <a:spcPts val="0"/>
              </a:spcBef>
              <a:spcAft>
                <a:spcPts val="0"/>
              </a:spcAft>
              <a:defRPr/>
            </a:pPr>
            <a:r>
              <a:rPr lang="en-US" dirty="0">
                <a:solidFill>
                  <a:srgbClr val="000000"/>
                </a:solidFill>
              </a:rPr>
              <a:t>Once your devices are connected, Defense Orchestrator helps you orchestrate all four aspects of security policy management – through change management, auditing, optimization and monitoring.</a:t>
            </a:r>
          </a:p>
          <a:p>
            <a:pPr defTabSz="939363" eaLnBrk="1" fontAlgn="auto" hangingPunct="1">
              <a:spcBef>
                <a:spcPts val="0"/>
              </a:spcBef>
              <a:spcAft>
                <a:spcPts val="0"/>
              </a:spcAft>
              <a:defRPr/>
            </a:pPr>
            <a:endParaRPr lang="en-US" dirty="0">
              <a:solidFill>
                <a:srgbClr val="000000"/>
              </a:solidFill>
            </a:endParaRPr>
          </a:p>
          <a:p>
            <a:pPr marL="176131" indent="-176131" defTabSz="939363" eaLnBrk="1" fontAlgn="auto" hangingPunct="1">
              <a:spcBef>
                <a:spcPts val="0"/>
              </a:spcBef>
              <a:spcAft>
                <a:spcPts val="0"/>
              </a:spcAft>
              <a:buFont typeface="Arial" panose="020B0604020202020204" pitchFamily="34" charset="0"/>
              <a:buChar char="•"/>
              <a:defRPr/>
            </a:pPr>
            <a:r>
              <a:rPr lang="en-US" dirty="0">
                <a:solidFill>
                  <a:srgbClr val="000000"/>
                </a:solidFill>
              </a:rPr>
              <a:t>In terms of </a:t>
            </a:r>
            <a:r>
              <a:rPr lang="en-US" b="1" dirty="0">
                <a:solidFill>
                  <a:srgbClr val="000000"/>
                </a:solidFill>
              </a:rPr>
              <a:t>Change Management,</a:t>
            </a:r>
            <a:r>
              <a:rPr lang="en-US" dirty="0">
                <a:solidFill>
                  <a:srgbClr val="000000"/>
                </a:solidFill>
              </a:rPr>
              <a:t> you get visibility to change impact across affected Cisco security services and devices. You can visualize and orchestrate how changes affect global security posture using </a:t>
            </a:r>
            <a:r>
              <a:rPr lang="en-US" b="1" dirty="0">
                <a:solidFill>
                  <a:srgbClr val="000000"/>
                </a:solidFill>
              </a:rPr>
              <a:t>change impact modeling.</a:t>
            </a:r>
          </a:p>
          <a:p>
            <a:pPr marL="176131" indent="-176131" defTabSz="939363" eaLnBrk="1" fontAlgn="auto" hangingPunct="1">
              <a:spcBef>
                <a:spcPts val="0"/>
              </a:spcBef>
              <a:spcAft>
                <a:spcPts val="0"/>
              </a:spcAft>
              <a:buFont typeface="Arial" panose="020B0604020202020204" pitchFamily="34" charset="0"/>
              <a:buChar char="•"/>
              <a:defRPr/>
            </a:pPr>
            <a:r>
              <a:rPr lang="en-US" dirty="0">
                <a:solidFill>
                  <a:srgbClr val="000000"/>
                </a:solidFill>
              </a:rPr>
              <a:t>In terms of </a:t>
            </a:r>
            <a:r>
              <a:rPr lang="en-US" b="1" dirty="0">
                <a:solidFill>
                  <a:srgbClr val="000000"/>
                </a:solidFill>
              </a:rPr>
              <a:t>Auditing, </a:t>
            </a:r>
            <a:r>
              <a:rPr lang="en-US" dirty="0">
                <a:solidFill>
                  <a:srgbClr val="000000"/>
                </a:solidFill>
              </a:rPr>
              <a:t>you gain policy awareness and identify issues. You have the ability to compare and edit duplicate, unused, and inconsistent configurations by conducting </a:t>
            </a:r>
            <a:r>
              <a:rPr lang="en-US" b="1" dirty="0">
                <a:solidFill>
                  <a:srgbClr val="000000"/>
                </a:solidFill>
              </a:rPr>
              <a:t>object and policy analysis.</a:t>
            </a:r>
          </a:p>
          <a:p>
            <a:pPr marL="176131" indent="-176131" defTabSz="939363" eaLnBrk="1" fontAlgn="auto" hangingPunct="1">
              <a:spcBef>
                <a:spcPts val="0"/>
              </a:spcBef>
              <a:spcAft>
                <a:spcPts val="0"/>
              </a:spcAft>
              <a:buFont typeface="Arial" panose="020B0604020202020204" pitchFamily="34" charset="0"/>
              <a:buChar char="•"/>
              <a:defRPr/>
            </a:pPr>
            <a:r>
              <a:rPr lang="en-US" dirty="0">
                <a:solidFill>
                  <a:srgbClr val="000000"/>
                </a:solidFill>
              </a:rPr>
              <a:t>In terms of </a:t>
            </a:r>
            <a:r>
              <a:rPr lang="en-US" b="1" dirty="0">
                <a:solidFill>
                  <a:srgbClr val="000000"/>
                </a:solidFill>
              </a:rPr>
              <a:t>Optimization, </a:t>
            </a:r>
            <a:r>
              <a:rPr lang="en-US" dirty="0">
                <a:solidFill>
                  <a:srgbClr val="000000"/>
                </a:solidFill>
              </a:rPr>
              <a:t>you can adjust Cisco security policy rulesets to optimize performance based on insights from change impact modeling. You can also easily apply revised policy configurations across all Cisco devices</a:t>
            </a:r>
            <a:r>
              <a:rPr lang="en-US" b="1" dirty="0">
                <a:solidFill>
                  <a:srgbClr val="000000"/>
                </a:solidFill>
              </a:rPr>
              <a:t>.</a:t>
            </a:r>
          </a:p>
          <a:p>
            <a:pPr marL="176131" indent="-176131" defTabSz="939363" eaLnBrk="1" fontAlgn="auto" hangingPunct="1">
              <a:spcBef>
                <a:spcPts val="0"/>
              </a:spcBef>
              <a:spcAft>
                <a:spcPts val="0"/>
              </a:spcAft>
              <a:buFont typeface="Arial" panose="020B0604020202020204" pitchFamily="34" charset="0"/>
              <a:buChar char="•"/>
              <a:defRPr/>
            </a:pPr>
            <a:r>
              <a:rPr lang="en-US" dirty="0">
                <a:solidFill>
                  <a:srgbClr val="000000"/>
                </a:solidFill>
              </a:rPr>
              <a:t>And last, for </a:t>
            </a:r>
            <a:r>
              <a:rPr lang="en-US" b="1" dirty="0">
                <a:solidFill>
                  <a:srgbClr val="000000"/>
                </a:solidFill>
              </a:rPr>
              <a:t>Monitoring, </a:t>
            </a:r>
            <a:r>
              <a:rPr lang="en-US" dirty="0">
                <a:solidFill>
                  <a:srgbClr val="000000"/>
                </a:solidFill>
              </a:rPr>
              <a:t>you can track policy implementation and activity across all impacted Cisco security services and devices through aggregated </a:t>
            </a:r>
            <a:r>
              <a:rPr lang="en-US" b="1" dirty="0">
                <a:solidFill>
                  <a:srgbClr val="000000"/>
                </a:solidFill>
              </a:rPr>
              <a:t>reports</a:t>
            </a:r>
            <a:r>
              <a:rPr lang="en-US" dirty="0">
                <a:solidFill>
                  <a:srgbClr val="000000"/>
                </a:solidFill>
              </a:rPr>
              <a:t> and </a:t>
            </a:r>
            <a:r>
              <a:rPr lang="en-US" b="1" dirty="0">
                <a:solidFill>
                  <a:srgbClr val="000000"/>
                </a:solidFill>
              </a:rPr>
              <a:t>out-of-band notifications.</a:t>
            </a:r>
          </a:p>
          <a:p>
            <a:pPr defTabSz="939363" eaLnBrk="1" fontAlgn="auto" hangingPunct="1">
              <a:spcBef>
                <a:spcPts val="0"/>
              </a:spcBef>
              <a:spcAft>
                <a:spcPts val="0"/>
              </a:spcAft>
              <a:defRPr/>
            </a:pPr>
            <a:endParaRPr lang="en-US" b="1" dirty="0"/>
          </a:p>
        </p:txBody>
      </p:sp>
      <p:sp>
        <p:nvSpPr>
          <p:cNvPr id="4" name="Slide Number Placeholder 3"/>
          <p:cNvSpPr>
            <a:spLocks noGrp="1"/>
          </p:cNvSpPr>
          <p:nvPr>
            <p:ph type="sldNum" sz="quarter" idx="10"/>
          </p:nvPr>
        </p:nvSpPr>
        <p:spPr/>
        <p:txBody>
          <a:bodyPr/>
          <a:lstStyle/>
          <a:p>
            <a:fld id="{6FBCDAD4-DE78-4A33-9106-D2DBD99813FD}" type="slidenum">
              <a:rPr lang="en-US" smtClean="0"/>
              <a:t>28</a:t>
            </a:fld>
            <a:endParaRPr lang="en-US"/>
          </a:p>
        </p:txBody>
      </p:sp>
    </p:spTree>
    <p:extLst>
      <p:ext uri="{BB962C8B-B14F-4D97-AF65-F5344CB8AC3E}">
        <p14:creationId xmlns:p14="http://schemas.microsoft.com/office/powerpoint/2010/main" val="28247781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Onboarding devices is easy, and managing security should be,</a:t>
            </a:r>
            <a:r>
              <a:rPr lang="en-US" altLang="ja-JP" baseline="0" dirty="0" smtClean="0"/>
              <a:t> too.</a:t>
            </a:r>
            <a:endParaRPr lang="en-US" altLang="ja-JP"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Get started with</a:t>
            </a:r>
            <a:r>
              <a:rPr lang="en-US" altLang="ja-JP" baseline="0" dirty="0" smtClean="0"/>
              <a:t> our simple onboarding interfa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If you’re onboarding with a device, Defense Orchestrator supports ASAs, as well as ASAs with FirePOWER Servic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And connecting to Cisco Defense Orchestrator is simple, regardless of whether you choose to onboard in the cloud or on your own premi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1" baseline="0" dirty="0" smtClean="0"/>
              <a:t>T: Once you’re </a:t>
            </a:r>
            <a:r>
              <a:rPr lang="en-US" altLang="ja-JP" b="1" baseline="0" dirty="0" err="1" smtClean="0"/>
              <a:t>onboarded</a:t>
            </a:r>
            <a:r>
              <a:rPr lang="en-US" altLang="ja-JP" b="1" baseline="0" dirty="0" smtClean="0"/>
              <a:t>, then the real fun begins.</a:t>
            </a:r>
            <a:r>
              <a:rPr lang="en-US" altLang="ja-JP" baseline="0" dirty="0" smtClean="0"/>
              <a:t> </a:t>
            </a:r>
            <a:r>
              <a:rPr lang="en-US" altLang="ja-JP" b="1" baseline="0" dirty="0" smtClean="0"/>
              <a:t>[CLICK]</a:t>
            </a:r>
            <a:endParaRPr lang="en-US" altLang="ja-JP" dirty="0" smtClean="0"/>
          </a:p>
          <a:p>
            <a:endParaRPr lang="en-US" altLang="ja-JP"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29</a:t>
            </a:fld>
            <a:endParaRPr lang="en-US"/>
          </a:p>
        </p:txBody>
      </p:sp>
    </p:spTree>
    <p:extLst>
      <p:ext uri="{BB962C8B-B14F-4D97-AF65-F5344CB8AC3E}">
        <p14:creationId xmlns:p14="http://schemas.microsoft.com/office/powerpoint/2010/main" val="752951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b="0" dirty="0" smtClean="0"/>
              <a:t>Seeing how many policies and objects</a:t>
            </a:r>
            <a:r>
              <a:rPr lang="en-US" altLang="ja-JP" b="0" baseline="0" dirty="0" smtClean="0"/>
              <a:t> are sitting in Cisco Defense Orchestrator can be daunting. You’re probably managing thousands of policies and objec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0" baseline="0" dirty="0" smtClean="0"/>
              <a:t>If you want to know how a particular object is interacting in different locations on different policies, the last thing you want to do is manually sift through all of your device inform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0" baseline="0" dirty="0" smtClean="0"/>
              <a:t>The simple search-based management feature allows you to do just that. Simple search-based management provides you a single-pane view across all of your Cisco security devices. Simply search by policy, object, ACL name, and/or network name to find exactly what you want to know.</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0" baseline="0" dirty="0" smtClean="0"/>
              <a:t>We know you’re busy and we know that managing security can be tedious and time consuming. Cisco wants to make managing security simple, so we made it as easy as a web search.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1" baseline="0" dirty="0" smtClean="0"/>
              <a:t>T: And what you can do once you find what you’re looking for can make a big impact on your security posture. [CLICK]</a:t>
            </a:r>
            <a:endParaRPr lang="en-US" altLang="ja-JP" b="1"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0</a:t>
            </a:fld>
            <a:endParaRPr lang="en-US"/>
          </a:p>
        </p:txBody>
      </p:sp>
    </p:spTree>
    <p:extLst>
      <p:ext uri="{BB962C8B-B14F-4D97-AF65-F5344CB8AC3E}">
        <p14:creationId xmlns:p14="http://schemas.microsoft.com/office/powerpoint/2010/main" val="2893266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Now that you have devices in the</a:t>
            </a:r>
            <a:r>
              <a:rPr lang="en-US" altLang="ja-JP" baseline="0" dirty="0" smtClean="0"/>
              <a:t> Defense Orchestrator environment, you are able to interact with all of your Cisco security devices to ensure that your security posture is soun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Let’s say you have 5 branches, including your headquarters, and you need to make sure they’re secure. Defense Orchestrator enables you to see where you have duplicate policies and gives you the option to either rename them if they are in fact protecting your infrastructure, or to edit the policies to remove any overlapping instruc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Removing duplicate policies and objects from your network helps optimize your firewall. By removing duplicate properties, your firewall doesn’t spin its wheels trying to protect your system in multiple ways using the same policies and object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1" baseline="0" dirty="0" smtClean="0"/>
              <a:t>T: Cisco Defense Orchestrator also enables you to spot inconsistencies within your network. [CLICK]</a:t>
            </a:r>
            <a:endParaRPr lang="en-US" altLang="ja-JP" b="1"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1</a:t>
            </a:fld>
            <a:endParaRPr lang="en-US"/>
          </a:p>
        </p:txBody>
      </p:sp>
    </p:spTree>
    <p:extLst>
      <p:ext uri="{BB962C8B-B14F-4D97-AF65-F5344CB8AC3E}">
        <p14:creationId xmlns:p14="http://schemas.microsoft.com/office/powerpoint/2010/main" val="2893266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Defense</a:t>
            </a:r>
            <a:r>
              <a:rPr lang="en-US" altLang="ja-JP" baseline="0" dirty="0" smtClean="0"/>
              <a:t> Orchestrator not only lets you see where inconsistencies exist, but it lets you dive into the details and see exactly where they resid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The detailed view within Cisco Defense Orchestrator allows you to easily remediate any anomalies in your network.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1" baseline="0" dirty="0" smtClean="0"/>
              <a:t>T: You can also confidently identify policies and objects that are being used in your network. [CLICK]</a:t>
            </a:r>
            <a:endParaRPr lang="en-US" altLang="ja-JP" b="1" dirty="0" smtClean="0"/>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2</a:t>
            </a:fld>
            <a:endParaRPr lang="en-US"/>
          </a:p>
        </p:txBody>
      </p:sp>
    </p:spTree>
    <p:extLst>
      <p:ext uri="{BB962C8B-B14F-4D97-AF65-F5344CB8AC3E}">
        <p14:creationId xmlns:p14="http://schemas.microsoft.com/office/powerpoint/2010/main" val="2388291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dirty="0" smtClean="0"/>
              <a:t>Unused</a:t>
            </a:r>
            <a:r>
              <a:rPr lang="en-US" altLang="ja-JP" baseline="0" dirty="0" smtClean="0"/>
              <a:t> policies and objects just take up energy and space in your system. When these unused policies and objects take up memory space, it slows down your entire system, weakening your security performanc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aseline="0" dirty="0" smtClean="0"/>
              <a:t>Defense Orchestrator automatically identifies which policies and objects are going unused. This enables you to confidently remove any unused policies, with the knowledge that your security posture will not be impacted by these chang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b="1" baseline="0" dirty="0" smtClean="0"/>
              <a:t>T: Cisco Defense Orchestrator helps you set up your security policies right the first time. [CLICK]</a:t>
            </a:r>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3</a:t>
            </a:fld>
            <a:endParaRPr lang="en-US"/>
          </a:p>
        </p:txBody>
      </p:sp>
    </p:spTree>
    <p:extLst>
      <p:ext uri="{BB962C8B-B14F-4D97-AF65-F5344CB8AC3E}">
        <p14:creationId xmlns:p14="http://schemas.microsoft.com/office/powerpoint/2010/main" val="7529515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rPr>
              <a:t>With Defense Orchestrator, setting up security at a new branch is as easy as copy and paste.</a:t>
            </a:r>
          </a:p>
          <a:p>
            <a:endParaRPr lang="en-US" dirty="0">
              <a:solidFill>
                <a:srgbClr val="000000"/>
              </a:solidFill>
            </a:endParaRPr>
          </a:p>
          <a:p>
            <a:r>
              <a:rPr lang="en-US" dirty="0">
                <a:solidFill>
                  <a:srgbClr val="000000"/>
                </a:solidFill>
              </a:rPr>
              <a:t>You can build security policy templates that help you apply consistent security policy across your entire business. The good news is, you don’t have to build your templates from scratch. We make creating security policy simple by giving you a place to start. </a:t>
            </a:r>
          </a:p>
          <a:p>
            <a:endParaRPr lang="en-US" dirty="0">
              <a:solidFill>
                <a:srgbClr val="000000"/>
              </a:solidFill>
            </a:endParaRPr>
          </a:p>
          <a:p>
            <a:r>
              <a:rPr lang="en-US" b="1" dirty="0">
                <a:solidFill>
                  <a:srgbClr val="000000"/>
                </a:solidFill>
              </a:rPr>
              <a:t>[Click 1] </a:t>
            </a:r>
            <a:r>
              <a:rPr lang="en-US" dirty="0">
                <a:solidFill>
                  <a:srgbClr val="000000"/>
                </a:solidFill>
              </a:rPr>
              <a:t>With Defense Orchestrator, you can easily modify preconfigured security policy templates by simply selecting or de-selecting the parameter attributes you want to adjust. This provides a simple and dynamic way to achieve advanced protection. Instead of manually configuring each and every Cisco device, you can use a single standard template over and over that gets applied to your existing headquarters and branch locations.</a:t>
            </a:r>
          </a:p>
          <a:p>
            <a:endParaRPr lang="en-US" dirty="0">
              <a:solidFill>
                <a:srgbClr val="000000"/>
              </a:solidFill>
            </a:endParaRPr>
          </a:p>
          <a:p>
            <a:r>
              <a:rPr lang="en-US" b="1" dirty="0">
                <a:solidFill>
                  <a:srgbClr val="000000"/>
                </a:solidFill>
              </a:rPr>
              <a:t>[Click 2] </a:t>
            </a:r>
            <a:r>
              <a:rPr lang="en-US" dirty="0">
                <a:solidFill>
                  <a:srgbClr val="000000"/>
                </a:solidFill>
              </a:rPr>
              <a:t>As your business expands, the security admin can apply the same security policy template to the new locations.</a:t>
            </a:r>
          </a:p>
          <a:p>
            <a:endParaRPr lang="en-US" dirty="0">
              <a:solidFill>
                <a:srgbClr val="000000"/>
              </a:solidFill>
            </a:endParaRPr>
          </a:p>
          <a:p>
            <a:r>
              <a:rPr lang="en-US" dirty="0">
                <a:solidFill>
                  <a:srgbClr val="000000"/>
                </a:solidFill>
              </a:rPr>
              <a:t>With this one-to-many approach, you can simplify the overhead of setting up and managing several locations.</a:t>
            </a:r>
          </a:p>
        </p:txBody>
      </p:sp>
      <p:sp>
        <p:nvSpPr>
          <p:cNvPr id="4" name="Slide Number Placeholder 3"/>
          <p:cNvSpPr>
            <a:spLocks noGrp="1"/>
          </p:cNvSpPr>
          <p:nvPr>
            <p:ph type="sldNum" sz="quarter" idx="10"/>
          </p:nvPr>
        </p:nvSpPr>
        <p:spPr/>
        <p:txBody>
          <a:bodyPr/>
          <a:lstStyle/>
          <a:p>
            <a:fld id="{6FBCDAD4-DE78-4A33-9106-D2DBD99813FD}"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1883702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sz="1200" dirty="0" smtClean="0"/>
              <a:t>These reports help you analyze the</a:t>
            </a:r>
            <a:r>
              <a:rPr lang="en-US" altLang="ja-JP" sz="1200" baseline="0" dirty="0" smtClean="0"/>
              <a:t> performance of your entire Cisco infrastructure. They grant visibility into Layer-7 and identify trends within your network, enabling your organization to gain a stronger, more consistent security posture. </a:t>
            </a:r>
          </a:p>
          <a:p>
            <a:endParaRPr lang="en-US" altLang="ja-JP" sz="1200" b="1" baseline="0" dirty="0" smtClean="0"/>
          </a:p>
          <a:p>
            <a:r>
              <a:rPr lang="en-US" altLang="ja-JP" sz="1200" b="1" baseline="0" dirty="0" smtClean="0"/>
              <a:t>T: But let’s see what this looks like in reality. [CLICK]</a:t>
            </a:r>
          </a:p>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5</a:t>
            </a:fld>
            <a:endParaRPr lang="en-US"/>
          </a:p>
        </p:txBody>
      </p:sp>
    </p:spTree>
    <p:extLst>
      <p:ext uri="{BB962C8B-B14F-4D97-AF65-F5344CB8AC3E}">
        <p14:creationId xmlns:p14="http://schemas.microsoft.com/office/powerpoint/2010/main" val="752951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r>
              <a:rPr lang="en-US" dirty="0" smtClean="0"/>
              <a:t>- </a:t>
            </a:r>
            <a:r>
              <a:rPr lang="en-US" dirty="0" err="1" smtClean="0"/>
              <a:t>Meraki</a:t>
            </a:r>
            <a:r>
              <a:rPr lang="en-US" dirty="0" smtClean="0"/>
              <a:t> was founded in 2006 by a research team from MIT. The research team built a large-scale network that was completely managed over the web. At that time, it didn’t have a name but today we refer to this technology as Cloud Networking.</a:t>
            </a:r>
          </a:p>
          <a:p>
            <a:endParaRPr lang="en-US" dirty="0" smtClean="0"/>
          </a:p>
          <a:p>
            <a:r>
              <a:rPr lang="en-US" dirty="0" smtClean="0"/>
              <a:t> Cloud Networking is now a rapidly growing industry, and </a:t>
            </a:r>
            <a:r>
              <a:rPr lang="en-US" dirty="0" err="1" smtClean="0"/>
              <a:t>Meraki</a:t>
            </a:r>
            <a:r>
              <a:rPr lang="en-US" dirty="0" smtClean="0"/>
              <a:t> is leading the charge on Research and Development as well as customer adoption. </a:t>
            </a:r>
          </a:p>
          <a:p>
            <a:endParaRPr lang="en-US" dirty="0" smtClean="0"/>
          </a:p>
          <a:p>
            <a:r>
              <a:rPr lang="en-US" dirty="0" smtClean="0"/>
              <a:t> We expect to see explosive growth here at </a:t>
            </a:r>
            <a:r>
              <a:rPr lang="en-US" dirty="0" err="1" smtClean="0"/>
              <a:t>Meraki</a:t>
            </a:r>
            <a:r>
              <a:rPr lang="en-US" dirty="0" smtClean="0"/>
              <a:t> with the additional investments and backing of Cisco, and do not expect any changes to our product pricing, licensing.</a:t>
            </a:r>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3FC07C1D-DFCC-EF46-9F61-E463BB1494D8}" type="slidenum">
              <a:rPr lang="en-US" smtClean="0"/>
              <a:pPr/>
              <a:t>4</a:t>
            </a:fld>
            <a:endParaRPr lang="ja-JP"/>
          </a:p>
        </p:txBody>
      </p:sp>
    </p:spTree>
    <p:extLst>
      <p:ext uri="{BB962C8B-B14F-4D97-AF65-F5344CB8AC3E}">
        <p14:creationId xmlns:p14="http://schemas.microsoft.com/office/powerpoint/2010/main" val="28476402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make managing policy a simple and consistent effort!</a:t>
            </a:r>
          </a:p>
          <a:p>
            <a:endParaRPr lang="en-US" baseline="0" dirty="0" smtClean="0"/>
          </a:p>
          <a:p>
            <a:r>
              <a:rPr lang="en-US" baseline="0" dirty="0" smtClean="0"/>
              <a:t>Lets enable your client to evaluate the current state of the security policy structure today.  Identify potential issues that could be simply nuisance (duplicates/unused), but could also be a vulnerability (inconsistent objects)!  Once we identify, lets position them to remediate and optimize from a central location across all ASAs.  Now that we have a solid foundation, lets move to a more proactive policy management state.  Add new rules or make changes centrally and push them across one or groups or all platforms!  Ensure that you are notified when a policy has been changed out of band!  Lets remain consistent and proactive!</a:t>
            </a:r>
          </a:p>
          <a:p>
            <a:endParaRPr lang="en-US" baseline="0" dirty="0" smtClean="0"/>
          </a:p>
          <a:p>
            <a:r>
              <a:rPr lang="en-US" baseline="0" dirty="0" smtClean="0"/>
              <a:t>Every client wants layer 7 protection….not every client wants or can handle the complexity.  We want to simplify the experience of managing Firepower services to include AMP, URL and IPS.  Those customers that need/want the deep level of analytics and the goodness of </a:t>
            </a:r>
            <a:r>
              <a:rPr lang="en-US" baseline="0" dirty="0" err="1" smtClean="0"/>
              <a:t>Firesight</a:t>
            </a:r>
            <a:r>
              <a:rPr lang="en-US" baseline="0" dirty="0" smtClean="0"/>
              <a:t>, sell it!!  The number 1 goal:  increase NGFW </a:t>
            </a:r>
            <a:r>
              <a:rPr lang="en-US" baseline="0" dirty="0" err="1" smtClean="0"/>
              <a:t>marketshare</a:t>
            </a:r>
            <a:r>
              <a:rPr lang="en-US" baseline="0" dirty="0" smtClean="0"/>
              <a:t>!</a:t>
            </a:r>
          </a:p>
          <a:p>
            <a:endParaRPr lang="en-US" baseline="0" dirty="0" smtClean="0"/>
          </a:p>
          <a:p>
            <a:r>
              <a:rPr lang="en-US" baseline="0" dirty="0" smtClean="0"/>
              <a:t>Lastly….end to end policy management improves your clients overall security posture.  Lets make it simple and consistent!</a:t>
            </a:r>
            <a:endParaRPr lang="en-US" dirty="0"/>
          </a:p>
        </p:txBody>
      </p:sp>
      <p:sp>
        <p:nvSpPr>
          <p:cNvPr id="4" name="Slide Number Placeholder 3"/>
          <p:cNvSpPr>
            <a:spLocks noGrp="1"/>
          </p:cNvSpPr>
          <p:nvPr>
            <p:ph type="sldNum" sz="quarter" idx="10"/>
          </p:nvPr>
        </p:nvSpPr>
        <p:spPr/>
        <p:txBody>
          <a:bodyPr/>
          <a:lstStyle/>
          <a:p>
            <a:pPr>
              <a:defRPr/>
            </a:pPr>
            <a:fld id="{BBCE40E0-CBC1-784B-9024-1249754D1C58}" type="slidenum">
              <a:rPr lang="en-US" smtClean="0"/>
              <a:pPr>
                <a:defRPr/>
              </a:pPr>
              <a:t>36</a:t>
            </a:fld>
            <a:endParaRPr lang="en-US"/>
          </a:p>
        </p:txBody>
      </p:sp>
    </p:spTree>
    <p:extLst>
      <p:ext uri="{BB962C8B-B14F-4D97-AF65-F5344CB8AC3E}">
        <p14:creationId xmlns:p14="http://schemas.microsoft.com/office/powerpoint/2010/main" val="10049414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8696"/>
            <a:r>
              <a:rPr lang="en-US" u="sng" dirty="0" smtClean="0"/>
              <a:t>In</a:t>
            </a:r>
            <a:r>
              <a:rPr lang="en-US" u="sng" baseline="0" dirty="0" smtClean="0"/>
              <a:t> the beginning</a:t>
            </a:r>
            <a:r>
              <a:rPr lang="en-US" baseline="0" dirty="0" smtClean="0"/>
              <a:t>…..Project Lockhart is an internal development group that created CDO from scratch.  Coding up to launch was about a 15 month investment….</a:t>
            </a:r>
            <a:r>
              <a:rPr lang="en-US" baseline="0" dirty="0" err="1" smtClean="0"/>
              <a:t>alot</a:t>
            </a:r>
            <a:r>
              <a:rPr lang="en-US" baseline="0" dirty="0" smtClean="0"/>
              <a:t> done very quickly!  We are an agile shop which operates on weekly sprints which equals weekly updates to features, bug fixes or new product support.  Cisco is an innovator and this is proof.</a:t>
            </a:r>
            <a:endParaRPr lang="en-US" dirty="0" smtClean="0"/>
          </a:p>
          <a:p>
            <a:pPr marL="58696"/>
            <a:endParaRPr lang="en-US" dirty="0" smtClean="0"/>
          </a:p>
          <a:p>
            <a:pPr marL="58696"/>
            <a:endParaRPr lang="en-US" dirty="0" smtClean="0"/>
          </a:p>
          <a:p>
            <a:pPr marL="58696"/>
            <a:r>
              <a:rPr lang="en-US" dirty="0" smtClean="0"/>
              <a:t>Phase 1:  DONE!</a:t>
            </a:r>
            <a:r>
              <a:rPr lang="en-US" baseline="0" dirty="0" smtClean="0"/>
              <a:t>   Defense Orchestrator was introduced at RSA on 2/29 as a controlled launch.  This means that Defense Orchestrator team we will directly work with you folks on identified opportunities to ensure they meet the defined criteria and ultimately manage to success.  Ensure positive experience by controlling the sweet spot</a:t>
            </a:r>
          </a:p>
          <a:p>
            <a:pPr marL="58696"/>
            <a:endParaRPr lang="en-US" baseline="0" dirty="0" smtClean="0"/>
          </a:p>
          <a:p>
            <a:pPr marL="58696"/>
            <a:r>
              <a:rPr lang="en-US" baseline="0" dirty="0" smtClean="0"/>
              <a:t>Phase 2:   </a:t>
            </a:r>
            <a:r>
              <a:rPr lang="en-US" dirty="0" smtClean="0"/>
              <a:t>Test and fine tune a Repeatable Sales Process in advance of full launch:  This is through</a:t>
            </a:r>
            <a:r>
              <a:rPr lang="en-US" baseline="0" dirty="0" smtClean="0"/>
              <a:t> the channel as well as the Cisco core sales team.   </a:t>
            </a:r>
            <a:r>
              <a:rPr lang="en-US" dirty="0" smtClean="0"/>
              <a:t>Goals:  (20) closed deals, (3) Reference Customers, and Meaningful Customer</a:t>
            </a:r>
            <a:r>
              <a:rPr lang="en-US" baseline="0" dirty="0" smtClean="0"/>
              <a:t> Usage (</a:t>
            </a:r>
            <a:r>
              <a:rPr lang="en-US" baseline="0" dirty="0" err="1" smtClean="0"/>
              <a:t>mgt</a:t>
            </a:r>
            <a:r>
              <a:rPr lang="en-US" baseline="0" dirty="0" smtClean="0"/>
              <a:t> of 20 devices)</a:t>
            </a:r>
            <a:endParaRPr lang="en-US" dirty="0" smtClean="0"/>
          </a:p>
          <a:p>
            <a:pPr lvl="0"/>
            <a:endParaRPr lang="en-US" dirty="0" smtClean="0"/>
          </a:p>
          <a:p>
            <a:pPr lvl="0"/>
            <a:r>
              <a:rPr lang="en-US" dirty="0" smtClean="0"/>
              <a:t>Phase</a:t>
            </a:r>
            <a:r>
              <a:rPr lang="en-US" baseline="0" dirty="0" smtClean="0"/>
              <a:t> 3:  Tier 1 Launch at Cisco Live – Vegas</a:t>
            </a:r>
          </a:p>
          <a:p>
            <a:pPr lvl="0"/>
            <a:endParaRPr lang="en-US" baseline="0" dirty="0" smtClean="0"/>
          </a:p>
          <a:p>
            <a:pPr lvl="0"/>
            <a:r>
              <a:rPr lang="en-US" baseline="0" dirty="0" smtClean="0"/>
              <a:t>Phase 4:  Scale sales and continue to develop!</a:t>
            </a:r>
            <a:endParaRPr lang="en-US" dirty="0"/>
          </a:p>
        </p:txBody>
      </p:sp>
      <p:sp>
        <p:nvSpPr>
          <p:cNvPr id="4" name="Slide Number Placeholder 3"/>
          <p:cNvSpPr>
            <a:spLocks noGrp="1"/>
          </p:cNvSpPr>
          <p:nvPr>
            <p:ph type="sldNum" sz="quarter" idx="10"/>
          </p:nvPr>
        </p:nvSpPr>
        <p:spPr/>
        <p:txBody>
          <a:bodyPr/>
          <a:lstStyle/>
          <a:p>
            <a:pPr>
              <a:defRPr/>
            </a:pPr>
            <a:fld id="{BBCE40E0-CBC1-784B-9024-1249754D1C58}" type="slidenum">
              <a:rPr lang="en-US" smtClean="0"/>
              <a:pPr>
                <a:defRPr/>
              </a:pPr>
              <a:t>39</a:t>
            </a:fld>
            <a:endParaRPr lang="en-US"/>
          </a:p>
        </p:txBody>
      </p:sp>
    </p:spTree>
    <p:extLst>
      <p:ext uri="{BB962C8B-B14F-4D97-AF65-F5344CB8AC3E}">
        <p14:creationId xmlns:p14="http://schemas.microsoft.com/office/powerpoint/2010/main" val="1650323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rPr>
              <a:t>Introducing Defense Orchestrator:   Leveraging Defense Orchestrator, your clients are able to simply and consistently manage security policy across multiple Cisco security devices from the cloud.  (3) design principles we kept in mind as we built this solution was to keep it simple….make it efficient and to be effective.</a:t>
            </a:r>
          </a:p>
          <a:p>
            <a:endParaRPr lang="en-US" dirty="0">
              <a:solidFill>
                <a:srgbClr val="000000"/>
              </a:solidFill>
            </a:endParaRPr>
          </a:p>
          <a:p>
            <a:r>
              <a:rPr lang="en-US" dirty="0">
                <a:solidFill>
                  <a:srgbClr val="000000"/>
                </a:solidFill>
              </a:rPr>
              <a:t>Simple:  You can streamline security policy management and next-gen defense, </a:t>
            </a:r>
          </a:p>
          <a:p>
            <a:endParaRPr lang="en-US" dirty="0">
              <a:solidFill>
                <a:srgbClr val="000000"/>
              </a:solidFill>
            </a:endParaRPr>
          </a:p>
          <a:p>
            <a:r>
              <a:rPr lang="en-US" dirty="0">
                <a:solidFill>
                  <a:srgbClr val="000000"/>
                </a:solidFill>
              </a:rPr>
              <a:t>Efficient:  Extend the reach of your current resources</a:t>
            </a:r>
          </a:p>
          <a:p>
            <a:endParaRPr lang="en-US" dirty="0">
              <a:solidFill>
                <a:srgbClr val="000000"/>
              </a:solidFill>
            </a:endParaRPr>
          </a:p>
          <a:p>
            <a:r>
              <a:rPr lang="en-US" dirty="0">
                <a:solidFill>
                  <a:srgbClr val="000000"/>
                </a:solidFill>
              </a:rPr>
              <a:t>Effective:  Most security tools add management complexity. This is one of the only tools that will actually reduce the complexity and improve your security at the same time.</a:t>
            </a:r>
          </a:p>
          <a:p>
            <a:endParaRPr lang="en-US" dirty="0">
              <a:solidFill>
                <a:srgbClr val="000000"/>
              </a:solidFill>
            </a:endParaRPr>
          </a:p>
        </p:txBody>
      </p:sp>
      <p:sp>
        <p:nvSpPr>
          <p:cNvPr id="4" name="Slide Number Placeholder 3"/>
          <p:cNvSpPr>
            <a:spLocks noGrp="1"/>
          </p:cNvSpPr>
          <p:nvPr>
            <p:ph type="sldNum" sz="quarter" idx="10"/>
          </p:nvPr>
        </p:nvSpPr>
        <p:spPr/>
        <p:txBody>
          <a:bodyPr/>
          <a:lstStyle/>
          <a:p>
            <a:pPr defTabSz="939363">
              <a:defRPr/>
            </a:pPr>
            <a:fld id="{6FBCDAD4-DE78-4A33-9106-D2DBD99813FD}" type="slidenum">
              <a:rPr lang="en-US" sz="1800" kern="0">
                <a:solidFill>
                  <a:sysClr val="windowText" lastClr="000000"/>
                </a:solidFill>
              </a:rPr>
              <a:pPr defTabSz="939363">
                <a:defRPr/>
              </a:pPr>
              <a:t>40</a:t>
            </a:fld>
            <a:endParaRPr lang="en-US" sz="1800" kern="0">
              <a:solidFill>
                <a:sysClr val="windowText" lastClr="000000"/>
              </a:solidFill>
            </a:endParaRPr>
          </a:p>
        </p:txBody>
      </p:sp>
    </p:spTree>
    <p:extLst>
      <p:ext uri="{BB962C8B-B14F-4D97-AF65-F5344CB8AC3E}">
        <p14:creationId xmlns:p14="http://schemas.microsoft.com/office/powerpoint/2010/main" val="4042480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44</a:t>
            </a:fld>
            <a:endParaRPr lang="en-US"/>
          </a:p>
        </p:txBody>
      </p:sp>
    </p:spTree>
    <p:extLst>
      <p:ext uri="{BB962C8B-B14F-4D97-AF65-F5344CB8AC3E}">
        <p14:creationId xmlns:p14="http://schemas.microsoft.com/office/powerpoint/2010/main" val="2136028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0903" eaLnBrk="1" fontAlgn="auto" hangingPunct="1">
              <a:spcBef>
                <a:spcPts val="0"/>
              </a:spcBef>
              <a:spcAft>
                <a:spcPts val="0"/>
              </a:spcAft>
              <a:defRPr/>
            </a:pPr>
            <a:r>
              <a:rPr lang="en-US" dirty="0" smtClean="0"/>
              <a:t>The</a:t>
            </a:r>
            <a:r>
              <a:rPr lang="en-US" baseline="0" dirty="0" smtClean="0"/>
              <a:t> cloud infrastructure is totally scalable – here are just a few examples of some of the larger scale deployments but we’ve also been proven in over 10,000 device deployment</a:t>
            </a:r>
            <a:endParaRPr lang="en-US" dirty="0" smtClean="0"/>
          </a:p>
          <a:p>
            <a:endParaRPr lang="en-US" dirty="0"/>
          </a:p>
        </p:txBody>
      </p:sp>
      <p:sp>
        <p:nvSpPr>
          <p:cNvPr id="4" name="Slide Number Placeholder 3"/>
          <p:cNvSpPr>
            <a:spLocks noGrp="1"/>
          </p:cNvSpPr>
          <p:nvPr>
            <p:ph type="sldNum" sz="quarter" idx="10"/>
          </p:nvPr>
        </p:nvSpPr>
        <p:spPr/>
        <p:txBody>
          <a:bodyPr/>
          <a:lstStyle/>
          <a:p>
            <a:fld id="{DB330714-A4AC-FE4E-A378-D7821A4E400A}" type="slidenum">
              <a:rPr lang="en-US" smtClean="0"/>
              <a:pPr/>
              <a:t>5</a:t>
            </a:fld>
            <a:endParaRPr lang="ja-JP"/>
          </a:p>
        </p:txBody>
      </p:sp>
    </p:spTree>
    <p:extLst>
      <p:ext uri="{BB962C8B-B14F-4D97-AF65-F5344CB8AC3E}">
        <p14:creationId xmlns:p14="http://schemas.microsoft.com/office/powerpoint/2010/main" val="3955551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sz="1200" dirty="0" err="1" smtClean="0">
                <a:latin typeface="メイリオ"/>
                <a:ea typeface="メイリオ"/>
                <a:cs typeface="メイリオ"/>
              </a:rPr>
              <a:t>Meraki</a:t>
            </a:r>
            <a:r>
              <a:rPr lang="ja-JP" altLang="en-US" sz="1200" dirty="0" smtClean="0">
                <a:latin typeface="メイリオ"/>
                <a:ea typeface="メイリオ"/>
                <a:cs typeface="メイリオ"/>
              </a:rPr>
              <a:t> </a:t>
            </a:r>
            <a:r>
              <a:rPr lang="en-US" altLang="ja-JP" sz="1200" dirty="0" smtClean="0">
                <a:latin typeface="メイリオ"/>
                <a:ea typeface="メイリオ"/>
                <a:cs typeface="メイリオ"/>
              </a:rPr>
              <a:t>– </a:t>
            </a:r>
            <a:r>
              <a:rPr lang="ja-JP" altLang="en-US" sz="1200" dirty="0" smtClean="0">
                <a:latin typeface="メイリオ"/>
                <a:ea typeface="メイリオ"/>
                <a:cs typeface="メイリオ"/>
              </a:rPr>
              <a:t>世界初、クラウド管理によるネットワークシステム</a:t>
            </a:r>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2916174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330714-A4AC-FE4E-A378-D7821A4E400A}" type="slidenum">
              <a:rPr lang="en-US" smtClean="0"/>
              <a:pPr/>
              <a:t>7</a:t>
            </a:fld>
            <a:endParaRPr lang="ja-JP"/>
          </a:p>
        </p:txBody>
      </p:sp>
    </p:spTree>
    <p:extLst>
      <p:ext uri="{BB962C8B-B14F-4D97-AF65-F5344CB8AC3E}">
        <p14:creationId xmlns:p14="http://schemas.microsoft.com/office/powerpoint/2010/main" val="566576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1303401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BD1426B-E93A-F441-9B33-890563B9661E}" type="slidenum">
              <a:rPr lang="en-US" smtClean="0"/>
              <a:t>11</a:t>
            </a:fld>
            <a:endParaRPr lang="en-US"/>
          </a:p>
        </p:txBody>
      </p:sp>
    </p:spTree>
    <p:extLst>
      <p:ext uri="{BB962C8B-B14F-4D97-AF65-F5344CB8AC3E}">
        <p14:creationId xmlns:p14="http://schemas.microsoft.com/office/powerpoint/2010/main" val="1694150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9D219702-FBF2-2E45-B426-417CF33F35BB}" type="slidenum">
              <a:rPr lang="en-US" smtClean="0"/>
              <a:pPr/>
              <a:t>12</a:t>
            </a:fld>
            <a:endParaRPr lang="en-US"/>
          </a:p>
        </p:txBody>
      </p:sp>
    </p:spTree>
    <p:extLst>
      <p:ext uri="{BB962C8B-B14F-4D97-AF65-F5344CB8AC3E}">
        <p14:creationId xmlns:p14="http://schemas.microsoft.com/office/powerpoint/2010/main" val="1672842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emf"/><Relationship Id="rId3"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tiff"/><Relationship Id="rId3"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226644" y="2243153"/>
            <a:ext cx="7598042" cy="759125"/>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メイリオ"/>
                <a:ea typeface="メイリオ"/>
                <a:cs typeface="メイリオ"/>
              </a:defRPr>
            </a:lvl1pPr>
          </a:lstStyle>
          <a:p>
            <a:r>
              <a:rPr lang="en-GB" dirty="0" smtClean="0"/>
              <a:t>Session Titl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userDrawn="1"/>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8" name="Rectangle 7"/>
          <p:cNvSpPr/>
          <p:nvPr userDrawn="1"/>
        </p:nvSpPr>
        <p:spPr>
          <a:xfrm>
            <a:off x="-8626" y="0"/>
            <a:ext cx="7502697" cy="1846053"/>
          </a:xfrm>
          <a:prstGeom prst="rect">
            <a:avLst/>
          </a:prstGeom>
          <a:ln>
            <a:noFill/>
          </a:ln>
          <a:effectLst/>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smtClean="0"/>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315" y="0"/>
            <a:ext cx="3301675" cy="184719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3066" y="133350"/>
            <a:ext cx="672860" cy="355270"/>
          </a:xfrm>
          <a:prstGeom prst="rect">
            <a:avLst/>
          </a:prstGeom>
        </p:spPr>
      </p:pic>
      <p:sp>
        <p:nvSpPr>
          <p:cNvPr id="12" name="Text Placeholder 2"/>
          <p:cNvSpPr>
            <a:spLocks noGrp="1"/>
          </p:cNvSpPr>
          <p:nvPr>
            <p:ph type="body" sz="quarter" idx="13" hasCustomPrompt="1"/>
          </p:nvPr>
        </p:nvSpPr>
        <p:spPr>
          <a:xfrm>
            <a:off x="220440" y="3280765"/>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メイリオ"/>
                <a:ea typeface="メイリオ"/>
                <a:cs typeface="メイリオ"/>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3" name="Subtitle 2"/>
          <p:cNvSpPr>
            <a:spLocks noGrp="1"/>
          </p:cNvSpPr>
          <p:nvPr>
            <p:ph type="subTitle" idx="1" hasCustomPrompt="1"/>
          </p:nvPr>
        </p:nvSpPr>
        <p:spPr>
          <a:xfrm>
            <a:off x="226644" y="3862500"/>
            <a:ext cx="8296421" cy="288131"/>
          </a:xfrm>
          <a:prstGeom prst="rect">
            <a:avLst/>
          </a:prstGeom>
        </p:spPr>
        <p:txBody>
          <a:bodyPr lIns="91420" tIns="45710" rIns="91420" bIns="45710" anchor="b" anchorCtr="0">
            <a:noAutofit/>
          </a:bodyPr>
          <a:lstStyle>
            <a:lvl1pPr marL="0" indent="0" algn="l">
              <a:buNone/>
              <a:defRPr sz="1400" b="0" i="0">
                <a:solidFill>
                  <a:srgbClr val="676767"/>
                </a:solidFill>
                <a:latin typeface="メイリオ"/>
                <a:ea typeface="メイリオ"/>
                <a:cs typeface="メイリオ"/>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4" name="Text Placeholder 38"/>
          <p:cNvSpPr>
            <a:spLocks noGrp="1"/>
          </p:cNvSpPr>
          <p:nvPr>
            <p:ph type="body" sz="quarter" idx="11" hasCustomPrompt="1"/>
          </p:nvPr>
        </p:nvSpPr>
        <p:spPr>
          <a:xfrm>
            <a:off x="226644" y="4102497"/>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メイリオ"/>
                <a:ea typeface="メイリオ"/>
                <a:cs typeface="メイリオ"/>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5" name="Text Placeholder 40"/>
          <p:cNvSpPr>
            <a:spLocks noGrp="1"/>
          </p:cNvSpPr>
          <p:nvPr>
            <p:ph type="body" sz="quarter" idx="12" hasCustomPrompt="1"/>
          </p:nvPr>
        </p:nvSpPr>
        <p:spPr>
          <a:xfrm>
            <a:off x="226644" y="4342494"/>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メイリオ"/>
                <a:ea typeface="メイリオ"/>
                <a:cs typeface="メイリオ"/>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188" y="1230828"/>
            <a:ext cx="3412389" cy="599050"/>
          </a:xfrm>
          <a:prstGeom prst="rect">
            <a:avLst/>
          </a:prstGeom>
        </p:spPr>
      </p:pic>
    </p:spTree>
    <p:extLst>
      <p:ext uri="{BB962C8B-B14F-4D97-AF65-F5344CB8AC3E}">
        <p14:creationId xmlns:p14="http://schemas.microsoft.com/office/powerpoint/2010/main" val="37121915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no-bottom-bar">
    <p:spTree>
      <p:nvGrpSpPr>
        <p:cNvPr id="1" name=""/>
        <p:cNvGrpSpPr/>
        <p:nvPr/>
      </p:nvGrpSpPr>
      <p:grpSpPr>
        <a:xfrm>
          <a:off x="0" y="0"/>
          <a:ext cx="0" cy="0"/>
          <a:chOff x="0" y="0"/>
          <a:chExt cx="0" cy="0"/>
        </a:xfrm>
      </p:grpSpPr>
      <p:sp>
        <p:nvSpPr>
          <p:cNvPr id="2" name="Title 1"/>
          <p:cNvSpPr>
            <a:spLocks noGrp="1"/>
          </p:cNvSpPr>
          <p:nvPr>
            <p:ph type="title"/>
          </p:nvPr>
        </p:nvSpPr>
        <p:spPr>
          <a:xfrm>
            <a:off x="229706" y="226314"/>
            <a:ext cx="8580923" cy="603504"/>
          </a:xfrm>
        </p:spPr>
        <p:txBody>
          <a:bodyPr/>
          <a:lstStyle>
            <a:lvl1pPr algn="l" defTabSz="685800" rtl="0" eaLnBrk="1" latinLnBrk="0" hangingPunct="1">
              <a:lnSpc>
                <a:spcPct val="80000"/>
              </a:lnSpc>
              <a:spcBef>
                <a:spcPct val="0"/>
              </a:spcBef>
              <a:buNone/>
              <a:defRPr lang="en-US" sz="2700" b="0" kern="1200" spc="0" baseline="0" dirty="0">
                <a:gradFill>
                  <a:gsLst>
                    <a:gs pos="0">
                      <a:schemeClr val="tx1"/>
                    </a:gs>
                    <a:gs pos="44000">
                      <a:srgbClr val="01BBBB"/>
                    </a:gs>
                    <a:gs pos="100000">
                      <a:srgbClr val="048070"/>
                    </a:gs>
                  </a:gsLst>
                  <a:lin ang="4800000" scaled="0"/>
                </a:gradFill>
                <a:latin typeface="+mj-lt"/>
                <a:ea typeface="+mj-ea"/>
                <a:cs typeface="+mj-cs"/>
              </a:defRPr>
            </a:lvl1pPr>
          </a:lstStyle>
          <a:p>
            <a:r>
              <a:rPr lang="en-US" smtClean="0"/>
              <a:t>Click to edit Master title style</a:t>
            </a:r>
            <a:endParaRPr lang="en-US" dirty="0"/>
          </a:p>
        </p:txBody>
      </p:sp>
      <p:sp>
        <p:nvSpPr>
          <p:cNvPr id="3" name="Rectangle 2"/>
          <p:cNvSpPr/>
          <p:nvPr userDrawn="1"/>
        </p:nvSpPr>
        <p:spPr>
          <a:xfrm>
            <a:off x="304868" y="4762500"/>
            <a:ext cx="8505761" cy="16002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427941330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ullet - Cisco Std">
    <p:spTree>
      <p:nvGrpSpPr>
        <p:cNvPr id="1" name=""/>
        <p:cNvGrpSpPr/>
        <p:nvPr/>
      </p:nvGrpSpPr>
      <p:grpSpPr>
        <a:xfrm>
          <a:off x="0" y="0"/>
          <a:ext cx="0" cy="0"/>
          <a:chOff x="0" y="0"/>
          <a:chExt cx="0" cy="0"/>
        </a:xfrm>
      </p:grpSpPr>
      <p:sp>
        <p:nvSpPr>
          <p:cNvPr id="2" name="Title 1"/>
          <p:cNvSpPr>
            <a:spLocks noGrp="1"/>
          </p:cNvSpPr>
          <p:nvPr>
            <p:ph type="title"/>
          </p:nvPr>
        </p:nvSpPr>
        <p:spPr>
          <a:xfrm>
            <a:off x="229706" y="226314"/>
            <a:ext cx="8580923" cy="603504"/>
          </a:xfrm>
        </p:spPr>
        <p:txBody>
          <a:bodyPr/>
          <a:lstStyle>
            <a:lvl1pPr algn="l" defTabSz="685800" rtl="0" eaLnBrk="1" latinLnBrk="0" hangingPunct="1">
              <a:lnSpc>
                <a:spcPct val="80000"/>
              </a:lnSpc>
              <a:spcBef>
                <a:spcPct val="0"/>
              </a:spcBef>
              <a:buNone/>
              <a:defRPr lang="en-US" sz="2700" b="0" kern="1200" spc="0" baseline="0" dirty="0">
                <a:gradFill>
                  <a:gsLst>
                    <a:gs pos="0">
                      <a:schemeClr val="tx1"/>
                    </a:gs>
                    <a:gs pos="44000">
                      <a:srgbClr val="01BBBB"/>
                    </a:gs>
                    <a:gs pos="100000">
                      <a:srgbClr val="048070"/>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3232" y="843029"/>
            <a:ext cx="8570912" cy="3723894"/>
          </a:xfrm>
          <a:prstGeom prst="rect">
            <a:avLst/>
          </a:prstGeom>
        </p:spPr>
        <p:txBody>
          <a:bodyPr>
            <a:noAutofit/>
          </a:bodyPr>
          <a:lstStyle>
            <a:lvl1pPr>
              <a:lnSpc>
                <a:spcPct val="95000"/>
              </a:lnSpc>
              <a:spcBef>
                <a:spcPts val="1110"/>
              </a:spcBef>
              <a:defRPr sz="1650">
                <a:solidFill>
                  <a:srgbClr val="435153"/>
                </a:solidFill>
                <a:latin typeface="+mj-lt"/>
              </a:defRPr>
            </a:lvl1pPr>
            <a:lvl2pPr>
              <a:lnSpc>
                <a:spcPct val="95000"/>
              </a:lnSpc>
              <a:spcBef>
                <a:spcPts val="45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55764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226314"/>
            <a:ext cx="8580923" cy="603504"/>
          </a:xfrm>
        </p:spPr>
        <p:txBody>
          <a:bodyPr/>
          <a:lstStyle>
            <a:lvl1pPr algn="l" defTabSz="685891"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309856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760134"/>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メイリオ"/>
                <a:ea typeface="メイリオ"/>
                <a:cs typeface="メイリオ"/>
              </a:defRPr>
            </a:lvl1pPr>
          </a:lstStyle>
          <a:p>
            <a:r>
              <a:rPr lang="en-GB" dirty="0" smtClean="0"/>
              <a:t>Why are we here today?</a:t>
            </a:r>
            <a:endParaRPr lang="en-US" dirty="0"/>
          </a:p>
        </p:txBody>
      </p:sp>
      <p:sp>
        <p:nvSpPr>
          <p:cNvPr id="8" name="Rectangle 4"/>
          <p:cNvSpPr>
            <a:spLocks noChangeArrowheads="1"/>
          </p:cNvSpPr>
          <p:nvPr userDrawn="1"/>
        </p:nvSpPr>
        <p:spPr bwMode="ltGray">
          <a:xfrm>
            <a:off x="2822449" y="4741653"/>
            <a:ext cx="2658018" cy="154518"/>
          </a:xfrm>
          <a:prstGeom prst="rect">
            <a:avLst/>
          </a:prstGeom>
          <a:noFill/>
          <a:ln w="9525">
            <a:noFill/>
            <a:miter lim="800000"/>
            <a:headEnd/>
            <a:tailEnd/>
          </a:ln>
          <a:effectLst/>
        </p:spPr>
        <p:txBody>
          <a:bodyPr lIns="61586" tIns="30792" rIns="61586" bIns="30792" anchor="b">
            <a:spAutoFit/>
          </a:bodyPr>
          <a:lstStyle/>
          <a:p>
            <a:pPr algn="l"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65366" y="4690921"/>
            <a:ext cx="1537194" cy="289637"/>
          </a:xfrm>
          <a:prstGeom prst="rect">
            <a:avLst/>
          </a:prstGeom>
        </p:spPr>
      </p:pic>
    </p:spTree>
    <p:extLst>
      <p:ext uri="{BB962C8B-B14F-4D97-AF65-F5344CB8AC3E}">
        <p14:creationId xmlns:p14="http://schemas.microsoft.com/office/powerpoint/2010/main" val="24310592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メイリオ"/>
                <a:ea typeface="メイリオ"/>
                <a:cs typeface="メイリオ"/>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メイリオ"/>
                <a:ea typeface="メイリオ"/>
                <a:cs typeface="メイリオ"/>
              </a:defRPr>
            </a:lvl1pPr>
            <a:lvl2pPr marL="507895" indent="-215855">
              <a:lnSpc>
                <a:spcPct val="95000"/>
              </a:lnSpc>
              <a:spcBef>
                <a:spcPts val="450"/>
              </a:spcBef>
              <a:buClr>
                <a:schemeClr val="tx1"/>
              </a:buClr>
              <a:buSzPct val="80000"/>
              <a:buFont typeface="Arial"/>
              <a:buChar char="•"/>
              <a:defRPr sz="1800" b="0" i="0">
                <a:solidFill>
                  <a:srgbClr val="676767"/>
                </a:solidFill>
                <a:latin typeface="メイリオ"/>
                <a:ea typeface="メイリオ"/>
                <a:cs typeface="メイリオ"/>
              </a:defRPr>
            </a:lvl2pPr>
            <a:lvl3pPr marL="747558" indent="-171415">
              <a:buClr>
                <a:schemeClr val="tx1"/>
              </a:buClr>
              <a:buSzPct val="80000"/>
              <a:buFont typeface="Arial"/>
              <a:buChar char="•"/>
              <a:defRPr sz="1600" b="0" i="0">
                <a:solidFill>
                  <a:srgbClr val="676767"/>
                </a:solidFill>
                <a:latin typeface="メイリオ"/>
                <a:ea typeface="メイリオ"/>
                <a:cs typeface="メイリオ"/>
              </a:defRPr>
            </a:lvl3pPr>
            <a:lvl4pPr marL="911035" indent="-171415">
              <a:buClr>
                <a:schemeClr val="tx1"/>
              </a:buClr>
              <a:buSzPct val="80000"/>
              <a:buFont typeface="Arial"/>
              <a:buChar char="•"/>
              <a:defRPr sz="1400" b="0" i="0">
                <a:solidFill>
                  <a:srgbClr val="676767"/>
                </a:solidFill>
                <a:latin typeface="メイリオ"/>
                <a:ea typeface="メイリオ"/>
                <a:cs typeface="メイリオ"/>
              </a:defRPr>
            </a:lvl4pPr>
            <a:lvl5pPr marL="1082450" indent="-168240">
              <a:buClr>
                <a:schemeClr val="tx1"/>
              </a:buClr>
              <a:buSzPct val="80000"/>
              <a:buFont typeface="Arial"/>
              <a:buChar char="•"/>
              <a:defRPr sz="1200" b="0" i="0">
                <a:solidFill>
                  <a:srgbClr val="676767"/>
                </a:solidFill>
                <a:latin typeface="メイリオ"/>
                <a:ea typeface="メイリオ"/>
                <a:cs typeface="メイリオ"/>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latin typeface="メイリオ"/>
                <a:ea typeface="メイリオ"/>
                <a:cs typeface="メイリオ"/>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8"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216" y="-2571"/>
            <a:ext cx="9150431" cy="5148643"/>
          </a:xfrm>
          <a:prstGeom prst="rect">
            <a:avLst/>
          </a:prstGeom>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191745" y="1643634"/>
            <a:ext cx="8760510" cy="1856232"/>
          </a:xfrm>
          <a:prstGeom prst="rect">
            <a:avLst/>
          </a:prstGeom>
        </p:spPr>
      </p:pic>
    </p:spTree>
    <p:extLst>
      <p:ext uri="{BB962C8B-B14F-4D97-AF65-F5344CB8AC3E}">
        <p14:creationId xmlns:p14="http://schemas.microsoft.com/office/powerpoint/2010/main" val="399144585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lvl1pPr>
          </a:lstStyle>
          <a:p>
            <a:pPr lvl="0"/>
            <a:r>
              <a:rPr lang="en-US" dirty="0" smtClean="0"/>
              <a:t>Why are we here today?</a:t>
            </a:r>
            <a:endParaRPr lang="en-GB" dirty="0"/>
          </a:p>
        </p:txBody>
      </p:sp>
    </p:spTree>
    <p:extLst>
      <p:ext uri="{BB962C8B-B14F-4D97-AF65-F5344CB8AC3E}">
        <p14:creationId xmlns:p14="http://schemas.microsoft.com/office/powerpoint/2010/main" val="250828998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7767" y="485585"/>
            <a:ext cx="8277608" cy="443295"/>
          </a:xfrm>
        </p:spPr>
        <p:txBody>
          <a:bodyPr anchor="b"/>
          <a:lstStyle>
            <a:lvl1pPr>
              <a:defRPr sz="2400"/>
            </a:lvl1pPr>
          </a:lstStyle>
          <a:p>
            <a:r>
              <a:rPr lang="en-US" dirty="0"/>
              <a:t>Click to edit Master title style</a:t>
            </a:r>
          </a:p>
        </p:txBody>
      </p:sp>
    </p:spTree>
    <p:extLst>
      <p:ext uri="{BB962C8B-B14F-4D97-AF65-F5344CB8AC3E}">
        <p14:creationId xmlns:p14="http://schemas.microsoft.com/office/powerpoint/2010/main" val="428362097"/>
      </p:ext>
    </p:extLst>
  </p:cSld>
  <p:clrMapOvr>
    <a:masterClrMapping/>
  </p:clrMapOvr>
  <p:transition xmlns:p14="http://schemas.microsoft.com/office/powerpoint/2010/main" spd="med">
    <p:fade/>
  </p:transition>
  <p:extLst mod="1">
    <p:ext uri="{DCECCB84-F9BA-43D5-87BE-67443E8EF086}">
      <p15:sldGuideLst xmlns="" xmlns:p15="http://schemas.microsoft.com/office/powerpoint/2012/main"/>
    </p:ext>
  </p:extLs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25751" y="4697113"/>
            <a:ext cx="1466491" cy="257445"/>
          </a:xfrm>
          <a:prstGeom prst="rect">
            <a:avLst/>
          </a:prstGeom>
        </p:spPr>
      </p:pic>
      <p:sp>
        <p:nvSpPr>
          <p:cNvPr id="1026" name="Title Placeholder 5"/>
          <p:cNvSpPr>
            <a:spLocks noGrp="1"/>
          </p:cNvSpPr>
          <p:nvPr>
            <p:ph type="title"/>
          </p:nvPr>
        </p:nvSpPr>
        <p:spPr bwMode="auto">
          <a:xfrm>
            <a:off x="437766" y="13395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3" name="Rectangle 4"/>
          <p:cNvSpPr>
            <a:spLocks noChangeArrowheads="1"/>
          </p:cNvSpPr>
          <p:nvPr/>
        </p:nvSpPr>
        <p:spPr bwMode="ltGray">
          <a:xfrm>
            <a:off x="2806259" y="4736431"/>
            <a:ext cx="2658018" cy="154518"/>
          </a:xfrm>
          <a:prstGeom prst="rect">
            <a:avLst/>
          </a:prstGeom>
          <a:noFill/>
          <a:ln w="9525">
            <a:noFill/>
            <a:miter lim="800000"/>
            <a:headEnd/>
            <a:tailEnd/>
          </a:ln>
          <a:effectLst/>
        </p:spPr>
        <p:txBody>
          <a:bodyPr lIns="61586" tIns="30792" rIns="61586" bIns="30792" anchor="b">
            <a:spAutoFit/>
          </a:bodyPr>
          <a:lstStyle/>
          <a:p>
            <a:pPr algn="ct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6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6" r:id="rId1"/>
    <p:sldLayoutId id="2147483877" r:id="rId2"/>
    <p:sldLayoutId id="2147483880" r:id="rId3"/>
    <p:sldLayoutId id="2147483879" r:id="rId4"/>
    <p:sldLayoutId id="2147483885" r:id="rId5"/>
    <p:sldLayoutId id="2147483897" r:id="rId6"/>
    <p:sldLayoutId id="2147483920" r:id="rId7"/>
    <p:sldLayoutId id="2147483921" r:id="rId8"/>
    <p:sldLayoutId id="2147483922" r:id="rId9"/>
    <p:sldLayoutId id="2147483925" r:id="rId10"/>
    <p:sldLayoutId id="2147483926" r:id="rId11"/>
    <p:sldLayoutId id="2147483929" r:id="rId12"/>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メイリオ"/>
          <a:ea typeface="メイリオ"/>
          <a:cs typeface="メイリオ"/>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9.xml"/><Relationship Id="rId3" Type="http://schemas.openxmlformats.org/officeDocument/2006/relationships/image" Target="../media/image31.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g"/><Relationship Id="rId4" Type="http://schemas.openxmlformats.org/officeDocument/2006/relationships/image" Target="../media/image33.tiff"/><Relationship Id="rId5" Type="http://schemas.openxmlformats.org/officeDocument/2006/relationships/image" Target="../media/image30.png"/><Relationship Id="rId6" Type="http://schemas.openxmlformats.org/officeDocument/2006/relationships/image" Target="../media/image34.gif"/><Relationship Id="rId1" Type="http://schemas.openxmlformats.org/officeDocument/2006/relationships/slideLayout" Target="../slideLayouts/slideLayout11.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2.xml"/><Relationship Id="rId3"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tiff"/><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png"/><Relationship Id="rId9" Type="http://schemas.openxmlformats.org/officeDocument/2006/relationships/image" Target="../media/image42.jpeg"/><Relationship Id="rId1" Type="http://schemas.openxmlformats.org/officeDocument/2006/relationships/slideLayout" Target="../slideLayouts/slideLayout10.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xml"/><Relationship Id="rId3"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5.xml"/><Relationship Id="rId3" Type="http://schemas.openxmlformats.org/officeDocument/2006/relationships/image" Target="../media/image43.jpe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jpeg"/><Relationship Id="rId5" Type="http://schemas.openxmlformats.org/officeDocument/2006/relationships/image" Target="../media/image46.jpeg"/><Relationship Id="rId1" Type="http://schemas.openxmlformats.org/officeDocument/2006/relationships/slideLayout" Target="../slideLayouts/slideLayout12.xml"/><Relationship Id="rId2"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hyperlink" Target="https://meraki.cisco.com/mx" TargetMode="External"/><Relationship Id="rId4" Type="http://schemas.openxmlformats.org/officeDocument/2006/relationships/hyperlink" Target="https://meraki.cisco.com/lib/pdf/meraki_whitepaper_mx_sizing_guide.pdf" TargetMode="External"/><Relationship Id="rId5" Type="http://schemas.openxmlformats.org/officeDocument/2006/relationships/hyperlink" Target="http://cs.co/talkmeraki" TargetMode="External"/><Relationship Id="rId6" Type="http://schemas.openxmlformats.org/officeDocument/2006/relationships/hyperlink" Target="https://meraki.cisco.com/ja/form/demo" TargetMode="External"/><Relationship Id="rId1" Type="http://schemas.openxmlformats.org/officeDocument/2006/relationships/slideLayout" Target="../slideLayouts/slideLayout8.xml"/><Relationship Id="rId2"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image" Target="../media/image47.jpeg"/><Relationship Id="rId4" Type="http://schemas.openxmlformats.org/officeDocument/2006/relationships/image" Target="../media/image48.png"/><Relationship Id="rId5" Type="http://schemas.openxmlformats.org/officeDocument/2006/relationships/image" Target="../media/image49.png"/><Relationship Id="rId6" Type="http://schemas.openxmlformats.org/officeDocument/2006/relationships/image" Target="../media/image50.png"/><Relationship Id="rId7" Type="http://schemas.openxmlformats.org/officeDocument/2006/relationships/image" Target="../media/image51.png"/><Relationship Id="rId1" Type="http://schemas.openxmlformats.org/officeDocument/2006/relationships/slideLayout" Target="../slideLayouts/slideLayout9.xml"/><Relationship Id="rId2" Type="http://schemas.openxmlformats.org/officeDocument/2006/relationships/notesSlide" Target="../notesSlides/notesSlide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1.xml"/><Relationship Id="rId3" Type="http://schemas.openxmlformats.org/officeDocument/2006/relationships/image" Target="../media/image5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2.xml"/><Relationship Id="rId3"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1" Type="http://schemas.openxmlformats.org/officeDocument/2006/relationships/slideLayout" Target="../slideLayouts/slideLayout9.xml"/><Relationship Id="rId2"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5.xml"/><Relationship Id="rId3" Type="http://schemas.openxmlformats.org/officeDocument/2006/relationships/image" Target="../media/image55.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6.xml"/><Relationship Id="rId3" Type="http://schemas.openxmlformats.org/officeDocument/2006/relationships/image" Target="../media/image55.w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7.xml"/><Relationship Id="rId3" Type="http://schemas.openxmlformats.org/officeDocument/2006/relationships/image" Target="../media/image55.w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28.xml"/><Relationship Id="rId3" Type="http://schemas.openxmlformats.org/officeDocument/2006/relationships/image" Target="../media/image55.wmf"/></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58.png"/><Relationship Id="rId1" Type="http://schemas.openxmlformats.org/officeDocument/2006/relationships/slideLayout" Target="../slideLayouts/slideLayout9.xml"/><Relationship Id="rId2"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8.xml"/><Relationship Id="rId2"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jpeg"/><Relationship Id="rId8" Type="http://schemas.openxmlformats.org/officeDocument/2006/relationships/image" Target="../media/image16.png"/><Relationship Id="rId9" Type="http://schemas.openxmlformats.org/officeDocument/2006/relationships/image" Target="../media/image17.png"/><Relationship Id="rId1" Type="http://schemas.openxmlformats.org/officeDocument/2006/relationships/slideLayout" Target="../slideLayouts/slideLayout10.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notesSlide" Target="../notesSlides/notesSlide32.xml"/><Relationship Id="rId5" Type="http://schemas.openxmlformats.org/officeDocument/2006/relationships/image" Target="../media/image60.jpeg"/><Relationship Id="rId6" Type="http://schemas.openxmlformats.org/officeDocument/2006/relationships/oleObject" Target="../embeddings/oleObject1.bin"/><Relationship Id="rId7" Type="http://schemas.openxmlformats.org/officeDocument/2006/relationships/image" Target="../media/image59.emf"/><Relationship Id="rId1" Type="http://schemas.openxmlformats.org/officeDocument/2006/relationships/vmlDrawing" Target="../drawings/vmlDrawing1.vml"/><Relationship Id="rId2" Type="http://schemas.openxmlformats.org/officeDocument/2006/relationships/tags" Target="../tags/tag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cisco.com/c/en/us/products/security/defense-orchestrator/index.html"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xml"/><Relationship Id="rId3"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4" Type="http://schemas.openxmlformats.org/officeDocument/2006/relationships/image" Target="../media/image20.png"/><Relationship Id="rId5" Type="http://schemas.openxmlformats.org/officeDocument/2006/relationships/image" Target="../media/image21.jpeg"/><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 Id="rId1" Type="http://schemas.openxmlformats.org/officeDocument/2006/relationships/slideLayout" Target="../slideLayouts/slideLayout10.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png"/><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7.xml"/><Relationship Id="rId3" Type="http://schemas.openxmlformats.org/officeDocument/2006/relationships/image" Target="../media/image2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369914"/>
            <a:ext cx="9144000" cy="759125"/>
          </a:xfrm>
        </p:spPr>
        <p:txBody>
          <a:bodyPr/>
          <a:lstStyle/>
          <a:p>
            <a:pPr algn="ctr"/>
            <a:r>
              <a:rPr lang="en-US" sz="4000" dirty="0" smtClean="0"/>
              <a:t/>
            </a:r>
            <a:br>
              <a:rPr lang="en-US" sz="4000" dirty="0" smtClean="0"/>
            </a:br>
            <a:r>
              <a:rPr lang="ja-JP" altLang="en-US" sz="4000" dirty="0" smtClean="0"/>
              <a:t>クラウドベースのセキュリティ管理</a:t>
            </a:r>
            <a:endParaRPr lang="en-US" sz="4000" dirty="0"/>
          </a:p>
        </p:txBody>
      </p:sp>
      <p:sp>
        <p:nvSpPr>
          <p:cNvPr id="4" name="Subtitle 3"/>
          <p:cNvSpPr>
            <a:spLocks noGrp="1"/>
          </p:cNvSpPr>
          <p:nvPr>
            <p:ph type="subTitle" idx="1"/>
          </p:nvPr>
        </p:nvSpPr>
        <p:spPr/>
        <p:txBody>
          <a:bodyPr/>
          <a:lstStyle/>
          <a:p>
            <a:r>
              <a:rPr lang="ja-JP" altLang="en-US" dirty="0" smtClean="0">
                <a:latin typeface="メイリオ"/>
                <a:ea typeface="メイリオ"/>
                <a:cs typeface="メイリオ"/>
              </a:rPr>
              <a:t>セキュリティ事業</a:t>
            </a:r>
            <a:endParaRPr lang="en-US" dirty="0">
              <a:latin typeface="メイリオ"/>
              <a:ea typeface="メイリオ"/>
              <a:cs typeface="メイリオ"/>
            </a:endParaRPr>
          </a:p>
        </p:txBody>
      </p:sp>
      <p:sp>
        <p:nvSpPr>
          <p:cNvPr id="5" name="Text Placeholder 4"/>
          <p:cNvSpPr>
            <a:spLocks noGrp="1"/>
          </p:cNvSpPr>
          <p:nvPr>
            <p:ph type="body" sz="quarter" idx="11"/>
          </p:nvPr>
        </p:nvSpPr>
        <p:spPr/>
        <p:txBody>
          <a:bodyPr/>
          <a:lstStyle/>
          <a:p>
            <a:r>
              <a:rPr lang="en-US" dirty="0" smtClean="0">
                <a:latin typeface="メイリオ"/>
                <a:ea typeface="メイリオ"/>
                <a:cs typeface="メイリオ"/>
              </a:rPr>
              <a:t>佐藤徹也</a:t>
            </a:r>
            <a:endParaRPr lang="en-US" dirty="0">
              <a:latin typeface="メイリオ"/>
              <a:ea typeface="メイリオ"/>
              <a:cs typeface="メイリオ"/>
            </a:endParaRPr>
          </a:p>
        </p:txBody>
      </p:sp>
      <p:sp>
        <p:nvSpPr>
          <p:cNvPr id="6" name="Text Placeholder 5"/>
          <p:cNvSpPr>
            <a:spLocks noGrp="1"/>
          </p:cNvSpPr>
          <p:nvPr>
            <p:ph type="body" sz="quarter" idx="12"/>
          </p:nvPr>
        </p:nvSpPr>
        <p:spPr/>
        <p:txBody>
          <a:bodyPr/>
          <a:lstStyle/>
          <a:p>
            <a:r>
              <a:rPr lang="en-US" dirty="0" smtClean="0">
                <a:latin typeface="メイリオ"/>
                <a:ea typeface="メイリオ"/>
                <a:cs typeface="メイリオ"/>
              </a:rPr>
              <a:t>Date:  </a:t>
            </a:r>
            <a:r>
              <a:rPr lang="en-US" altLang="ja-JP" dirty="0" smtClean="0">
                <a:latin typeface="メイリオ"/>
                <a:ea typeface="メイリオ"/>
                <a:cs typeface="メイリオ"/>
              </a:rPr>
              <a:t>7</a:t>
            </a:r>
            <a:r>
              <a:rPr lang="en-US" dirty="0" smtClean="0">
                <a:latin typeface="メイリオ"/>
                <a:ea typeface="メイリオ"/>
                <a:cs typeface="メイリオ"/>
              </a:rPr>
              <a:t>/</a:t>
            </a:r>
            <a:r>
              <a:rPr lang="en-US" altLang="ja-JP" dirty="0" smtClean="0">
                <a:latin typeface="メイリオ"/>
                <a:ea typeface="メイリオ"/>
                <a:cs typeface="メイリオ"/>
              </a:rPr>
              <a:t>1</a:t>
            </a:r>
            <a:r>
              <a:rPr lang="en-US" dirty="0" smtClean="0">
                <a:latin typeface="メイリオ"/>
                <a:ea typeface="メイリオ"/>
                <a:cs typeface="メイリオ"/>
              </a:rPr>
              <a:t>/</a:t>
            </a:r>
            <a:r>
              <a:rPr lang="en-US" dirty="0" smtClean="0">
                <a:latin typeface="メイリオ"/>
                <a:ea typeface="メイリオ"/>
                <a:cs typeface="メイリオ"/>
              </a:rPr>
              <a:t>2016</a:t>
            </a:r>
            <a:endParaRPr lang="en-US" dirty="0">
              <a:latin typeface="メイリオ"/>
              <a:ea typeface="メイリオ"/>
              <a:cs typeface="メイリオ"/>
            </a:endParaRPr>
          </a:p>
        </p:txBody>
      </p:sp>
      <p:sp>
        <p:nvSpPr>
          <p:cNvPr id="7" name="テキスト プレースホルダー 6"/>
          <p:cNvSpPr>
            <a:spLocks noGrp="1"/>
          </p:cNvSpPr>
          <p:nvPr>
            <p:ph type="body" sz="quarter" idx="13"/>
          </p:nvPr>
        </p:nvSpPr>
        <p:spPr/>
        <p:txBody>
          <a:bodyPr/>
          <a:lstStyle/>
          <a:p>
            <a:r>
              <a:rPr lang="en-US" altLang="ja-JP" sz="2400" dirty="0" err="1"/>
              <a:t>Meraki</a:t>
            </a:r>
            <a:r>
              <a:rPr lang="ja-JP" altLang="en-US" sz="2400" dirty="0"/>
              <a:t> </a:t>
            </a:r>
            <a:r>
              <a:rPr lang="en-US" altLang="ja-JP" sz="2400" dirty="0"/>
              <a:t>MX </a:t>
            </a:r>
            <a:r>
              <a:rPr lang="en-US" altLang="ja-JP" sz="2400" dirty="0" smtClean="0"/>
              <a:t>Update</a:t>
            </a:r>
            <a:r>
              <a:rPr lang="ja-JP" altLang="en-US" sz="2400" dirty="0" smtClean="0"/>
              <a:t> </a:t>
            </a:r>
            <a:r>
              <a:rPr lang="en-US" altLang="ja-JP" sz="2400" dirty="0" smtClean="0"/>
              <a:t>/</a:t>
            </a:r>
            <a:r>
              <a:rPr lang="ja-JP" altLang="en-US" sz="2400" dirty="0" smtClean="0"/>
              <a:t> </a:t>
            </a:r>
            <a:r>
              <a:rPr lang="en-US" altLang="ja-JP" sz="2400" dirty="0" smtClean="0"/>
              <a:t>Cisco </a:t>
            </a:r>
            <a:r>
              <a:rPr lang="en-US" altLang="ja-JP" sz="2400" dirty="0"/>
              <a:t>Defense </a:t>
            </a:r>
            <a:r>
              <a:rPr lang="en-US" altLang="ja-JP" sz="2400" dirty="0" smtClean="0"/>
              <a:t>Orchestrator</a:t>
            </a:r>
            <a:endParaRPr kumimoji="1" lang="ja-JP" altLang="en-US" dirty="0"/>
          </a:p>
        </p:txBody>
      </p:sp>
    </p:spTree>
    <p:extLst>
      <p:ext uri="{BB962C8B-B14F-4D97-AF65-F5344CB8AC3E}">
        <p14:creationId xmlns:p14="http://schemas.microsoft.com/office/powerpoint/2010/main" val="353441334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altLang="ja-JP" sz="4500" dirty="0" err="1" smtClean="0"/>
              <a:t>Meraki</a:t>
            </a:r>
            <a:r>
              <a:rPr lang="ja-JP" altLang="en-US" sz="4500" dirty="0" smtClean="0"/>
              <a:t> </a:t>
            </a:r>
            <a:r>
              <a:rPr lang="en-US" altLang="ja-JP" sz="4500" dirty="0" smtClean="0"/>
              <a:t>MX</a:t>
            </a:r>
            <a:r>
              <a:rPr lang="ja-JP" altLang="en-US" sz="4500" dirty="0" smtClean="0"/>
              <a:t> アップデート </a:t>
            </a:r>
            <a:endParaRPr lang="en-US" sz="4500" dirty="0"/>
          </a:p>
        </p:txBody>
      </p:sp>
    </p:spTree>
    <p:extLst>
      <p:ext uri="{BB962C8B-B14F-4D97-AF65-F5344CB8AC3E}">
        <p14:creationId xmlns:p14="http://schemas.microsoft.com/office/powerpoint/2010/main" val="188289656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solidFill>
                  <a:srgbClr val="2968AF"/>
                </a:solidFill>
                <a:latin typeface="メイリオ"/>
                <a:ea typeface="メイリオ"/>
                <a:cs typeface="メイリオ"/>
              </a:rPr>
              <a:t>MX </a:t>
            </a:r>
            <a:r>
              <a:rPr lang="en-US" dirty="0" smtClean="0">
                <a:solidFill>
                  <a:srgbClr val="2968AF"/>
                </a:solidFill>
                <a:latin typeface="メイリオ"/>
                <a:ea typeface="メイリオ"/>
                <a:cs typeface="メイリオ"/>
              </a:rPr>
              <a:t>IWAN 機能</a:t>
            </a:r>
            <a:endParaRPr lang="en-US" dirty="0">
              <a:solidFill>
                <a:srgbClr val="2968AF"/>
              </a:solidFill>
              <a:latin typeface="メイリオ"/>
              <a:ea typeface="メイリオ"/>
              <a:cs typeface="メイリオ"/>
            </a:endParaRPr>
          </a:p>
        </p:txBody>
      </p:sp>
      <p:sp>
        <p:nvSpPr>
          <p:cNvPr id="5" name="TextBox 4"/>
          <p:cNvSpPr txBox="1"/>
          <p:nvPr/>
        </p:nvSpPr>
        <p:spPr>
          <a:xfrm>
            <a:off x="377373" y="1157880"/>
            <a:ext cx="3562766" cy="1186479"/>
          </a:xfrm>
          <a:prstGeom prst="rect">
            <a:avLst/>
          </a:prstGeom>
          <a:noFill/>
        </p:spPr>
        <p:txBody>
          <a:bodyPr wrap="square" rtlCol="0">
            <a:spAutoFit/>
          </a:bodyPr>
          <a:lstStyle/>
          <a:p>
            <a:pPr>
              <a:lnSpc>
                <a:spcPct val="130000"/>
              </a:lnSpc>
            </a:pPr>
            <a:r>
              <a:rPr lang="ja-JP" altLang="en-US" sz="1500" dirty="0" smtClean="0">
                <a:latin typeface="メイリオ"/>
                <a:ea typeface="メイリオ"/>
                <a:cs typeface="メイリオ"/>
              </a:rPr>
              <a:t>デュアルアクティブ</a:t>
            </a:r>
            <a:r>
              <a:rPr lang="en-US" sz="1500" dirty="0" smtClean="0">
                <a:latin typeface="メイリオ"/>
                <a:ea typeface="メイリオ"/>
                <a:cs typeface="メイリオ"/>
              </a:rPr>
              <a:t>:</a:t>
            </a:r>
            <a:endParaRPr lang="en-US" sz="1500" dirty="0">
              <a:latin typeface="メイリオ"/>
              <a:ea typeface="メイリオ"/>
              <a:cs typeface="メイリオ"/>
            </a:endParaRPr>
          </a:p>
          <a:p>
            <a:pPr marL="253604" indent="-128588">
              <a:buClr>
                <a:srgbClr val="7AC043"/>
              </a:buClr>
              <a:buFont typeface="Arial"/>
              <a:buChar char="•"/>
            </a:pPr>
            <a:r>
              <a:rPr lang="en-US" sz="1200" dirty="0">
                <a:solidFill>
                  <a:srgbClr val="555555"/>
                </a:solidFill>
                <a:latin typeface="メイリオ"/>
                <a:ea typeface="メイリオ"/>
                <a:cs typeface="メイリオ"/>
              </a:rPr>
              <a:t>Active-active VPN</a:t>
            </a:r>
          </a:p>
          <a:p>
            <a:pPr marL="253604" indent="-128588">
              <a:buClr>
                <a:srgbClr val="7AC043"/>
              </a:buClr>
              <a:buFont typeface="Arial"/>
              <a:buChar char="•"/>
            </a:pPr>
            <a:r>
              <a:rPr lang="en-US" sz="1200" dirty="0">
                <a:solidFill>
                  <a:srgbClr val="555555"/>
                </a:solidFill>
                <a:latin typeface="メイリオ"/>
                <a:ea typeface="メイリオ"/>
                <a:cs typeface="メイリオ"/>
              </a:rPr>
              <a:t>Active-active VPN &amp; MPLS</a:t>
            </a:r>
          </a:p>
          <a:p>
            <a:pPr marL="253604" indent="-128588">
              <a:buFont typeface="Arial"/>
              <a:buChar char="•"/>
            </a:pPr>
            <a:endParaRPr lang="en-US" sz="1200" dirty="0">
              <a:solidFill>
                <a:srgbClr val="555555"/>
              </a:solidFill>
              <a:latin typeface="メイリオ"/>
              <a:ea typeface="メイリオ"/>
              <a:cs typeface="メイリオ"/>
            </a:endParaRPr>
          </a:p>
          <a:p>
            <a:pPr marL="125016">
              <a:lnSpc>
                <a:spcPct val="130000"/>
              </a:lnSpc>
            </a:pPr>
            <a:endParaRPr lang="en-US" sz="1200" dirty="0">
              <a:latin typeface="メイリオ"/>
              <a:ea typeface="メイリオ"/>
              <a:cs typeface="メイリオ"/>
            </a:endParaRPr>
          </a:p>
        </p:txBody>
      </p:sp>
      <p:sp>
        <p:nvSpPr>
          <p:cNvPr id="6" name="TextBox 5"/>
          <p:cNvSpPr txBox="1"/>
          <p:nvPr/>
        </p:nvSpPr>
        <p:spPr>
          <a:xfrm>
            <a:off x="377374" y="2147733"/>
            <a:ext cx="3385002" cy="946413"/>
          </a:xfrm>
          <a:prstGeom prst="rect">
            <a:avLst/>
          </a:prstGeom>
          <a:noFill/>
        </p:spPr>
        <p:txBody>
          <a:bodyPr wrap="square" rtlCol="0">
            <a:spAutoFit/>
          </a:bodyPr>
          <a:lstStyle/>
          <a:p>
            <a:pPr>
              <a:lnSpc>
                <a:spcPct val="130000"/>
              </a:lnSpc>
            </a:pPr>
            <a:r>
              <a:rPr lang="en-US" sz="1500" dirty="0">
                <a:latin typeface="メイリオ"/>
                <a:ea typeface="メイリオ"/>
                <a:cs typeface="メイリオ"/>
              </a:rPr>
              <a:t>Policy-based routing (</a:t>
            </a:r>
            <a:r>
              <a:rPr lang="en-US" sz="1500" dirty="0" err="1">
                <a:latin typeface="メイリオ"/>
                <a:ea typeface="メイリオ"/>
                <a:cs typeface="メイリオ"/>
              </a:rPr>
              <a:t>PbR</a:t>
            </a:r>
            <a:r>
              <a:rPr lang="en-US" sz="1500" dirty="0">
                <a:latin typeface="メイリオ"/>
                <a:ea typeface="メイリオ"/>
                <a:cs typeface="メイリオ"/>
              </a:rPr>
              <a:t>) :</a:t>
            </a:r>
          </a:p>
          <a:p>
            <a:pPr marL="253604" indent="-128588">
              <a:buClr>
                <a:srgbClr val="7AC043"/>
              </a:buClr>
              <a:buFont typeface="Arial"/>
              <a:buChar char="•"/>
            </a:pPr>
            <a:r>
              <a:rPr lang="ja-JP" altLang="en-US" sz="1200" dirty="0" smtClean="0">
                <a:solidFill>
                  <a:srgbClr val="555555"/>
                </a:solidFill>
                <a:latin typeface="メイリオ"/>
                <a:ea typeface="メイリオ"/>
                <a:cs typeface="メイリオ"/>
              </a:rPr>
              <a:t>プロトコル、サブネットソース、デスティネーションなどでアップリンクを自動的に選択。</a:t>
            </a:r>
            <a:endParaRPr lang="en-US" sz="1200" dirty="0">
              <a:solidFill>
                <a:srgbClr val="555555"/>
              </a:solidFill>
              <a:latin typeface="メイリオ"/>
              <a:ea typeface="メイリオ"/>
              <a:cs typeface="メイリオ"/>
            </a:endParaRPr>
          </a:p>
        </p:txBody>
      </p:sp>
      <p:sp>
        <p:nvSpPr>
          <p:cNvPr id="8" name="TextBox 7"/>
          <p:cNvSpPr txBox="1"/>
          <p:nvPr/>
        </p:nvSpPr>
        <p:spPr>
          <a:xfrm>
            <a:off x="377373" y="3292019"/>
            <a:ext cx="3562765" cy="761747"/>
          </a:xfrm>
          <a:prstGeom prst="rect">
            <a:avLst/>
          </a:prstGeom>
          <a:noFill/>
        </p:spPr>
        <p:txBody>
          <a:bodyPr wrap="square" rtlCol="0">
            <a:spAutoFit/>
          </a:bodyPr>
          <a:lstStyle/>
          <a:p>
            <a:pPr>
              <a:lnSpc>
                <a:spcPct val="130000"/>
              </a:lnSpc>
            </a:pPr>
            <a:r>
              <a:rPr lang="ja-JP" altLang="en-US" sz="1500" dirty="0" smtClean="0">
                <a:latin typeface="メイリオ"/>
                <a:ea typeface="メイリオ"/>
                <a:cs typeface="メイリオ"/>
              </a:rPr>
              <a:t>ダイナミックパスセレクション</a:t>
            </a:r>
            <a:r>
              <a:rPr lang="en-US" sz="1500" dirty="0" smtClean="0">
                <a:latin typeface="メイリオ"/>
                <a:ea typeface="メイリオ"/>
                <a:cs typeface="メイリオ"/>
              </a:rPr>
              <a:t>:</a:t>
            </a:r>
            <a:endParaRPr lang="en-US" sz="1500" dirty="0">
              <a:latin typeface="メイリオ"/>
              <a:ea typeface="メイリオ"/>
              <a:cs typeface="メイリオ"/>
            </a:endParaRPr>
          </a:p>
          <a:p>
            <a:pPr marL="253604" indent="-128588">
              <a:buClr>
                <a:srgbClr val="7AC043"/>
              </a:buClr>
              <a:buFont typeface="Arial"/>
              <a:buChar char="•"/>
            </a:pPr>
            <a:r>
              <a:rPr lang="ja-JP" altLang="en-US" sz="1200" dirty="0" smtClean="0">
                <a:solidFill>
                  <a:srgbClr val="555555"/>
                </a:solidFill>
                <a:latin typeface="メイリオ"/>
                <a:ea typeface="メイリオ"/>
                <a:cs typeface="メイリオ"/>
              </a:rPr>
              <a:t>メトリック</a:t>
            </a:r>
            <a:r>
              <a:rPr lang="en-US" altLang="ja-JP" sz="1200" dirty="0" smtClean="0">
                <a:solidFill>
                  <a:srgbClr val="555555"/>
                </a:solidFill>
                <a:latin typeface="メイリオ"/>
                <a:ea typeface="メイリオ"/>
                <a:cs typeface="メイリオ"/>
              </a:rPr>
              <a:t>(latency </a:t>
            </a:r>
            <a:r>
              <a:rPr lang="ja-JP" altLang="en-US" sz="1200" dirty="0" smtClean="0">
                <a:solidFill>
                  <a:srgbClr val="555555"/>
                </a:solidFill>
                <a:latin typeface="メイリオ"/>
                <a:ea typeface="メイリオ"/>
                <a:cs typeface="メイリオ"/>
              </a:rPr>
              <a:t>やロス</a:t>
            </a:r>
            <a:r>
              <a:rPr lang="en-US" altLang="ja-JP" sz="1200" dirty="0" smtClean="0">
                <a:solidFill>
                  <a:srgbClr val="555555"/>
                </a:solidFill>
                <a:latin typeface="メイリオ"/>
                <a:ea typeface="メイリオ"/>
                <a:cs typeface="メイリオ"/>
              </a:rPr>
              <a:t>)</a:t>
            </a:r>
            <a:r>
              <a:rPr lang="ja-JP" altLang="en-US" sz="1200" dirty="0" smtClean="0">
                <a:solidFill>
                  <a:srgbClr val="555555"/>
                </a:solidFill>
                <a:latin typeface="メイリオ"/>
                <a:ea typeface="メイリオ"/>
                <a:cs typeface="メイリオ"/>
              </a:rPr>
              <a:t>を元に最善な</a:t>
            </a:r>
            <a:r>
              <a:rPr lang="en-US" altLang="ja-JP" sz="1200" dirty="0" smtClean="0">
                <a:solidFill>
                  <a:srgbClr val="555555"/>
                </a:solidFill>
                <a:latin typeface="メイリオ"/>
                <a:ea typeface="メイリオ"/>
                <a:cs typeface="メイリオ"/>
              </a:rPr>
              <a:t> VPN </a:t>
            </a:r>
            <a:r>
              <a:rPr lang="ja-JP" altLang="en-US" sz="1200" dirty="0" smtClean="0">
                <a:solidFill>
                  <a:srgbClr val="555555"/>
                </a:solidFill>
                <a:latin typeface="メイリオ"/>
                <a:ea typeface="メイリオ"/>
                <a:cs typeface="メイリオ"/>
              </a:rPr>
              <a:t>トンネルを自動で選択</a:t>
            </a:r>
            <a:endParaRPr lang="en-US" sz="1200" dirty="0">
              <a:solidFill>
                <a:srgbClr val="555555"/>
              </a:solidFill>
              <a:latin typeface="メイリオ"/>
              <a:ea typeface="メイリオ"/>
              <a:cs typeface="メイリオ"/>
            </a:endParaRPr>
          </a:p>
        </p:txBody>
      </p:sp>
      <p:grpSp>
        <p:nvGrpSpPr>
          <p:cNvPr id="12" name="Group 11"/>
          <p:cNvGrpSpPr/>
          <p:nvPr/>
        </p:nvGrpSpPr>
        <p:grpSpPr>
          <a:xfrm>
            <a:off x="4463166" y="829818"/>
            <a:ext cx="4527699" cy="4083800"/>
            <a:chOff x="5949300" y="1106424"/>
            <a:chExt cx="6036932" cy="5445066"/>
          </a:xfrm>
        </p:grpSpPr>
        <p:pic>
          <p:nvPicPr>
            <p:cNvPr id="13" name="Picture 1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773250" y="4067576"/>
              <a:ext cx="4051855" cy="829614"/>
            </a:xfrm>
            <a:prstGeom prst="rect">
              <a:avLst/>
            </a:prstGeom>
          </p:spPr>
        </p:pic>
        <p:cxnSp>
          <p:nvCxnSpPr>
            <p:cNvPr id="14" name="Straight Arrow Connector 13"/>
            <p:cNvCxnSpPr/>
            <p:nvPr/>
          </p:nvCxnSpPr>
          <p:spPr>
            <a:xfrm flipV="1">
              <a:off x="9494645" y="2575825"/>
              <a:ext cx="0" cy="1515470"/>
            </a:xfrm>
            <a:prstGeom prst="straightConnector1">
              <a:avLst/>
            </a:prstGeom>
            <a:ln w="12700" cmpd="sng">
              <a:solidFill>
                <a:srgbClr val="7AC043"/>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7990018" y="2575825"/>
              <a:ext cx="0" cy="1515470"/>
            </a:xfrm>
            <a:prstGeom prst="straightConnector1">
              <a:avLst/>
            </a:prstGeom>
            <a:ln w="12700" cmpd="sng">
              <a:solidFill>
                <a:schemeClr val="bg1">
                  <a:lumMod val="50000"/>
                </a:schemeClr>
              </a:solidFill>
              <a:prstDash val="dash"/>
              <a:tailEnd type="triangle"/>
            </a:ln>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4"/>
            <a:stretch>
              <a:fillRect/>
            </a:stretch>
          </p:blipFill>
          <p:spPr>
            <a:xfrm>
              <a:off x="7583409" y="1106424"/>
              <a:ext cx="2310373" cy="1472029"/>
            </a:xfrm>
            <a:prstGeom prst="rect">
              <a:avLst/>
            </a:prstGeom>
          </p:spPr>
        </p:pic>
        <p:sp>
          <p:nvSpPr>
            <p:cNvPr id="17" name="TextBox 16"/>
            <p:cNvSpPr txBox="1"/>
            <p:nvPr/>
          </p:nvSpPr>
          <p:spPr>
            <a:xfrm>
              <a:off x="5949300" y="3153015"/>
              <a:ext cx="2103269" cy="630941"/>
            </a:xfrm>
            <a:prstGeom prst="rect">
              <a:avLst/>
            </a:prstGeom>
            <a:noFill/>
          </p:spPr>
          <p:txBody>
            <a:bodyPr wrap="none" rtlCol="0">
              <a:spAutoFit/>
            </a:bodyPr>
            <a:lstStyle/>
            <a:p>
              <a:r>
                <a:rPr lang="en-US" sz="825" b="1" dirty="0">
                  <a:solidFill>
                    <a:srgbClr val="626262"/>
                  </a:solidFill>
                  <a:latin typeface="メイリオ"/>
                  <a:ea typeface="メイリオ"/>
                  <a:cs typeface="メイリオ"/>
                </a:rPr>
                <a:t>WAN 1</a:t>
              </a:r>
            </a:p>
            <a:p>
              <a:r>
                <a:rPr lang="en-US" sz="825" dirty="0">
                  <a:solidFill>
                    <a:srgbClr val="626262"/>
                  </a:solidFill>
                  <a:latin typeface="メイリオ"/>
                  <a:ea typeface="メイリオ"/>
                  <a:cs typeface="メイリオ"/>
                </a:rPr>
                <a:t>Secure VPN tunnel (active)</a:t>
              </a:r>
            </a:p>
            <a:p>
              <a:r>
                <a:rPr lang="en-US" sz="825" dirty="0">
                  <a:solidFill>
                    <a:srgbClr val="626262"/>
                  </a:solidFill>
                  <a:latin typeface="メイリオ"/>
                  <a:ea typeface="メイリオ"/>
                  <a:cs typeface="メイリオ"/>
                </a:rPr>
                <a:t>Latency / loss &gt; threshold</a:t>
              </a:r>
            </a:p>
          </p:txBody>
        </p:sp>
        <p:sp>
          <p:nvSpPr>
            <p:cNvPr id="18" name="TextBox 17"/>
            <p:cNvSpPr txBox="1"/>
            <p:nvPr/>
          </p:nvSpPr>
          <p:spPr>
            <a:xfrm>
              <a:off x="9621371" y="3118116"/>
              <a:ext cx="2103269" cy="630941"/>
            </a:xfrm>
            <a:prstGeom prst="rect">
              <a:avLst/>
            </a:prstGeom>
            <a:noFill/>
          </p:spPr>
          <p:txBody>
            <a:bodyPr wrap="none" rtlCol="0">
              <a:spAutoFit/>
            </a:bodyPr>
            <a:lstStyle/>
            <a:p>
              <a:r>
                <a:rPr lang="en-US" sz="825" b="1" dirty="0">
                  <a:solidFill>
                    <a:srgbClr val="7AC043"/>
                  </a:solidFill>
                  <a:latin typeface="メイリオ"/>
                  <a:ea typeface="メイリオ"/>
                  <a:cs typeface="メイリオ"/>
                </a:rPr>
                <a:t>WAN 2</a:t>
              </a:r>
            </a:p>
            <a:p>
              <a:r>
                <a:rPr lang="en-US" sz="825" dirty="0">
                  <a:solidFill>
                    <a:srgbClr val="7AC043"/>
                  </a:solidFill>
                  <a:latin typeface="メイリオ"/>
                  <a:ea typeface="メイリオ"/>
                  <a:cs typeface="メイリオ"/>
                </a:rPr>
                <a:t>Secure VPN tunnel (active)</a:t>
              </a:r>
            </a:p>
            <a:p>
              <a:r>
                <a:rPr lang="en-US" sz="825" dirty="0">
                  <a:solidFill>
                    <a:srgbClr val="7AC043"/>
                  </a:solidFill>
                  <a:latin typeface="メイリオ"/>
                  <a:ea typeface="メイリオ"/>
                  <a:cs typeface="メイリオ"/>
                </a:rPr>
                <a:t>Latency / loss &lt; threshold</a:t>
              </a:r>
            </a:p>
          </p:txBody>
        </p:sp>
        <p:grpSp>
          <p:nvGrpSpPr>
            <p:cNvPr id="19" name="Group 18"/>
            <p:cNvGrpSpPr/>
            <p:nvPr/>
          </p:nvGrpSpPr>
          <p:grpSpPr>
            <a:xfrm>
              <a:off x="8236755" y="5854095"/>
              <a:ext cx="895036" cy="356269"/>
              <a:chOff x="8236755" y="5854095"/>
              <a:chExt cx="895036" cy="356269"/>
            </a:xfrm>
          </p:grpSpPr>
          <p:sp>
            <p:nvSpPr>
              <p:cNvPr id="22" name="Rounded Rectangle 21"/>
              <p:cNvSpPr/>
              <p:nvPr/>
            </p:nvSpPr>
            <p:spPr>
              <a:xfrm>
                <a:off x="8236755" y="5854095"/>
                <a:ext cx="895036" cy="338667"/>
              </a:xfrm>
              <a:prstGeom prst="round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メイリオ"/>
                  <a:ea typeface="メイリオ"/>
                  <a:cs typeface="メイリオ"/>
                </a:endParaRPr>
              </a:p>
            </p:txBody>
          </p:sp>
          <p:sp>
            <p:nvSpPr>
              <p:cNvPr id="23" name="TextBox 22"/>
              <p:cNvSpPr txBox="1"/>
              <p:nvPr/>
            </p:nvSpPr>
            <p:spPr>
              <a:xfrm>
                <a:off x="8381896" y="5871810"/>
                <a:ext cx="656928" cy="338554"/>
              </a:xfrm>
              <a:prstGeom prst="rect">
                <a:avLst/>
              </a:prstGeom>
              <a:noFill/>
            </p:spPr>
            <p:txBody>
              <a:bodyPr wrap="none" rtlCol="0">
                <a:spAutoFit/>
              </a:bodyPr>
              <a:lstStyle/>
              <a:p>
                <a:r>
                  <a:rPr lang="en-US" sz="1050" dirty="0">
                    <a:latin typeface="メイリオ"/>
                    <a:ea typeface="メイリオ"/>
                    <a:cs typeface="メイリオ"/>
                  </a:rPr>
                  <a:t>Data</a:t>
                </a:r>
              </a:p>
            </p:txBody>
          </p:sp>
        </p:grpSp>
        <p:cxnSp>
          <p:nvCxnSpPr>
            <p:cNvPr id="20" name="Elbow Connector 19"/>
            <p:cNvCxnSpPr>
              <a:stCxn id="22" idx="0"/>
            </p:cNvCxnSpPr>
            <p:nvPr/>
          </p:nvCxnSpPr>
          <p:spPr>
            <a:xfrm rot="5400000" flipH="1" flipV="1">
              <a:off x="7397209" y="3865517"/>
              <a:ext cx="3275642" cy="701515"/>
            </a:xfrm>
            <a:prstGeom prst="bentConnector3">
              <a:avLst>
                <a:gd name="adj1" fmla="val 50000"/>
              </a:avLst>
            </a:prstGeom>
            <a:ln w="12700">
              <a:prstDash val="sysDash"/>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9162697" y="5581994"/>
              <a:ext cx="2823535" cy="969496"/>
            </a:xfrm>
            <a:prstGeom prst="rect">
              <a:avLst/>
            </a:prstGeom>
            <a:noFill/>
          </p:spPr>
          <p:txBody>
            <a:bodyPr wrap="square" rtlCol="0">
              <a:spAutoFit/>
            </a:bodyPr>
            <a:lstStyle/>
            <a:p>
              <a:r>
                <a:rPr lang="en-US" sz="825" dirty="0">
                  <a:latin typeface="メイリオ"/>
                  <a:ea typeface="メイリオ"/>
                  <a:cs typeface="メイリオ"/>
                </a:rPr>
                <a:t>Based on L3 / L4 categorization, this data normally travels out WAN 1 (</a:t>
              </a:r>
              <a:r>
                <a:rPr lang="en-US" sz="825" dirty="0" err="1">
                  <a:latin typeface="メイリオ"/>
                  <a:ea typeface="メイリオ"/>
                  <a:cs typeface="メイリオ"/>
                </a:rPr>
                <a:t>PbR</a:t>
              </a:r>
              <a:r>
                <a:rPr lang="en-US" sz="825" dirty="0">
                  <a:latin typeface="メイリオ"/>
                  <a:ea typeface="メイリオ"/>
                  <a:cs typeface="メイリオ"/>
                </a:rPr>
                <a:t>), but MX detects optimal path is WAN 2 based on latency / loss on WAN 1</a:t>
              </a:r>
            </a:p>
          </p:txBody>
        </p:sp>
      </p:grpSp>
    </p:spTree>
    <p:extLst>
      <p:ext uri="{BB962C8B-B14F-4D97-AF65-F5344CB8AC3E}">
        <p14:creationId xmlns:p14="http://schemas.microsoft.com/office/powerpoint/2010/main" val="367070324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2968AF"/>
                </a:solidFill>
                <a:latin typeface="メイリオ"/>
                <a:ea typeface="メイリオ"/>
                <a:cs typeface="メイリオ"/>
              </a:rPr>
              <a:t>MX65 / MX65W – Branch in a box</a:t>
            </a:r>
            <a:endParaRPr lang="en-US" dirty="0">
              <a:solidFill>
                <a:srgbClr val="2968AF"/>
              </a:solidFill>
              <a:latin typeface="メイリオ"/>
              <a:ea typeface="メイリオ"/>
              <a:cs typeface="メイリオ"/>
            </a:endParaRPr>
          </a:p>
        </p:txBody>
      </p:sp>
      <p:sp>
        <p:nvSpPr>
          <p:cNvPr id="6" name="Text Placeholder 2"/>
          <p:cNvSpPr txBox="1">
            <a:spLocks/>
          </p:cNvSpPr>
          <p:nvPr/>
        </p:nvSpPr>
        <p:spPr>
          <a:xfrm>
            <a:off x="230833" y="968734"/>
            <a:ext cx="4068522" cy="3929371"/>
          </a:xfrm>
          <a:prstGeom prst="rect">
            <a:avLst/>
          </a:prstGeom>
        </p:spPr>
        <p:txBody>
          <a:bodyPr vert="horz" lIns="68571" tIns="34286" rIns="68571" bIns="34286" rtlCol="0">
            <a:noAutofit/>
          </a:bodyPr>
          <a:lstStyle>
            <a:lvl1pPr marL="171473" indent="-171473" algn="l" defTabSz="685891" rtl="0" eaLnBrk="1" latinLnBrk="0" hangingPunct="1">
              <a:lnSpc>
                <a:spcPct val="95000"/>
              </a:lnSpc>
              <a:spcBef>
                <a:spcPts val="1110"/>
              </a:spcBef>
              <a:buClr>
                <a:schemeClr val="tx2"/>
              </a:buClr>
              <a:buSzPct val="90000"/>
              <a:buFont typeface="Arial" pitchFamily="34" charset="0"/>
              <a:buChar char="•"/>
              <a:tabLst/>
              <a:defRPr lang="en-US" sz="1700" kern="1200">
                <a:solidFill>
                  <a:srgbClr val="435153"/>
                </a:solidFill>
                <a:latin typeface="+mj-lt"/>
                <a:ea typeface="+mn-ea"/>
                <a:cs typeface="+mn-cs"/>
              </a:defRPr>
            </a:lvl1pPr>
            <a:lvl2pPr marL="304841" indent="0" algn="l" defTabSz="685891" rtl="0" eaLnBrk="1" latinLnBrk="0" hangingPunct="1">
              <a:lnSpc>
                <a:spcPct val="95000"/>
              </a:lnSpc>
              <a:spcBef>
                <a:spcPts val="450"/>
              </a:spcBef>
              <a:buClr>
                <a:schemeClr val="tx2"/>
              </a:buClr>
              <a:buFontTx/>
              <a:buNone/>
              <a:defRPr lang="en-US" sz="1400" kern="1200">
                <a:solidFill>
                  <a:srgbClr val="435153"/>
                </a:solidFill>
                <a:latin typeface="+mj-lt"/>
                <a:ea typeface="+mn-ea"/>
                <a:cs typeface="+mn-cs"/>
              </a:defRPr>
            </a:lvl2pPr>
            <a:lvl3pPr marL="428682" indent="-1191" algn="l" defTabSz="685891" rtl="0" eaLnBrk="1" latinLnBrk="0" hangingPunct="1">
              <a:lnSpc>
                <a:spcPct val="95000"/>
              </a:lnSpc>
              <a:spcBef>
                <a:spcPts val="630"/>
              </a:spcBef>
              <a:buFont typeface="Arial" pitchFamily="34" charset="0"/>
              <a:buNone/>
              <a:defRPr lang="en-US" sz="1200" kern="1200">
                <a:solidFill>
                  <a:srgbClr val="435153"/>
                </a:solidFill>
                <a:latin typeface="+mj-lt"/>
                <a:ea typeface="+mn-ea"/>
                <a:cs typeface="+mn-cs"/>
              </a:defRPr>
            </a:lvl3pPr>
            <a:lvl4pPr marL="516800" indent="0" algn="l" defTabSz="685891" rtl="0" eaLnBrk="1" latinLnBrk="0" hangingPunct="1">
              <a:lnSpc>
                <a:spcPct val="95000"/>
              </a:lnSpc>
              <a:spcBef>
                <a:spcPts val="630"/>
              </a:spcBef>
              <a:buFont typeface="Arial" pitchFamily="34" charset="0"/>
              <a:buNone/>
              <a:defRPr lang="en-US" sz="1100" kern="1200">
                <a:solidFill>
                  <a:srgbClr val="435153"/>
                </a:solidFill>
                <a:latin typeface="+mj-lt"/>
                <a:ea typeface="+mn-ea"/>
                <a:cs typeface="+mn-cs"/>
              </a:defRPr>
            </a:lvl4pPr>
            <a:lvl5pPr marL="601346" indent="0" algn="l" defTabSz="685891" rtl="0" eaLnBrk="1" latinLnBrk="0" hangingPunct="1">
              <a:lnSpc>
                <a:spcPct val="95000"/>
              </a:lnSpc>
              <a:spcBef>
                <a:spcPts val="630"/>
              </a:spcBef>
              <a:buFont typeface="Arial" pitchFamily="34" charset="0"/>
              <a:buNone/>
              <a:defRPr lang="en-US" sz="1100" kern="1200">
                <a:solidFill>
                  <a:srgbClr val="435153"/>
                </a:solidFill>
                <a:latin typeface="+mj-lt"/>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ja-JP" altLang="en-US" b="1" dirty="0" smtClean="0">
                <a:solidFill>
                  <a:schemeClr val="tx1"/>
                </a:solidFill>
                <a:latin typeface="メイリオ"/>
                <a:ea typeface="メイリオ"/>
                <a:cs typeface="メイリオ"/>
              </a:rPr>
              <a:t>特徴</a:t>
            </a:r>
            <a:endParaRPr lang="en-US" b="1" dirty="0" smtClean="0">
              <a:solidFill>
                <a:schemeClr val="tx1"/>
              </a:solidFill>
              <a:latin typeface="メイリオ"/>
              <a:ea typeface="メイリオ"/>
              <a:cs typeface="メイリオ"/>
            </a:endParaRPr>
          </a:p>
          <a:p>
            <a:r>
              <a:rPr lang="en-US" sz="1400" dirty="0" smtClean="0">
                <a:solidFill>
                  <a:schemeClr val="tx1"/>
                </a:solidFill>
                <a:latin typeface="メイリオ"/>
                <a:ea typeface="メイリオ"/>
                <a:cs typeface="メイリオ"/>
              </a:rPr>
              <a:t>802.11ac </a:t>
            </a:r>
            <a:r>
              <a:rPr lang="en-US" sz="1400" dirty="0">
                <a:solidFill>
                  <a:schemeClr val="tx1"/>
                </a:solidFill>
                <a:latin typeface="メイリオ"/>
                <a:ea typeface="メイリオ"/>
                <a:cs typeface="メイリオ"/>
              </a:rPr>
              <a:t>with ~3dB the MX64 power (2x signal amplitude)</a:t>
            </a:r>
          </a:p>
          <a:p>
            <a:r>
              <a:rPr lang="en-US" sz="1400" dirty="0">
                <a:solidFill>
                  <a:schemeClr val="tx1"/>
                </a:solidFill>
                <a:latin typeface="メイリオ"/>
                <a:ea typeface="メイリオ"/>
                <a:cs typeface="メイリオ"/>
              </a:rPr>
              <a:t>802.1x </a:t>
            </a:r>
            <a:r>
              <a:rPr lang="ja-JP" altLang="en-US" sz="1400" dirty="0" smtClean="0">
                <a:solidFill>
                  <a:schemeClr val="tx1"/>
                </a:solidFill>
                <a:latin typeface="メイリオ"/>
                <a:ea typeface="メイリオ"/>
                <a:cs typeface="メイリオ"/>
              </a:rPr>
              <a:t>認証</a:t>
            </a:r>
            <a:endParaRPr lang="en-US" sz="1400" dirty="0">
              <a:solidFill>
                <a:schemeClr val="tx1"/>
              </a:solidFill>
              <a:latin typeface="メイリオ"/>
              <a:ea typeface="メイリオ"/>
              <a:cs typeface="メイリオ"/>
            </a:endParaRPr>
          </a:p>
          <a:p>
            <a:r>
              <a:rPr lang="en-US" sz="1400" dirty="0">
                <a:solidFill>
                  <a:schemeClr val="tx1"/>
                </a:solidFill>
                <a:latin typeface="メイリオ"/>
                <a:ea typeface="メイリオ"/>
                <a:cs typeface="メイリオ"/>
              </a:rPr>
              <a:t>2 </a:t>
            </a:r>
            <a:r>
              <a:rPr lang="en-US" sz="1400" dirty="0" smtClean="0">
                <a:solidFill>
                  <a:schemeClr val="tx1"/>
                </a:solidFill>
                <a:latin typeface="メイリオ"/>
                <a:ea typeface="メイリオ"/>
                <a:cs typeface="メイリオ"/>
              </a:rPr>
              <a:t>WAN</a:t>
            </a:r>
            <a:r>
              <a:rPr lang="en-US" altLang="en-US" sz="1400" dirty="0">
                <a:solidFill>
                  <a:schemeClr val="tx1"/>
                </a:solidFill>
                <a:latin typeface="メイリオ"/>
                <a:ea typeface="メイリオ"/>
                <a:cs typeface="メイリオ"/>
              </a:rPr>
              <a:t> </a:t>
            </a:r>
            <a:r>
              <a:rPr lang="ja-JP" altLang="en-US" sz="1400" dirty="0" smtClean="0">
                <a:solidFill>
                  <a:schemeClr val="tx1"/>
                </a:solidFill>
                <a:latin typeface="メイリオ"/>
                <a:ea typeface="メイリオ"/>
                <a:cs typeface="メイリオ"/>
              </a:rPr>
              <a:t>専用ポート</a:t>
            </a:r>
            <a:endParaRPr lang="en-US" sz="1400" dirty="0">
              <a:solidFill>
                <a:schemeClr val="tx1"/>
              </a:solidFill>
              <a:latin typeface="メイリオ"/>
              <a:ea typeface="メイリオ"/>
              <a:cs typeface="メイリオ"/>
            </a:endParaRPr>
          </a:p>
          <a:p>
            <a:r>
              <a:rPr lang="en-US" sz="1400" dirty="0">
                <a:solidFill>
                  <a:schemeClr val="tx1"/>
                </a:solidFill>
                <a:latin typeface="メイリオ"/>
                <a:ea typeface="メイリオ"/>
                <a:cs typeface="メイリオ"/>
              </a:rPr>
              <a:t>8 </a:t>
            </a:r>
            <a:r>
              <a:rPr lang="en-US" sz="1400" dirty="0" smtClean="0">
                <a:solidFill>
                  <a:schemeClr val="tx1"/>
                </a:solidFill>
                <a:latin typeface="メイリオ"/>
                <a:ea typeface="メイリオ"/>
                <a:cs typeface="メイリオ"/>
              </a:rPr>
              <a:t>LAN </a:t>
            </a:r>
            <a:r>
              <a:rPr lang="ja-JP" altLang="en-US" sz="1400" dirty="0" smtClean="0">
                <a:solidFill>
                  <a:schemeClr val="tx1"/>
                </a:solidFill>
                <a:latin typeface="メイリオ"/>
                <a:ea typeface="メイリオ"/>
                <a:cs typeface="メイリオ"/>
              </a:rPr>
              <a:t>スイッチポート</a:t>
            </a:r>
            <a:endParaRPr lang="en-US" sz="1400" dirty="0">
              <a:solidFill>
                <a:schemeClr val="tx1"/>
              </a:solidFill>
              <a:latin typeface="メイリオ"/>
              <a:ea typeface="メイリオ"/>
              <a:cs typeface="メイリオ"/>
            </a:endParaRPr>
          </a:p>
          <a:p>
            <a:r>
              <a:rPr lang="en-US" sz="1400" dirty="0">
                <a:solidFill>
                  <a:schemeClr val="tx1"/>
                </a:solidFill>
                <a:latin typeface="メイリオ"/>
                <a:ea typeface="メイリオ"/>
                <a:cs typeface="メイリオ"/>
              </a:rPr>
              <a:t>2 LAN </a:t>
            </a:r>
            <a:r>
              <a:rPr lang="en-US" sz="1400" dirty="0" err="1">
                <a:solidFill>
                  <a:schemeClr val="tx1"/>
                </a:solidFill>
                <a:latin typeface="メイリオ"/>
                <a:ea typeface="メイリオ"/>
                <a:cs typeface="メイリオ"/>
              </a:rPr>
              <a:t>PoE</a:t>
            </a:r>
            <a:r>
              <a:rPr lang="en-US" sz="1400" dirty="0" smtClean="0">
                <a:solidFill>
                  <a:schemeClr val="tx1"/>
                </a:solidFill>
                <a:latin typeface="メイリオ"/>
                <a:ea typeface="メイリオ"/>
                <a:cs typeface="メイリオ"/>
              </a:rPr>
              <a:t>+</a:t>
            </a:r>
            <a:r>
              <a:rPr lang="ja-JP" altLang="en-US" sz="1400" dirty="0" smtClean="0">
                <a:solidFill>
                  <a:schemeClr val="tx1"/>
                </a:solidFill>
                <a:latin typeface="メイリオ"/>
                <a:ea typeface="メイリオ"/>
                <a:cs typeface="メイリオ"/>
              </a:rPr>
              <a:t>スイッチポート</a:t>
            </a:r>
            <a:r>
              <a:rPr lang="en-US" sz="1400" dirty="0" smtClean="0">
                <a:solidFill>
                  <a:schemeClr val="tx1"/>
                </a:solidFill>
                <a:latin typeface="メイリオ"/>
                <a:ea typeface="メイリオ"/>
                <a:cs typeface="メイリオ"/>
              </a:rPr>
              <a:t> </a:t>
            </a:r>
            <a:r>
              <a:rPr lang="en-US" sz="1400" dirty="0">
                <a:solidFill>
                  <a:schemeClr val="tx1"/>
                </a:solidFill>
                <a:latin typeface="メイリオ"/>
                <a:ea typeface="メイリオ"/>
                <a:cs typeface="メイリオ"/>
              </a:rPr>
              <a:t>(60W total</a:t>
            </a:r>
            <a:r>
              <a:rPr lang="en-US" sz="1400" dirty="0" smtClean="0">
                <a:solidFill>
                  <a:schemeClr val="tx1"/>
                </a:solidFill>
                <a:latin typeface="メイリオ"/>
                <a:ea typeface="メイリオ"/>
                <a:cs typeface="メイリオ"/>
              </a:rPr>
              <a:t>)</a:t>
            </a:r>
            <a:endParaRPr lang="en-US" sz="1400" dirty="0">
              <a:solidFill>
                <a:schemeClr val="tx1"/>
              </a:solidFill>
              <a:latin typeface="メイリオ"/>
              <a:ea typeface="メイリオ"/>
              <a:cs typeface="メイリオ"/>
            </a:endParaRPr>
          </a:p>
          <a:p>
            <a:pPr marL="0" indent="0">
              <a:buNone/>
            </a:pPr>
            <a:r>
              <a:rPr lang="en-US" b="1" dirty="0" smtClean="0">
                <a:solidFill>
                  <a:schemeClr val="tx1"/>
                </a:solidFill>
                <a:latin typeface="メイリオ"/>
                <a:ea typeface="メイリオ"/>
                <a:cs typeface="メイリオ"/>
              </a:rPr>
              <a:t>Plus standard MX 機能</a:t>
            </a:r>
          </a:p>
          <a:p>
            <a:r>
              <a:rPr lang="en-US" sz="1400" dirty="0" smtClean="0">
                <a:solidFill>
                  <a:schemeClr val="tx1"/>
                </a:solidFill>
                <a:latin typeface="メイリオ"/>
                <a:ea typeface="メイリオ"/>
                <a:cs typeface="メイリオ"/>
              </a:rPr>
              <a:t>Full UTM feature set</a:t>
            </a:r>
            <a:endParaRPr lang="en-US" sz="1400" dirty="0">
              <a:solidFill>
                <a:schemeClr val="tx1"/>
              </a:solidFill>
              <a:latin typeface="メイリオ"/>
              <a:ea typeface="メイリオ"/>
              <a:cs typeface="メイリオ"/>
            </a:endParaRPr>
          </a:p>
          <a:p>
            <a:r>
              <a:rPr lang="en-US" sz="1400" dirty="0">
                <a:solidFill>
                  <a:schemeClr val="tx1"/>
                </a:solidFill>
                <a:latin typeface="メイリオ"/>
                <a:ea typeface="メイリオ"/>
                <a:cs typeface="メイリオ"/>
              </a:rPr>
              <a:t>Ready for IWAN</a:t>
            </a:r>
          </a:p>
          <a:p>
            <a:r>
              <a:rPr lang="ja-JP" altLang="en-US" sz="1400" dirty="0" smtClean="0">
                <a:solidFill>
                  <a:schemeClr val="tx1"/>
                </a:solidFill>
                <a:latin typeface="メイリオ"/>
                <a:ea typeface="メイリオ"/>
                <a:cs typeface="メイリオ"/>
              </a:rPr>
              <a:t>主にブランチやテレワーカー向け</a:t>
            </a:r>
            <a:endParaRPr lang="en-US" sz="1400" dirty="0">
              <a:solidFill>
                <a:schemeClr val="tx1"/>
              </a:solidFill>
              <a:latin typeface="メイリオ"/>
              <a:ea typeface="メイリオ"/>
              <a:cs typeface="メイリオ"/>
            </a:endParaRPr>
          </a:p>
        </p:txBody>
      </p:sp>
      <p:sp>
        <p:nvSpPr>
          <p:cNvPr id="7" name="Text Placeholder 2"/>
          <p:cNvSpPr txBox="1">
            <a:spLocks/>
          </p:cNvSpPr>
          <p:nvPr/>
        </p:nvSpPr>
        <p:spPr>
          <a:xfrm>
            <a:off x="230833" y="2911554"/>
            <a:ext cx="3362358" cy="1425721"/>
          </a:xfrm>
          <a:prstGeom prst="rect">
            <a:avLst/>
          </a:prstGeom>
        </p:spPr>
        <p:txBody>
          <a:bodyPr vert="horz" lIns="68571" tIns="34286" rIns="68571" bIns="34286" rtlCol="0">
            <a:noAutofit/>
          </a:bodyPr>
          <a:lstStyle>
            <a:lvl1pPr marL="171473" indent="-171473" algn="l" defTabSz="685891" rtl="0" eaLnBrk="1" latinLnBrk="0" hangingPunct="1">
              <a:lnSpc>
                <a:spcPct val="95000"/>
              </a:lnSpc>
              <a:spcBef>
                <a:spcPts val="1110"/>
              </a:spcBef>
              <a:buClr>
                <a:schemeClr val="tx2"/>
              </a:buClr>
              <a:buSzPct val="90000"/>
              <a:buFont typeface="Arial" pitchFamily="34" charset="0"/>
              <a:buChar char="•"/>
              <a:tabLst/>
              <a:defRPr lang="en-US" sz="1700" kern="1200">
                <a:solidFill>
                  <a:srgbClr val="435153"/>
                </a:solidFill>
                <a:latin typeface="+mj-lt"/>
                <a:ea typeface="+mn-ea"/>
                <a:cs typeface="+mn-cs"/>
              </a:defRPr>
            </a:lvl1pPr>
            <a:lvl2pPr marL="304841" indent="0" algn="l" defTabSz="685891" rtl="0" eaLnBrk="1" latinLnBrk="0" hangingPunct="1">
              <a:lnSpc>
                <a:spcPct val="95000"/>
              </a:lnSpc>
              <a:spcBef>
                <a:spcPts val="450"/>
              </a:spcBef>
              <a:buClr>
                <a:schemeClr val="tx2"/>
              </a:buClr>
              <a:buFontTx/>
              <a:buNone/>
              <a:defRPr lang="en-US" sz="1400" kern="1200">
                <a:solidFill>
                  <a:srgbClr val="435153"/>
                </a:solidFill>
                <a:latin typeface="+mj-lt"/>
                <a:ea typeface="+mn-ea"/>
                <a:cs typeface="+mn-cs"/>
              </a:defRPr>
            </a:lvl2pPr>
            <a:lvl3pPr marL="428682" indent="-1191" algn="l" defTabSz="685891" rtl="0" eaLnBrk="1" latinLnBrk="0" hangingPunct="1">
              <a:lnSpc>
                <a:spcPct val="95000"/>
              </a:lnSpc>
              <a:spcBef>
                <a:spcPts val="630"/>
              </a:spcBef>
              <a:buFont typeface="Arial" pitchFamily="34" charset="0"/>
              <a:buNone/>
              <a:defRPr lang="en-US" sz="1200" kern="1200">
                <a:solidFill>
                  <a:srgbClr val="435153"/>
                </a:solidFill>
                <a:latin typeface="+mj-lt"/>
                <a:ea typeface="+mn-ea"/>
                <a:cs typeface="+mn-cs"/>
              </a:defRPr>
            </a:lvl3pPr>
            <a:lvl4pPr marL="516800" indent="0" algn="l" defTabSz="685891" rtl="0" eaLnBrk="1" latinLnBrk="0" hangingPunct="1">
              <a:lnSpc>
                <a:spcPct val="95000"/>
              </a:lnSpc>
              <a:spcBef>
                <a:spcPts val="630"/>
              </a:spcBef>
              <a:buFont typeface="Arial" pitchFamily="34" charset="0"/>
              <a:buNone/>
              <a:defRPr lang="en-US" sz="1100" kern="1200">
                <a:solidFill>
                  <a:srgbClr val="435153"/>
                </a:solidFill>
                <a:latin typeface="+mj-lt"/>
                <a:ea typeface="+mn-ea"/>
                <a:cs typeface="+mn-cs"/>
              </a:defRPr>
            </a:lvl4pPr>
            <a:lvl5pPr marL="601346" indent="0" algn="l" defTabSz="685891" rtl="0" eaLnBrk="1" latinLnBrk="0" hangingPunct="1">
              <a:lnSpc>
                <a:spcPct val="95000"/>
              </a:lnSpc>
              <a:spcBef>
                <a:spcPts val="630"/>
              </a:spcBef>
              <a:buFont typeface="Arial" pitchFamily="34" charset="0"/>
              <a:buNone/>
              <a:defRPr lang="en-US" sz="1100" kern="1200">
                <a:solidFill>
                  <a:srgbClr val="435153"/>
                </a:solidFill>
                <a:latin typeface="+mj-lt"/>
                <a:ea typeface="+mn-ea"/>
                <a:cs typeface="+mn-cs"/>
              </a:defRPr>
            </a:lvl5pPr>
            <a:lvl6pPr marL="1886201"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147"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dirty="0">
              <a:latin typeface="メイリオ"/>
              <a:ea typeface="メイリオ"/>
              <a:cs typeface="メイリオ"/>
            </a:endParaRPr>
          </a:p>
        </p:txBody>
      </p:sp>
      <p:pic>
        <p:nvPicPr>
          <p:cNvPr id="8" name="Picture 7"/>
          <p:cNvPicPr>
            <a:picLocks noChangeAspect="1"/>
          </p:cNvPicPr>
          <p:nvPr/>
        </p:nvPicPr>
        <p:blipFill rotWithShape="1">
          <a:blip r:embed="rId3">
            <a:clrChange>
              <a:clrFrom>
                <a:srgbClr val="FDFDFD"/>
              </a:clrFrom>
              <a:clrTo>
                <a:srgbClr val="FDFDFD">
                  <a:alpha val="0"/>
                </a:srgbClr>
              </a:clrTo>
            </a:clrChange>
            <a:extLst>
              <a:ext uri="{28A0092B-C50C-407E-A947-70E740481C1C}">
                <a14:useLocalDpi xmlns:a14="http://schemas.microsoft.com/office/drawing/2010/main" val="0"/>
              </a:ext>
            </a:extLst>
          </a:blip>
          <a:srcRect l="14885" t="19649" r="12701" b="31462"/>
          <a:stretch/>
        </p:blipFill>
        <p:spPr>
          <a:xfrm>
            <a:off x="4299355" y="1571881"/>
            <a:ext cx="4218629" cy="1900202"/>
          </a:xfrm>
          <a:prstGeom prst="rect">
            <a:avLst/>
          </a:prstGeom>
        </p:spPr>
      </p:pic>
    </p:spTree>
    <p:extLst>
      <p:ext uri="{BB962C8B-B14F-4D97-AF65-F5344CB8AC3E}">
        <p14:creationId xmlns:p14="http://schemas.microsoft.com/office/powerpoint/2010/main" val="3295441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2968AF"/>
                </a:solidFill>
                <a:latin typeface="メイリオ"/>
                <a:ea typeface="メイリオ"/>
                <a:cs typeface="メイリオ"/>
              </a:rPr>
              <a:t>AMP on MX </a:t>
            </a:r>
            <a:endParaRPr lang="en-US" sz="2000" dirty="0">
              <a:solidFill>
                <a:srgbClr val="2968AF"/>
              </a:solidFill>
              <a:latin typeface="メイリオ"/>
              <a:ea typeface="メイリオ"/>
              <a:cs typeface="メイリオ"/>
            </a:endParaRPr>
          </a:p>
        </p:txBody>
      </p:sp>
      <p:sp>
        <p:nvSpPr>
          <p:cNvPr id="3" name="Text Placeholder 2"/>
          <p:cNvSpPr>
            <a:spLocks noGrp="1"/>
          </p:cNvSpPr>
          <p:nvPr>
            <p:ph type="body" sz="quarter" idx="10"/>
          </p:nvPr>
        </p:nvSpPr>
        <p:spPr/>
        <p:txBody>
          <a:bodyPr/>
          <a:lstStyle/>
          <a:p>
            <a:r>
              <a:rPr lang="en-US" sz="1600" dirty="0" smtClean="0">
                <a:latin typeface="メイリオ"/>
                <a:ea typeface="メイリオ"/>
                <a:cs typeface="メイリオ"/>
              </a:rPr>
              <a:t>AMP: Advanced Malware Protection</a:t>
            </a:r>
          </a:p>
          <a:p>
            <a:r>
              <a:rPr lang="ja-JP" altLang="en-US" sz="1600" dirty="0" smtClean="0">
                <a:latin typeface="メイリオ"/>
                <a:ea typeface="メイリオ"/>
                <a:cs typeface="メイリオ"/>
              </a:rPr>
              <a:t>ファイルの継続検査</a:t>
            </a:r>
            <a:endParaRPr lang="en-US" sz="1600" dirty="0" smtClean="0">
              <a:latin typeface="メイリオ"/>
              <a:ea typeface="メイリオ"/>
              <a:cs typeface="メイリオ"/>
            </a:endParaRPr>
          </a:p>
          <a:p>
            <a:r>
              <a:rPr lang="ja-JP" altLang="en-US" sz="1600" dirty="0" smtClean="0">
                <a:latin typeface="メイリオ"/>
                <a:ea typeface="メイリオ"/>
                <a:cs typeface="メイリオ"/>
              </a:rPr>
              <a:t>マルウェア</a:t>
            </a:r>
            <a:r>
              <a:rPr lang="en-US" altLang="ja-JP" sz="1600" dirty="0" smtClean="0">
                <a:latin typeface="メイリオ"/>
                <a:ea typeface="メイリオ"/>
                <a:cs typeface="メイリオ"/>
              </a:rPr>
              <a:t>DB</a:t>
            </a:r>
            <a:r>
              <a:rPr lang="ja-JP" altLang="en-US" sz="1600" dirty="0" smtClean="0">
                <a:latin typeface="メイリオ"/>
                <a:ea typeface="メイリオ"/>
                <a:cs typeface="メイリオ"/>
              </a:rPr>
              <a:t>は随時更新</a:t>
            </a:r>
            <a:endParaRPr lang="en-US" sz="1600" dirty="0" smtClean="0">
              <a:latin typeface="メイリオ"/>
              <a:ea typeface="メイリオ"/>
              <a:cs typeface="メイリオ"/>
            </a:endParaRPr>
          </a:p>
          <a:p>
            <a:pPr lvl="1"/>
            <a:r>
              <a:rPr lang="ja-JP" altLang="en-US" sz="1600" dirty="0" smtClean="0">
                <a:latin typeface="メイリオ"/>
                <a:ea typeface="メイリオ"/>
                <a:cs typeface="メイリオ"/>
              </a:rPr>
              <a:t>マルウェアファイル </a:t>
            </a:r>
            <a:r>
              <a:rPr lang="en-US" sz="1600" b="1" dirty="0" smtClean="0">
                <a:solidFill>
                  <a:srgbClr val="C00000"/>
                </a:solidFill>
                <a:latin typeface="メイリオ"/>
                <a:ea typeface="メイリオ"/>
                <a:cs typeface="メイリオ"/>
              </a:rPr>
              <a:t>1.7 億</a:t>
            </a:r>
            <a:r>
              <a:rPr lang="en-US" altLang="en-US" sz="1600" b="1" dirty="0">
                <a:solidFill>
                  <a:srgbClr val="C00000"/>
                </a:solidFill>
                <a:latin typeface="メイリオ"/>
                <a:ea typeface="メイリオ"/>
                <a:cs typeface="メイリオ"/>
              </a:rPr>
              <a:t> </a:t>
            </a:r>
            <a:r>
              <a:rPr lang="ja-JP" altLang="en-US" sz="1600" dirty="0" smtClean="0">
                <a:latin typeface="メイリオ"/>
                <a:ea typeface="メイリオ"/>
                <a:cs typeface="メイリオ"/>
              </a:rPr>
              <a:t>クリーンファイル</a:t>
            </a:r>
            <a:r>
              <a:rPr lang="en-US" sz="1600" dirty="0" smtClean="0">
                <a:latin typeface="メイリオ"/>
                <a:ea typeface="メイリオ"/>
                <a:cs typeface="メイリオ"/>
              </a:rPr>
              <a:t> </a:t>
            </a:r>
            <a:r>
              <a:rPr lang="en-US" sz="1600" b="1" dirty="0" smtClean="0">
                <a:solidFill>
                  <a:srgbClr val="C00000"/>
                </a:solidFill>
                <a:latin typeface="メイリオ"/>
                <a:ea typeface="メイリオ"/>
                <a:cs typeface="メイリオ"/>
              </a:rPr>
              <a:t>3.56 </a:t>
            </a:r>
            <a:r>
              <a:rPr lang="ja-JP" altLang="en-US" sz="1600" b="1" dirty="0" smtClean="0">
                <a:solidFill>
                  <a:srgbClr val="C00000"/>
                </a:solidFill>
                <a:latin typeface="メイリオ"/>
                <a:ea typeface="メイリオ"/>
                <a:cs typeface="メイリオ"/>
              </a:rPr>
              <a:t>億</a:t>
            </a:r>
            <a:endParaRPr lang="en-US" sz="1600" dirty="0" smtClean="0">
              <a:latin typeface="メイリオ"/>
              <a:ea typeface="メイリオ"/>
              <a:cs typeface="メイリオ"/>
            </a:endParaRPr>
          </a:p>
          <a:p>
            <a:pPr lvl="1"/>
            <a:r>
              <a:rPr lang="ja-JP" altLang="en-US" sz="1600" dirty="0" smtClean="0">
                <a:latin typeface="メイリオ"/>
                <a:ea typeface="メイリオ"/>
                <a:cs typeface="メイリオ"/>
              </a:rPr>
              <a:t>解析する１日あたりのマルウェアサンプル数</a:t>
            </a:r>
            <a:r>
              <a:rPr lang="en-US" altLang="ja-JP" sz="1600" dirty="0" smtClean="0">
                <a:latin typeface="メイリオ"/>
                <a:ea typeface="メイリオ"/>
                <a:cs typeface="メイリオ"/>
              </a:rPr>
              <a:t> </a:t>
            </a:r>
            <a:r>
              <a:rPr lang="en-US" sz="1600" b="1" dirty="0" smtClean="0">
                <a:solidFill>
                  <a:srgbClr val="C00000"/>
                </a:solidFill>
                <a:latin typeface="メイリオ"/>
                <a:ea typeface="メイリオ"/>
                <a:cs typeface="メイリオ"/>
              </a:rPr>
              <a:t>150</a:t>
            </a:r>
            <a:r>
              <a:rPr lang="ja-JP" altLang="en-US" sz="1600" b="1" dirty="0" smtClean="0">
                <a:solidFill>
                  <a:srgbClr val="C00000"/>
                </a:solidFill>
                <a:latin typeface="メイリオ"/>
                <a:ea typeface="メイリオ"/>
                <a:cs typeface="メイリオ"/>
              </a:rPr>
              <a:t>万</a:t>
            </a:r>
            <a:r>
              <a:rPr lang="en-US" sz="1600" b="1" dirty="0" smtClean="0">
                <a:solidFill>
                  <a:srgbClr val="C00000"/>
                </a:solidFill>
                <a:latin typeface="メイリオ"/>
                <a:ea typeface="メイリオ"/>
                <a:cs typeface="メイリオ"/>
              </a:rPr>
              <a:t> </a:t>
            </a:r>
            <a:endParaRPr lang="en-US" sz="1600" dirty="0" smtClean="0">
              <a:latin typeface="メイリオ"/>
              <a:ea typeface="メイリオ"/>
              <a:cs typeface="メイリオ"/>
            </a:endParaRPr>
          </a:p>
          <a:p>
            <a:pPr lvl="1"/>
            <a:r>
              <a:rPr lang="en-US" altLang="ja-JP" sz="1600" dirty="0">
                <a:latin typeface="メイリオ"/>
                <a:ea typeface="メイリオ"/>
                <a:cs typeface="メイリオ"/>
              </a:rPr>
              <a:t>AMP </a:t>
            </a:r>
            <a:r>
              <a:rPr lang="ja-JP" altLang="en-US" sz="1600" dirty="0">
                <a:latin typeface="メイリオ"/>
                <a:ea typeface="メイリオ"/>
                <a:cs typeface="メイリオ"/>
              </a:rPr>
              <a:t>を利用する</a:t>
            </a:r>
            <a:r>
              <a:rPr lang="ja-JP" altLang="en-US" sz="1600" dirty="0" smtClean="0">
                <a:latin typeface="メイリオ"/>
                <a:ea typeface="メイリオ"/>
                <a:cs typeface="メイリオ"/>
              </a:rPr>
              <a:t>全デバイス数</a:t>
            </a:r>
            <a:r>
              <a:rPr lang="en-US" altLang="en-US" sz="1600" dirty="0">
                <a:latin typeface="メイリオ"/>
                <a:ea typeface="メイリオ"/>
                <a:cs typeface="メイリオ"/>
              </a:rPr>
              <a:t> </a:t>
            </a:r>
            <a:r>
              <a:rPr lang="en-US" sz="1600" b="1" dirty="0" smtClean="0">
                <a:solidFill>
                  <a:srgbClr val="C00000"/>
                </a:solidFill>
                <a:latin typeface="メイリオ"/>
                <a:ea typeface="メイリオ"/>
                <a:cs typeface="メイリオ"/>
              </a:rPr>
              <a:t>160 </a:t>
            </a:r>
            <a:r>
              <a:rPr lang="ja-JP" altLang="en-US" sz="1600" b="1" dirty="0" smtClean="0">
                <a:solidFill>
                  <a:srgbClr val="C00000"/>
                </a:solidFill>
                <a:latin typeface="メイリオ"/>
                <a:ea typeface="メイリオ"/>
                <a:cs typeface="メイリオ"/>
              </a:rPr>
              <a:t>万台</a:t>
            </a:r>
            <a:endParaRPr lang="en-US" sz="1600" dirty="0" smtClean="0">
              <a:latin typeface="メイリオ"/>
              <a:ea typeface="メイリオ"/>
              <a:cs typeface="メイリオ"/>
            </a:endParaRPr>
          </a:p>
          <a:p>
            <a:pPr lvl="1"/>
            <a:r>
              <a:rPr lang="ja-JP" altLang="en-US" sz="1600" dirty="0" smtClean="0">
                <a:latin typeface="メイリオ"/>
                <a:ea typeface="メイリオ"/>
                <a:cs typeface="メイリオ"/>
              </a:rPr>
              <a:t>１日あたりのクラウド問い合わせ数</a:t>
            </a:r>
            <a:r>
              <a:rPr lang="en-US" altLang="ja-JP" sz="1600" dirty="0" smtClean="0">
                <a:latin typeface="メイリオ"/>
                <a:ea typeface="メイリオ"/>
                <a:cs typeface="メイリオ"/>
              </a:rPr>
              <a:t> </a:t>
            </a:r>
            <a:r>
              <a:rPr lang="en-US" sz="1600" b="1" dirty="0" smtClean="0">
                <a:solidFill>
                  <a:srgbClr val="C00000"/>
                </a:solidFill>
                <a:latin typeface="メイリオ"/>
                <a:ea typeface="メイリオ"/>
                <a:cs typeface="メイリオ"/>
              </a:rPr>
              <a:t>14 億</a:t>
            </a:r>
            <a:endParaRPr lang="en-US" sz="1600" dirty="0">
              <a:latin typeface="メイリオ"/>
              <a:ea typeface="メイリオ"/>
              <a:cs typeface="メイリオ"/>
            </a:endParaRPr>
          </a:p>
          <a:p>
            <a:r>
              <a:rPr lang="en-US" sz="1600" dirty="0" smtClean="0">
                <a:latin typeface="メイリオ"/>
                <a:ea typeface="メイリオ"/>
                <a:cs typeface="メイリオ"/>
              </a:rPr>
              <a:t>AMP </a:t>
            </a:r>
            <a:r>
              <a:rPr lang="ja-JP" altLang="en-US" sz="1600" dirty="0" smtClean="0">
                <a:latin typeface="メイリオ"/>
                <a:ea typeface="メイリオ"/>
                <a:cs typeface="メイリオ"/>
              </a:rPr>
              <a:t>レトロスペクティブでの検知もアラート</a:t>
            </a:r>
            <a:endParaRPr lang="en-US" sz="1600" dirty="0" smtClean="0">
              <a:latin typeface="メイリオ"/>
              <a:ea typeface="メイリオ"/>
              <a:cs typeface="メイリオ"/>
            </a:endParaRPr>
          </a:p>
          <a:p>
            <a:r>
              <a:rPr lang="ja-JP" altLang="en-US" sz="1600" dirty="0" smtClean="0">
                <a:latin typeface="メイリオ"/>
                <a:ea typeface="メイリオ"/>
                <a:cs typeface="メイリオ"/>
              </a:rPr>
              <a:t>ライセンスは、</a:t>
            </a:r>
            <a:r>
              <a:rPr lang="en-US" sz="1600" dirty="0" smtClean="0">
                <a:latin typeface="メイリオ"/>
                <a:ea typeface="メイリオ"/>
                <a:cs typeface="メイリオ"/>
              </a:rPr>
              <a:t>MX </a:t>
            </a:r>
            <a:r>
              <a:rPr lang="en-US" sz="1600" dirty="0">
                <a:latin typeface="メイリオ"/>
                <a:ea typeface="メイリオ"/>
                <a:cs typeface="メイリオ"/>
              </a:rPr>
              <a:t>Advanced Security </a:t>
            </a:r>
            <a:r>
              <a:rPr lang="ja-JP" altLang="en-US" sz="1600" dirty="0" smtClean="0">
                <a:latin typeface="メイリオ"/>
                <a:ea typeface="メイリオ"/>
                <a:cs typeface="メイリオ"/>
              </a:rPr>
              <a:t>に含まれていて追加費用なし</a:t>
            </a:r>
            <a:r>
              <a:rPr lang="en-US" altLang="ja-JP" sz="1600" dirty="0" smtClean="0">
                <a:latin typeface="メイリオ"/>
                <a:ea typeface="メイリオ"/>
                <a:cs typeface="メイリオ"/>
              </a:rPr>
              <a:t> (MX60 </a:t>
            </a:r>
            <a:r>
              <a:rPr lang="ja-JP" altLang="en-US" sz="1600" dirty="0" smtClean="0">
                <a:latin typeface="メイリオ"/>
                <a:ea typeface="メイリオ"/>
                <a:cs typeface="メイリオ"/>
              </a:rPr>
              <a:t>も含む</a:t>
            </a:r>
            <a:r>
              <a:rPr lang="en-US" altLang="ja-JP" sz="1600" dirty="0" smtClean="0">
                <a:latin typeface="メイリオ"/>
                <a:ea typeface="メイリオ"/>
                <a:cs typeface="メイリオ"/>
              </a:rPr>
              <a:t>)</a:t>
            </a:r>
            <a:endParaRPr lang="en-US" sz="1600" dirty="0" smtClean="0">
              <a:latin typeface="メイリオ"/>
              <a:ea typeface="メイリオ"/>
              <a:cs typeface="メイリオ"/>
            </a:endParaRPr>
          </a:p>
          <a:p>
            <a:r>
              <a:rPr lang="en-US" altLang="ja-JP" sz="1600" b="1" dirty="0" smtClean="0">
                <a:latin typeface="メイリオ"/>
                <a:ea typeface="メイリオ"/>
                <a:cs typeface="メイリオ"/>
              </a:rPr>
              <a:t>AMP </a:t>
            </a:r>
            <a:r>
              <a:rPr lang="en-US" altLang="ja-JP" sz="1600" b="1" dirty="0" err="1" smtClean="0">
                <a:latin typeface="メイリオ"/>
                <a:ea typeface="メイリオ"/>
                <a:cs typeface="メイリオ"/>
              </a:rPr>
              <a:t>ThreatGrid</a:t>
            </a:r>
            <a:r>
              <a:rPr lang="en-US" altLang="ja-JP" sz="1600" b="1" dirty="0" smtClean="0">
                <a:latin typeface="メイリオ"/>
                <a:ea typeface="メイリオ"/>
                <a:cs typeface="メイリオ"/>
              </a:rPr>
              <a:t> </a:t>
            </a:r>
            <a:r>
              <a:rPr lang="ja-JP" altLang="en-US" sz="1600" dirty="0" smtClean="0">
                <a:latin typeface="メイリオ"/>
                <a:ea typeface="メイリオ"/>
                <a:cs typeface="メイリオ"/>
              </a:rPr>
              <a:t>への動的ファイル解析は、追加ライセンス必要</a:t>
            </a:r>
            <a:r>
              <a:rPr lang="en-US" altLang="ja-JP" sz="1600" dirty="0" smtClean="0">
                <a:latin typeface="メイリオ"/>
                <a:ea typeface="メイリオ"/>
                <a:cs typeface="メイリオ"/>
              </a:rPr>
              <a:t>  (FY17</a:t>
            </a:r>
            <a:r>
              <a:rPr lang="en-US" sz="1600" dirty="0" smtClean="0">
                <a:latin typeface="メイリオ"/>
                <a:ea typeface="メイリオ"/>
                <a:cs typeface="メイリオ"/>
              </a:rPr>
              <a:t> Q1 </a:t>
            </a:r>
            <a:r>
              <a:rPr lang="ja-JP" altLang="en-US" sz="1600" dirty="0" smtClean="0">
                <a:latin typeface="メイリオ"/>
                <a:ea typeface="メイリオ"/>
                <a:cs typeface="メイリオ"/>
              </a:rPr>
              <a:t>予定</a:t>
            </a:r>
            <a:r>
              <a:rPr lang="en-US" altLang="ja-JP" sz="1600" dirty="0">
                <a:latin typeface="メイリオ"/>
                <a:ea typeface="メイリオ"/>
                <a:cs typeface="メイリオ"/>
              </a:rPr>
              <a:t>)</a:t>
            </a:r>
            <a:endParaRPr lang="en-US" sz="1600" dirty="0">
              <a:latin typeface="メイリオ"/>
              <a:ea typeface="メイリオ"/>
              <a:cs typeface="メイリオ"/>
            </a:endParaRPr>
          </a:p>
        </p:txBody>
      </p:sp>
    </p:spTree>
    <p:extLst>
      <p:ext uri="{BB962C8B-B14F-4D97-AF65-F5344CB8AC3E}">
        <p14:creationId xmlns:p14="http://schemas.microsoft.com/office/powerpoint/2010/main" val="1570977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solidFill>
                  <a:srgbClr val="2968AF"/>
                </a:solidFill>
                <a:latin typeface="メイリオ"/>
                <a:ea typeface="メイリオ"/>
                <a:cs typeface="メイリオ"/>
              </a:rPr>
              <a:t>MX AMP </a:t>
            </a:r>
            <a:r>
              <a:rPr lang="ja-JP" altLang="en-US" sz="2400" dirty="0" smtClean="0">
                <a:solidFill>
                  <a:srgbClr val="2968AF"/>
                </a:solidFill>
                <a:latin typeface="メイリオ"/>
                <a:ea typeface="メイリオ"/>
                <a:cs typeface="メイリオ"/>
              </a:rPr>
              <a:t>の構成</a:t>
            </a:r>
            <a:endParaRPr lang="en-US" sz="2400" dirty="0">
              <a:solidFill>
                <a:srgbClr val="2968AF"/>
              </a:solidFill>
              <a:latin typeface="メイリオ"/>
              <a:ea typeface="メイリオ"/>
              <a:cs typeface="メイリオ"/>
            </a:endParaRPr>
          </a:p>
        </p:txBody>
      </p:sp>
      <p:pic>
        <p:nvPicPr>
          <p:cNvPr id="4" name="Picture 3" descr="mx64-mantle.jpg"/>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466" t="48773" r="9894" b="11525"/>
          <a:stretch/>
        </p:blipFill>
        <p:spPr>
          <a:xfrm>
            <a:off x="2784531" y="1894105"/>
            <a:ext cx="3813017" cy="781850"/>
          </a:xfrm>
          <a:prstGeom prst="rect">
            <a:avLst/>
          </a:prstGeom>
        </p:spPr>
      </p:pic>
      <p:sp>
        <p:nvSpPr>
          <p:cNvPr id="60" name="Cloud 59"/>
          <p:cNvSpPr/>
          <p:nvPr/>
        </p:nvSpPr>
        <p:spPr>
          <a:xfrm>
            <a:off x="89347" y="2014371"/>
            <a:ext cx="2102521" cy="1279687"/>
          </a:xfrm>
          <a:prstGeom prst="cloud">
            <a:avLst/>
          </a:prstGeom>
          <a:solidFill>
            <a:schemeClr val="bg1"/>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68" tIns="60933" rIns="121868" bIns="60933" rtlCol="0" anchor="ctr"/>
          <a:lstStyle/>
          <a:p>
            <a:pPr algn="ctr"/>
            <a:r>
              <a:rPr lang="ja-JP" altLang="en-US" sz="1200" b="1" dirty="0" smtClean="0">
                <a:solidFill>
                  <a:srgbClr val="0070C0"/>
                </a:solidFill>
                <a:latin typeface="メイリオ"/>
                <a:ea typeface="メイリオ"/>
                <a:cs typeface="メイリオ"/>
              </a:rPr>
              <a:t>インターネット</a:t>
            </a:r>
            <a:endParaRPr lang="en-US" sz="1200" b="1" dirty="0">
              <a:solidFill>
                <a:srgbClr val="0070C0"/>
              </a:solidFill>
              <a:latin typeface="メイリオ"/>
              <a:ea typeface="メイリオ"/>
              <a:cs typeface="メイリオ"/>
            </a:endParaRPr>
          </a:p>
        </p:txBody>
      </p:sp>
      <p:sp>
        <p:nvSpPr>
          <p:cNvPr id="58" name="Striped Right Arrow 57"/>
          <p:cNvSpPr/>
          <p:nvPr/>
        </p:nvSpPr>
        <p:spPr>
          <a:xfrm>
            <a:off x="2199470" y="2192748"/>
            <a:ext cx="738019" cy="807177"/>
          </a:xfrm>
          <a:prstGeom prst="stripedRightArrow">
            <a:avLst>
              <a:gd name="adj1" fmla="val 50000"/>
              <a:gd name="adj2" fmla="val 30512"/>
            </a:avLst>
          </a:prstGeom>
          <a:noFill/>
          <a:ln>
            <a:solidFill>
              <a:schemeClr val="accent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grpSp>
        <p:nvGrpSpPr>
          <p:cNvPr id="11" name="Group 10"/>
          <p:cNvGrpSpPr/>
          <p:nvPr/>
        </p:nvGrpSpPr>
        <p:grpSpPr>
          <a:xfrm>
            <a:off x="2965711" y="-217271"/>
            <a:ext cx="5059226" cy="3554119"/>
            <a:chOff x="2965711" y="-217271"/>
            <a:chExt cx="5059226" cy="3554119"/>
          </a:xfrm>
        </p:grpSpPr>
        <p:pic>
          <p:nvPicPr>
            <p:cNvPr id="10" name="Picture 9"/>
            <p:cNvPicPr>
              <a:picLocks noChangeAspect="1"/>
            </p:cNvPicPr>
            <p:nvPr/>
          </p:nvPicPr>
          <p:blipFill>
            <a:blip r:embed="rId4"/>
            <a:stretch>
              <a:fillRect/>
            </a:stretch>
          </p:blipFill>
          <p:spPr>
            <a:xfrm>
              <a:off x="6436974" y="-217271"/>
              <a:ext cx="894080" cy="679501"/>
            </a:xfrm>
            <a:prstGeom prst="rect">
              <a:avLst/>
            </a:prstGeom>
          </p:spPr>
        </p:pic>
        <p:grpSp>
          <p:nvGrpSpPr>
            <p:cNvPr id="6" name="Group 5"/>
            <p:cNvGrpSpPr/>
            <p:nvPr/>
          </p:nvGrpSpPr>
          <p:grpSpPr>
            <a:xfrm>
              <a:off x="2965711" y="250436"/>
              <a:ext cx="5059226" cy="3086412"/>
              <a:chOff x="2965711" y="250436"/>
              <a:chExt cx="5059226" cy="3086412"/>
            </a:xfrm>
          </p:grpSpPr>
          <p:grpSp>
            <p:nvGrpSpPr>
              <p:cNvPr id="5" name="Group 4"/>
              <p:cNvGrpSpPr/>
              <p:nvPr/>
            </p:nvGrpSpPr>
            <p:grpSpPr>
              <a:xfrm>
                <a:off x="2965711" y="250436"/>
                <a:ext cx="5059226" cy="3086412"/>
                <a:chOff x="2965711" y="250436"/>
                <a:chExt cx="5059226" cy="3086412"/>
              </a:xfrm>
            </p:grpSpPr>
            <p:pic>
              <p:nvPicPr>
                <p:cNvPr id="39" name="Picture 38"/>
                <p:cNvPicPr>
                  <a:picLocks noChangeAspect="1"/>
                </p:cNvPicPr>
                <p:nvPr/>
              </p:nvPicPr>
              <p:blipFill>
                <a:blip r:embed="rId5"/>
                <a:stretch>
                  <a:fillRect/>
                </a:stretch>
              </p:blipFill>
              <p:spPr>
                <a:xfrm>
                  <a:off x="5636188" y="250436"/>
                  <a:ext cx="2388749" cy="1521966"/>
                </a:xfrm>
                <a:prstGeom prst="rect">
                  <a:avLst/>
                </a:prstGeom>
              </p:spPr>
            </p:pic>
            <p:grpSp>
              <p:nvGrpSpPr>
                <p:cNvPr id="46" name="Group 45"/>
                <p:cNvGrpSpPr/>
                <p:nvPr/>
              </p:nvGrpSpPr>
              <p:grpSpPr>
                <a:xfrm>
                  <a:off x="2965711" y="1883497"/>
                  <a:ext cx="3702393" cy="1453351"/>
                  <a:chOff x="749288" y="1883318"/>
                  <a:chExt cx="3703357" cy="1453729"/>
                </a:xfrm>
              </p:grpSpPr>
              <p:sp>
                <p:nvSpPr>
                  <p:cNvPr id="32" name="TextBox 31"/>
                  <p:cNvSpPr txBox="1"/>
                  <p:nvPr/>
                </p:nvSpPr>
                <p:spPr>
                  <a:xfrm>
                    <a:off x="943197" y="2596343"/>
                    <a:ext cx="2586350" cy="369300"/>
                  </a:xfrm>
                  <a:prstGeom prst="rect">
                    <a:avLst/>
                  </a:prstGeom>
                  <a:noFill/>
                </p:spPr>
                <p:txBody>
                  <a:bodyPr wrap="square" rtlCol="0">
                    <a:spAutoFit/>
                  </a:bodyPr>
                  <a:lstStyle/>
                  <a:p>
                    <a:r>
                      <a:rPr lang="en-US" sz="1799" b="1" dirty="0">
                        <a:latin typeface="メイリオ"/>
                        <a:ea typeface="メイリオ"/>
                        <a:cs typeface="メイリオ"/>
                      </a:rPr>
                      <a:t>AMP Connector</a:t>
                    </a:r>
                  </a:p>
                </p:txBody>
              </p:sp>
              <p:sp>
                <p:nvSpPr>
                  <p:cNvPr id="33" name="Rounded Rectangle 32"/>
                  <p:cNvSpPr/>
                  <p:nvPr/>
                </p:nvSpPr>
                <p:spPr>
                  <a:xfrm>
                    <a:off x="749288" y="1883318"/>
                    <a:ext cx="3703357" cy="1453729"/>
                  </a:xfrm>
                  <a:prstGeom prst="roundRect">
                    <a:avLst/>
                  </a:prstGeom>
                  <a:noFill/>
                  <a:ln>
                    <a:solidFill>
                      <a:schemeClr val="tx1"/>
                    </a:solidFill>
                    <a:prstDash val="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grpSp>
              <p:nvGrpSpPr>
                <p:cNvPr id="44" name="Group 43"/>
                <p:cNvGrpSpPr/>
                <p:nvPr/>
              </p:nvGrpSpPr>
              <p:grpSpPr>
                <a:xfrm>
                  <a:off x="3683001" y="638438"/>
                  <a:ext cx="2183769" cy="1219807"/>
                  <a:chOff x="1837594" y="637935"/>
                  <a:chExt cx="3383827" cy="1220124"/>
                </a:xfrm>
              </p:grpSpPr>
              <p:sp>
                <p:nvSpPr>
                  <p:cNvPr id="16" name="TextBox 15"/>
                  <p:cNvSpPr txBox="1"/>
                  <p:nvPr/>
                </p:nvSpPr>
                <p:spPr>
                  <a:xfrm>
                    <a:off x="2336275" y="1014439"/>
                    <a:ext cx="2885146" cy="554087"/>
                  </a:xfrm>
                  <a:prstGeom prst="rect">
                    <a:avLst/>
                  </a:prstGeom>
                  <a:noFill/>
                </p:spPr>
                <p:txBody>
                  <a:bodyPr wrap="none" lIns="121868" tIns="60933" rIns="121868" bIns="60933" rtlCol="0">
                    <a:spAutoFit/>
                  </a:bodyPr>
                  <a:lstStyle/>
                  <a:p>
                    <a:r>
                      <a:rPr lang="ja-JP" altLang="en-US" sz="1400" dirty="0" smtClean="0">
                        <a:latin typeface="メイリオ"/>
                        <a:ea typeface="メイリオ"/>
                        <a:cs typeface="メイリオ"/>
                      </a:rPr>
                      <a:t>ファイル</a:t>
                    </a:r>
                    <a:r>
                      <a:rPr lang="en-US" sz="1400" dirty="0" smtClean="0">
                        <a:latin typeface="メイリオ"/>
                        <a:ea typeface="メイリオ"/>
                        <a:cs typeface="メイリオ"/>
                      </a:rPr>
                      <a:t>ハッシュ</a:t>
                    </a:r>
                    <a:r>
                      <a:rPr lang="ja-JP" altLang="en-US" sz="1400" dirty="0" smtClean="0">
                        <a:latin typeface="メイリオ"/>
                        <a:ea typeface="メイリオ"/>
                        <a:cs typeface="メイリオ"/>
                      </a:rPr>
                      <a:t>値</a:t>
                    </a:r>
                    <a:endParaRPr lang="en-US" sz="1400" dirty="0" smtClean="0">
                      <a:latin typeface="メイリオ"/>
                      <a:ea typeface="メイリオ"/>
                      <a:cs typeface="メイリオ"/>
                    </a:endParaRPr>
                  </a:p>
                  <a:p>
                    <a:r>
                      <a:rPr lang="en-US" sz="1400" dirty="0" smtClean="0">
                        <a:latin typeface="メイリオ"/>
                        <a:ea typeface="メイリオ"/>
                        <a:cs typeface="メイリオ"/>
                      </a:rPr>
                      <a:t>問い合わせ</a:t>
                    </a:r>
                    <a:endParaRPr lang="en-US" sz="1400" dirty="0">
                      <a:latin typeface="メイリオ"/>
                      <a:ea typeface="メイリオ"/>
                      <a:cs typeface="メイリオ"/>
                    </a:endParaRPr>
                  </a:p>
                </p:txBody>
              </p:sp>
              <p:grpSp>
                <p:nvGrpSpPr>
                  <p:cNvPr id="42" name="Group 41"/>
                  <p:cNvGrpSpPr/>
                  <p:nvPr/>
                </p:nvGrpSpPr>
                <p:grpSpPr>
                  <a:xfrm>
                    <a:off x="1837594" y="637935"/>
                    <a:ext cx="3174609" cy="1220124"/>
                    <a:chOff x="1837594" y="637935"/>
                    <a:chExt cx="3174609" cy="1220124"/>
                  </a:xfrm>
                </p:grpSpPr>
                <p:sp>
                  <p:nvSpPr>
                    <p:cNvPr id="34" name="Bent Arrow 33"/>
                    <p:cNvSpPr/>
                    <p:nvPr/>
                  </p:nvSpPr>
                  <p:spPr>
                    <a:xfrm>
                      <a:off x="1995373" y="637935"/>
                      <a:ext cx="3016830" cy="967237"/>
                    </a:xfrm>
                    <a:prstGeom prst="bentArrow">
                      <a:avLst>
                        <a:gd name="adj1" fmla="val 23756"/>
                        <a:gd name="adj2" fmla="val 25000"/>
                        <a:gd name="adj3" fmla="val 25000"/>
                        <a:gd name="adj4" fmla="val 52457"/>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tx1"/>
                        </a:solidFill>
                      </a:endParaRPr>
                    </a:p>
                  </p:txBody>
                </p:sp>
                <p:sp>
                  <p:nvSpPr>
                    <p:cNvPr id="40" name="Down Arrow 39"/>
                    <p:cNvSpPr/>
                    <p:nvPr/>
                  </p:nvSpPr>
                  <p:spPr>
                    <a:xfrm>
                      <a:off x="1837594" y="1241439"/>
                      <a:ext cx="686181" cy="616620"/>
                    </a:xfrm>
                    <a:prstGeom prst="down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grpSp>
            <p:pic>
              <p:nvPicPr>
                <p:cNvPr id="121858" name="Picture 2" descr="https://s-media-cache-ak0.pinimg.com/originals/12/f9/34/12f9340a253cc1cc22bccaedef2c36cc.gif"/>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r="32954"/>
                <a:stretch/>
              </p:blipFill>
              <p:spPr bwMode="auto">
                <a:xfrm>
                  <a:off x="6495697" y="1197585"/>
                  <a:ext cx="490938" cy="344195"/>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p:cNvSpPr txBox="1"/>
              <p:nvPr/>
            </p:nvSpPr>
            <p:spPr>
              <a:xfrm>
                <a:off x="6492308" y="743322"/>
                <a:ext cx="783413" cy="400110"/>
              </a:xfrm>
              <a:prstGeom prst="rect">
                <a:avLst/>
              </a:prstGeom>
              <a:noFill/>
            </p:spPr>
            <p:txBody>
              <a:bodyPr wrap="none" rtlCol="0">
                <a:spAutoFit/>
              </a:bodyPr>
              <a:lstStyle/>
              <a:p>
                <a:pPr algn="ctr"/>
                <a:r>
                  <a:rPr lang="en-US" sz="2000" b="1" dirty="0" smtClean="0">
                    <a:solidFill>
                      <a:srgbClr val="0070C0"/>
                    </a:solidFill>
                    <a:latin typeface="メイリオ"/>
                    <a:ea typeface="メイリオ"/>
                    <a:cs typeface="メイリオ"/>
                  </a:rPr>
                  <a:t>AMP</a:t>
                </a:r>
                <a:endParaRPr lang="en-US" sz="2000" b="1" dirty="0">
                  <a:solidFill>
                    <a:srgbClr val="0070C0"/>
                  </a:solidFill>
                  <a:latin typeface="メイリオ"/>
                  <a:ea typeface="メイリオ"/>
                  <a:cs typeface="メイリオ"/>
                </a:endParaRPr>
              </a:p>
            </p:txBody>
          </p:sp>
        </p:grpSp>
      </p:grpSp>
      <p:grpSp>
        <p:nvGrpSpPr>
          <p:cNvPr id="7" name="Group 6"/>
          <p:cNvGrpSpPr/>
          <p:nvPr/>
        </p:nvGrpSpPr>
        <p:grpSpPr>
          <a:xfrm>
            <a:off x="3159570" y="2924854"/>
            <a:ext cx="4865367" cy="1862948"/>
            <a:chOff x="3159570" y="2924854"/>
            <a:chExt cx="4865367" cy="1862948"/>
          </a:xfrm>
        </p:grpSpPr>
        <p:sp>
          <p:nvSpPr>
            <p:cNvPr id="31" name="TextBox 30"/>
            <p:cNvSpPr txBox="1"/>
            <p:nvPr/>
          </p:nvSpPr>
          <p:spPr>
            <a:xfrm>
              <a:off x="3159570" y="2924854"/>
              <a:ext cx="2585677" cy="338554"/>
            </a:xfrm>
            <a:prstGeom prst="rect">
              <a:avLst/>
            </a:prstGeom>
            <a:noFill/>
          </p:spPr>
          <p:txBody>
            <a:bodyPr wrap="square" rtlCol="0">
              <a:spAutoFit/>
            </a:bodyPr>
            <a:lstStyle/>
            <a:p>
              <a:r>
                <a:rPr lang="en-US" sz="1600" b="1" dirty="0" err="1" smtClean="0">
                  <a:latin typeface="メイリオ"/>
                  <a:ea typeface="メイリオ"/>
                  <a:cs typeface="メイリオ"/>
                </a:rPr>
                <a:t>ThreatGrid</a:t>
              </a:r>
              <a:r>
                <a:rPr lang="en-US" sz="1600" b="1" dirty="0" smtClean="0">
                  <a:latin typeface="メイリオ"/>
                  <a:ea typeface="メイリオ"/>
                  <a:cs typeface="メイリオ"/>
                </a:rPr>
                <a:t> </a:t>
              </a:r>
              <a:r>
                <a:rPr lang="en-US" sz="1600" b="1" dirty="0">
                  <a:latin typeface="メイリオ"/>
                  <a:ea typeface="メイリオ"/>
                  <a:cs typeface="メイリオ"/>
                </a:rPr>
                <a:t>Connector</a:t>
              </a:r>
            </a:p>
          </p:txBody>
        </p:sp>
        <p:grpSp>
          <p:nvGrpSpPr>
            <p:cNvPr id="45" name="Group 44"/>
            <p:cNvGrpSpPr/>
            <p:nvPr/>
          </p:nvGrpSpPr>
          <p:grpSpPr>
            <a:xfrm>
              <a:off x="3697111" y="3348514"/>
              <a:ext cx="2020529" cy="1222106"/>
              <a:chOff x="1859304" y="3348712"/>
              <a:chExt cx="3152899" cy="1222424"/>
            </a:xfrm>
          </p:grpSpPr>
          <p:sp>
            <p:nvSpPr>
              <p:cNvPr id="17" name="TextBox 16"/>
              <p:cNvSpPr txBox="1"/>
              <p:nvPr/>
            </p:nvSpPr>
            <p:spPr>
              <a:xfrm>
                <a:off x="2545640" y="3770022"/>
                <a:ext cx="2345129" cy="338588"/>
              </a:xfrm>
              <a:prstGeom prst="rect">
                <a:avLst/>
              </a:prstGeom>
              <a:noFill/>
            </p:spPr>
            <p:txBody>
              <a:bodyPr wrap="none" lIns="121868" tIns="60933" rIns="121868" bIns="60933" rtlCol="0">
                <a:spAutoFit/>
              </a:bodyPr>
              <a:lstStyle/>
              <a:p>
                <a:r>
                  <a:rPr lang="ja-JP" altLang="en-US" sz="1400" dirty="0" smtClean="0">
                    <a:latin typeface="メイリオ"/>
                    <a:ea typeface="メイリオ"/>
                    <a:cs typeface="メイリオ"/>
                  </a:rPr>
                  <a:t>ファイルの送信</a:t>
                </a:r>
                <a:endParaRPr lang="en-US" sz="1400" dirty="0">
                  <a:latin typeface="メイリオ"/>
                  <a:ea typeface="メイリオ"/>
                  <a:cs typeface="メイリオ"/>
                </a:endParaRPr>
              </a:p>
            </p:txBody>
          </p:sp>
          <p:grpSp>
            <p:nvGrpSpPr>
              <p:cNvPr id="43" name="Group 42"/>
              <p:cNvGrpSpPr/>
              <p:nvPr/>
            </p:nvGrpSpPr>
            <p:grpSpPr>
              <a:xfrm>
                <a:off x="1859304" y="3348712"/>
                <a:ext cx="3152899" cy="1222424"/>
                <a:chOff x="1859304" y="3348712"/>
                <a:chExt cx="3152899" cy="1222424"/>
              </a:xfrm>
            </p:grpSpPr>
            <p:sp>
              <p:nvSpPr>
                <p:cNvPr id="41" name="Down Arrow 40"/>
                <p:cNvSpPr/>
                <p:nvPr/>
              </p:nvSpPr>
              <p:spPr>
                <a:xfrm rot="10800000">
                  <a:off x="1859304" y="3348712"/>
                  <a:ext cx="664317" cy="616620"/>
                </a:xfrm>
                <a:prstGeom prst="down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35" name="Bent Arrow 34"/>
                <p:cNvSpPr/>
                <p:nvPr/>
              </p:nvSpPr>
              <p:spPr>
                <a:xfrm flipV="1">
                  <a:off x="1995373" y="3578179"/>
                  <a:ext cx="3016830" cy="992957"/>
                </a:xfrm>
                <a:prstGeom prst="bentArrow">
                  <a:avLst>
                    <a:gd name="adj1" fmla="val 23756"/>
                    <a:gd name="adj2" fmla="val 25000"/>
                    <a:gd name="adj3" fmla="val 25000"/>
                    <a:gd name="adj4" fmla="val 52457"/>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メイリオ"/>
                    <a:ea typeface="メイリオ"/>
                    <a:cs typeface="メイリオ"/>
                  </a:endParaRPr>
                </a:p>
              </p:txBody>
            </p:sp>
          </p:grpSp>
        </p:grpSp>
        <p:pic>
          <p:nvPicPr>
            <p:cNvPr id="61" name="Picture 60"/>
            <p:cNvPicPr>
              <a:picLocks noChangeAspect="1"/>
            </p:cNvPicPr>
            <p:nvPr/>
          </p:nvPicPr>
          <p:blipFill>
            <a:blip r:embed="rId5"/>
            <a:stretch>
              <a:fillRect/>
            </a:stretch>
          </p:blipFill>
          <p:spPr>
            <a:xfrm>
              <a:off x="5636188" y="3265836"/>
              <a:ext cx="2388749" cy="1521966"/>
            </a:xfrm>
            <a:prstGeom prst="rect">
              <a:avLst/>
            </a:prstGeom>
          </p:spPr>
        </p:pic>
        <p:sp>
          <p:nvSpPr>
            <p:cNvPr id="62" name="TextBox 61"/>
            <p:cNvSpPr txBox="1"/>
            <p:nvPr/>
          </p:nvSpPr>
          <p:spPr>
            <a:xfrm>
              <a:off x="6182422" y="4000492"/>
              <a:ext cx="1500907" cy="369332"/>
            </a:xfrm>
            <a:prstGeom prst="rect">
              <a:avLst/>
            </a:prstGeom>
            <a:noFill/>
          </p:spPr>
          <p:txBody>
            <a:bodyPr wrap="none" rtlCol="0">
              <a:spAutoFit/>
            </a:bodyPr>
            <a:lstStyle/>
            <a:p>
              <a:pPr algn="ctr"/>
              <a:r>
                <a:rPr lang="en-US" b="1" dirty="0" err="1" smtClean="0">
                  <a:solidFill>
                    <a:srgbClr val="0070C0"/>
                  </a:solidFill>
                  <a:latin typeface="メイリオ"/>
                  <a:ea typeface="メイリオ"/>
                  <a:cs typeface="メイリオ"/>
                </a:rPr>
                <a:t>ThreatGrid</a:t>
              </a:r>
              <a:endParaRPr lang="en-US" b="1" dirty="0">
                <a:solidFill>
                  <a:srgbClr val="0070C0"/>
                </a:solidFill>
                <a:latin typeface="メイリオ"/>
                <a:ea typeface="メイリオ"/>
                <a:cs typeface="メイリオ"/>
              </a:endParaRPr>
            </a:p>
          </p:txBody>
        </p:sp>
      </p:grpSp>
      <p:grpSp>
        <p:nvGrpSpPr>
          <p:cNvPr id="8" name="Group 7"/>
          <p:cNvGrpSpPr/>
          <p:nvPr/>
        </p:nvGrpSpPr>
        <p:grpSpPr>
          <a:xfrm>
            <a:off x="6975209" y="743322"/>
            <a:ext cx="1747482" cy="3457141"/>
            <a:chOff x="6975209" y="743322"/>
            <a:chExt cx="1747482" cy="3457141"/>
          </a:xfrm>
        </p:grpSpPr>
        <p:sp>
          <p:nvSpPr>
            <p:cNvPr id="36" name="Curved Up Arrow 35"/>
            <p:cNvSpPr/>
            <p:nvPr/>
          </p:nvSpPr>
          <p:spPr>
            <a:xfrm rot="16200000">
              <a:off x="6645244" y="2123017"/>
              <a:ext cx="3457141" cy="697752"/>
            </a:xfrm>
            <a:prstGeom prst="curvedUp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メイリオ"/>
                <a:ea typeface="メイリオ"/>
                <a:cs typeface="メイリオ"/>
              </a:endParaRPr>
            </a:p>
          </p:txBody>
        </p:sp>
        <p:pic>
          <p:nvPicPr>
            <p:cNvPr id="56" name="Picture 2" descr="https://s-media-cache-ak0.pinimg.com/originals/12/f9/34/12f9340a253cc1cc22bccaedef2c36cc.gif"/>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6835" t="-2" b="-11313"/>
            <a:stretch/>
          </p:blipFill>
          <p:spPr bwMode="auto">
            <a:xfrm>
              <a:off x="6975209" y="1194939"/>
              <a:ext cx="242852" cy="3831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15351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2968AF"/>
                </a:solidFill>
                <a:latin typeface="メイリオ"/>
                <a:ea typeface="メイリオ"/>
                <a:cs typeface="メイリオ"/>
              </a:rPr>
              <a:t>Security Center </a:t>
            </a:r>
            <a:r>
              <a:rPr lang="en-US" sz="2000" dirty="0" smtClean="0">
                <a:solidFill>
                  <a:srgbClr val="2968AF"/>
                </a:solidFill>
                <a:latin typeface="メイリオ"/>
                <a:ea typeface="メイリオ"/>
                <a:cs typeface="メイリオ"/>
              </a:rPr>
              <a:t>(Security Reports を変更)</a:t>
            </a:r>
            <a:endParaRPr lang="en-US" dirty="0">
              <a:solidFill>
                <a:srgbClr val="2968AF"/>
              </a:solidFill>
              <a:latin typeface="メイリオ"/>
              <a:ea typeface="メイリオ"/>
              <a:cs typeface="メイリオ"/>
            </a:endParaRPr>
          </a:p>
        </p:txBody>
      </p:sp>
      <p:sp>
        <p:nvSpPr>
          <p:cNvPr id="3" name="Text Placeholder 2"/>
          <p:cNvSpPr>
            <a:spLocks noGrp="1"/>
          </p:cNvSpPr>
          <p:nvPr>
            <p:ph type="body" sz="quarter" idx="10"/>
          </p:nvPr>
        </p:nvSpPr>
        <p:spPr>
          <a:xfrm>
            <a:off x="234363" y="843480"/>
            <a:ext cx="3752999" cy="3722924"/>
          </a:xfrm>
        </p:spPr>
        <p:txBody>
          <a:bodyPr/>
          <a:lstStyle/>
          <a:p>
            <a:r>
              <a:rPr lang="ja-JP" altLang="en-US" dirty="0" smtClean="0">
                <a:solidFill>
                  <a:schemeClr val="tx1"/>
                </a:solidFill>
                <a:latin typeface="メイリオ"/>
                <a:ea typeface="メイリオ"/>
                <a:cs typeface="メイリオ"/>
              </a:rPr>
              <a:t>すべてのセキュリティ関連のイベントが一箇所に。</a:t>
            </a:r>
            <a:endParaRPr lang="en-US" dirty="0" smtClean="0">
              <a:solidFill>
                <a:schemeClr val="tx1"/>
              </a:solidFill>
              <a:latin typeface="メイリオ"/>
              <a:ea typeface="メイリオ"/>
              <a:cs typeface="メイリオ"/>
            </a:endParaRPr>
          </a:p>
          <a:p>
            <a:r>
              <a:rPr lang="ja-JP" altLang="en-US" dirty="0" smtClean="0">
                <a:solidFill>
                  <a:schemeClr val="tx1"/>
                </a:solidFill>
                <a:latin typeface="メイリオ"/>
                <a:ea typeface="メイリオ"/>
                <a:cs typeface="メイリオ"/>
              </a:rPr>
              <a:t>クライアント、ネットワーク、脅威、リモートソース毎に可能</a:t>
            </a:r>
            <a:endParaRPr lang="en-US" dirty="0" smtClean="0">
              <a:solidFill>
                <a:schemeClr val="tx1"/>
              </a:solidFill>
              <a:latin typeface="メイリオ"/>
              <a:ea typeface="メイリオ"/>
              <a:cs typeface="メイリオ"/>
            </a:endParaRPr>
          </a:p>
          <a:p>
            <a:r>
              <a:rPr lang="ja-JP" altLang="en-US" dirty="0" smtClean="0">
                <a:solidFill>
                  <a:schemeClr val="tx1"/>
                </a:solidFill>
                <a:latin typeface="メイリオ"/>
                <a:ea typeface="メイリオ"/>
                <a:cs typeface="メイリオ"/>
              </a:rPr>
              <a:t>感染した可能性があるクライアントやネットワークを素早く特定可</a:t>
            </a:r>
            <a:endParaRPr lang="en-US" altLang="ja-JP" dirty="0" smtClean="0">
              <a:solidFill>
                <a:schemeClr val="tx1"/>
              </a:solidFill>
              <a:latin typeface="メイリオ"/>
              <a:ea typeface="メイリオ"/>
              <a:cs typeface="メイリオ"/>
            </a:endParaRPr>
          </a:p>
          <a:p>
            <a:r>
              <a:rPr lang="ja-JP" altLang="en-US" dirty="0" smtClean="0">
                <a:solidFill>
                  <a:schemeClr val="tx1"/>
                </a:solidFill>
                <a:latin typeface="メイリオ"/>
                <a:ea typeface="メイリオ"/>
                <a:cs typeface="メイリオ"/>
              </a:rPr>
              <a:t>複数またがる脅威も素早く可視化</a:t>
            </a:r>
            <a:endParaRPr lang="en-US" altLang="ja-JP" dirty="0" smtClean="0">
              <a:solidFill>
                <a:schemeClr val="tx1"/>
              </a:solidFill>
              <a:latin typeface="メイリオ"/>
              <a:ea typeface="メイリオ"/>
              <a:cs typeface="メイリオ"/>
            </a:endParaRPr>
          </a:p>
          <a:p>
            <a:pPr marL="0" indent="0">
              <a:buNone/>
            </a:pPr>
            <a:endParaRPr lang="en-US" dirty="0" smtClean="0">
              <a:solidFill>
                <a:schemeClr val="tx1"/>
              </a:solidFill>
              <a:latin typeface="メイリオ"/>
              <a:ea typeface="メイリオ"/>
              <a:cs typeface="メイリオ"/>
            </a:endParaRPr>
          </a:p>
        </p:txBody>
      </p:sp>
      <p:pic>
        <p:nvPicPr>
          <p:cNvPr id="4" name="Picture 3"/>
          <p:cNvPicPr>
            <a:picLocks noChangeAspect="1"/>
          </p:cNvPicPr>
          <p:nvPr/>
        </p:nvPicPr>
        <p:blipFill>
          <a:blip r:embed="rId3"/>
          <a:stretch>
            <a:fillRect/>
          </a:stretch>
        </p:blipFill>
        <p:spPr>
          <a:xfrm>
            <a:off x="4544711" y="952087"/>
            <a:ext cx="4264810" cy="3477874"/>
          </a:xfrm>
          <a:prstGeom prst="rect">
            <a:avLst/>
          </a:prstGeom>
        </p:spPr>
      </p:pic>
    </p:spTree>
    <p:extLst>
      <p:ext uri="{BB962C8B-B14F-4D97-AF65-F5344CB8AC3E}">
        <p14:creationId xmlns:p14="http://schemas.microsoft.com/office/powerpoint/2010/main" val="1164826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err="1">
                <a:solidFill>
                  <a:srgbClr val="2968AF"/>
                </a:solidFill>
                <a:latin typeface="メイリオ"/>
                <a:ea typeface="メイリオ"/>
                <a:cs typeface="メイリオ"/>
              </a:rPr>
              <a:t>Meraki</a:t>
            </a:r>
            <a:r>
              <a:rPr lang="en-US" altLang="ja-JP" dirty="0">
                <a:solidFill>
                  <a:srgbClr val="2968AF"/>
                </a:solidFill>
                <a:latin typeface="メイリオ"/>
                <a:ea typeface="メイリオ"/>
                <a:cs typeface="メイリオ"/>
              </a:rPr>
              <a:t> MX</a:t>
            </a:r>
            <a:r>
              <a:rPr lang="ja-JP" altLang="en-US" dirty="0">
                <a:solidFill>
                  <a:srgbClr val="2968AF"/>
                </a:solidFill>
                <a:latin typeface="メイリオ"/>
                <a:ea typeface="メイリオ"/>
                <a:cs typeface="メイリオ"/>
              </a:rPr>
              <a:t> セキュリティ</a:t>
            </a:r>
            <a:r>
              <a:rPr lang="ja-JP" altLang="en-US" dirty="0" smtClean="0">
                <a:solidFill>
                  <a:srgbClr val="2968AF"/>
                </a:solidFill>
                <a:latin typeface="メイリオ"/>
                <a:ea typeface="メイリオ"/>
                <a:cs typeface="メイリオ"/>
              </a:rPr>
              <a:t>機能</a:t>
            </a:r>
            <a:r>
              <a:rPr lang="en-US" altLang="ja-JP" dirty="0" smtClean="0">
                <a:solidFill>
                  <a:srgbClr val="2968AF"/>
                </a:solidFill>
                <a:latin typeface="メイリオ"/>
                <a:ea typeface="メイリオ"/>
                <a:cs typeface="メイリオ"/>
              </a:rPr>
              <a:t> – New -</a:t>
            </a:r>
            <a:endParaRPr lang="en-US" dirty="0">
              <a:solidFill>
                <a:srgbClr val="2968AF"/>
              </a:solidFill>
              <a:latin typeface="メイリオ"/>
              <a:ea typeface="メイリオ"/>
              <a:cs typeface="メイリオ"/>
            </a:endParaRPr>
          </a:p>
        </p:txBody>
      </p:sp>
      <p:pic>
        <p:nvPicPr>
          <p:cNvPr id="11" name="Picture 10"/>
          <p:cNvPicPr>
            <a:picLocks noChangeAspect="1"/>
          </p:cNvPicPr>
          <p:nvPr/>
        </p:nvPicPr>
        <p:blipFill>
          <a:blip r:embed="rId2"/>
          <a:stretch>
            <a:fillRect/>
          </a:stretch>
        </p:blipFill>
        <p:spPr>
          <a:xfrm>
            <a:off x="4520167" y="951530"/>
            <a:ext cx="3976824" cy="3243027"/>
          </a:xfrm>
          <a:prstGeom prst="rect">
            <a:avLst/>
          </a:prstGeom>
        </p:spPr>
      </p:pic>
      <p:sp>
        <p:nvSpPr>
          <p:cNvPr id="3" name="正方形/長方形 2"/>
          <p:cNvSpPr/>
          <p:nvPr/>
        </p:nvSpPr>
        <p:spPr>
          <a:xfrm>
            <a:off x="5357816" y="4279799"/>
            <a:ext cx="1920868" cy="369332"/>
          </a:xfrm>
          <a:prstGeom prst="rect">
            <a:avLst/>
          </a:prstGeom>
        </p:spPr>
        <p:txBody>
          <a:bodyPr wrap="none">
            <a:spAutoFit/>
          </a:bodyPr>
          <a:lstStyle/>
          <a:p>
            <a:r>
              <a:rPr lang="en-US" altLang="ja-JP" dirty="0">
                <a:solidFill>
                  <a:srgbClr val="2968AF"/>
                </a:solidFill>
                <a:latin typeface="メイリオ"/>
                <a:ea typeface="メイリオ"/>
                <a:cs typeface="メイリオ"/>
              </a:rPr>
              <a:t>Security Center</a:t>
            </a:r>
            <a:endParaRPr lang="ja-JP" altLang="en-US" dirty="0"/>
          </a:p>
        </p:txBody>
      </p:sp>
      <p:graphicFrame>
        <p:nvGraphicFramePr>
          <p:cNvPr id="6" name="Table 5"/>
          <p:cNvGraphicFramePr>
            <a:graphicFrameLocks noGrp="1"/>
          </p:cNvGraphicFramePr>
          <p:nvPr>
            <p:extLst>
              <p:ext uri="{D42A27DB-BD31-4B8C-83A1-F6EECF244321}">
                <p14:modId xmlns:p14="http://schemas.microsoft.com/office/powerpoint/2010/main" val="2316119908"/>
              </p:ext>
            </p:extLst>
          </p:nvPr>
        </p:nvGraphicFramePr>
        <p:xfrm>
          <a:off x="229706" y="847715"/>
          <a:ext cx="3878184" cy="3801416"/>
        </p:xfrm>
        <a:graphic>
          <a:graphicData uri="http://schemas.openxmlformats.org/drawingml/2006/table">
            <a:tbl>
              <a:tblPr firstRow="1" bandRow="1">
                <a:tableStyleId>{2D5ABB26-0587-4C30-8999-92F81FD0307C}</a:tableStyleId>
              </a:tblPr>
              <a:tblGrid>
                <a:gridCol w="1954694"/>
                <a:gridCol w="1923490"/>
              </a:tblGrid>
              <a:tr h="814613">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侵入検知 </a:t>
                      </a:r>
                      <a:r>
                        <a:rPr lang="en-US" altLang="ja-JP" sz="1400" b="1" dirty="0" smtClean="0">
                          <a:latin typeface="メイリオ"/>
                          <a:ea typeface="メイリオ"/>
                          <a:cs typeface="メイリオ"/>
                        </a:rPr>
                        <a:t>/</a:t>
                      </a:r>
                      <a:r>
                        <a:rPr lang="ja-JP" altLang="en-US" sz="1400" b="1" dirty="0" smtClean="0">
                          <a:latin typeface="メイリオ"/>
                          <a:ea typeface="メイリオ"/>
                          <a:cs typeface="メイリオ"/>
                        </a:rPr>
                        <a:t> 防御</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bg1">
                              <a:lumMod val="50000"/>
                            </a:schemeClr>
                          </a:solidFill>
                          <a:latin typeface="メイリオ"/>
                          <a:ea typeface="メイリオ"/>
                          <a:cs typeface="メイリオ"/>
                        </a:rPr>
                        <a:t>Snort IDS</a:t>
                      </a:r>
                      <a:r>
                        <a:rPr lang="en-US" sz="1400" i="0" baseline="0" dirty="0" smtClean="0">
                          <a:solidFill>
                            <a:schemeClr val="bg1">
                              <a:lumMod val="50000"/>
                            </a:schemeClr>
                          </a:solidFill>
                          <a:latin typeface="メイリオ"/>
                          <a:ea typeface="メイリオ"/>
                          <a:cs typeface="メイリオ"/>
                        </a:rPr>
                        <a:t> / IPS</a:t>
                      </a:r>
                      <a:r>
                        <a:rPr lang="en-US" sz="1400" i="0" baseline="0" dirty="0" smtClean="0">
                          <a:solidFill>
                            <a:schemeClr val="bg1">
                              <a:lumMod val="50000"/>
                            </a:schemeClr>
                          </a:solidFill>
                          <a:latin typeface="メイリオ"/>
                          <a:ea typeface="メイリオ"/>
                          <a:cs typeface="メイリオ"/>
                        </a:rPr>
                        <a:t>,</a:t>
                      </a:r>
                      <a:r>
                        <a:rPr lang="en-US" sz="1400" i="0" baseline="0" dirty="0" smtClean="0">
                          <a:solidFill>
                            <a:schemeClr val="bg1">
                              <a:lumMod val="50000"/>
                            </a:schemeClr>
                          </a:solidFill>
                          <a:latin typeface="メイリオ"/>
                          <a:ea typeface="メイリオ"/>
                          <a:cs typeface="メイリオ"/>
                        </a:rPr>
                        <a:t> </a:t>
                      </a:r>
                      <a:r>
                        <a:rPr lang="ja-JP" altLang="en-US" sz="1400" i="0" baseline="0" dirty="0" smtClean="0">
                          <a:solidFill>
                            <a:schemeClr val="bg1">
                              <a:lumMod val="50000"/>
                            </a:schemeClr>
                          </a:solidFill>
                          <a:latin typeface="メイリオ"/>
                          <a:ea typeface="メイリオ"/>
                          <a:cs typeface="メイリオ"/>
                        </a:rPr>
                        <a:t>日々</a:t>
                      </a:r>
                      <a:r>
                        <a:rPr lang="ja-JP" altLang="en-US" sz="1400" i="0" baseline="0" dirty="0" smtClean="0">
                          <a:solidFill>
                            <a:schemeClr val="bg1">
                              <a:lumMod val="50000"/>
                            </a:schemeClr>
                          </a:solidFill>
                          <a:latin typeface="メイリオ"/>
                          <a:ea typeface="メイリオ"/>
                          <a:cs typeface="メイリオ"/>
                        </a:rPr>
                        <a:t>更新</a:t>
                      </a:r>
                      <a:endParaRPr lang="en-US" sz="1400" i="0" dirty="0" smtClean="0">
                        <a:solidFill>
                          <a:schemeClr val="bg1">
                            <a:lumMod val="50000"/>
                          </a:schemeClr>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コンテンツフィルタリング</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i="0" dirty="0" err="1" smtClean="0">
                          <a:solidFill>
                            <a:srgbClr val="7F7F7F"/>
                          </a:solidFill>
                          <a:latin typeface="メイリオ"/>
                          <a:ea typeface="メイリオ"/>
                          <a:cs typeface="メイリオ"/>
                        </a:rPr>
                        <a:t>BrightCloud</a:t>
                      </a:r>
                      <a:r>
                        <a:rPr lang="en-US" sz="1400" i="0" dirty="0" smtClean="0">
                          <a:solidFill>
                            <a:srgbClr val="7F7F7F"/>
                          </a:solidFill>
                          <a:latin typeface="メイリオ"/>
                          <a:ea typeface="メイリオ"/>
                          <a:cs typeface="メイリオ"/>
                        </a:rPr>
                        <a:t> </a:t>
                      </a:r>
                      <a:r>
                        <a:rPr lang="en-US" sz="1400" i="0" dirty="0" smtClean="0">
                          <a:solidFill>
                            <a:srgbClr val="7F7F7F"/>
                          </a:solidFill>
                          <a:latin typeface="メイリオ"/>
                          <a:ea typeface="メイリオ"/>
                          <a:cs typeface="メイリオ"/>
                        </a:rPr>
                        <a:t>–</a:t>
                      </a:r>
                      <a:r>
                        <a:rPr lang="en-US" sz="1400" i="0" baseline="0" dirty="0" smtClean="0">
                          <a:solidFill>
                            <a:srgbClr val="7F7F7F"/>
                          </a:solidFill>
                          <a:latin typeface="メイリオ"/>
                          <a:ea typeface="メイリオ"/>
                          <a:cs typeface="メイリオ"/>
                        </a:rPr>
                        <a:t> </a:t>
                      </a:r>
                      <a:r>
                        <a:rPr lang="en-US" altLang="ja-JP" sz="1400" i="0" baseline="0" dirty="0" smtClean="0">
                          <a:solidFill>
                            <a:srgbClr val="7F7F7F"/>
                          </a:solidFill>
                          <a:latin typeface="メイリオ"/>
                          <a:ea typeface="メイリオ"/>
                          <a:cs typeface="メイリオ"/>
                        </a:rPr>
                        <a:t>40</a:t>
                      </a:r>
                      <a:r>
                        <a:rPr lang="ja-JP" altLang="en-US" sz="1400" i="0" baseline="0" dirty="0" smtClean="0">
                          <a:solidFill>
                            <a:srgbClr val="7F7F7F"/>
                          </a:solidFill>
                          <a:latin typeface="メイリオ"/>
                          <a:ea typeface="メイリオ"/>
                          <a:cs typeface="メイリオ"/>
                        </a:rPr>
                        <a:t> 億</a:t>
                      </a:r>
                      <a:r>
                        <a:rPr lang="en-US" sz="1400" i="0" dirty="0" smtClean="0">
                          <a:solidFill>
                            <a:srgbClr val="7F7F7F"/>
                          </a:solidFill>
                          <a:latin typeface="メイリオ"/>
                          <a:ea typeface="メイリオ"/>
                          <a:cs typeface="メイリオ"/>
                        </a:rPr>
                        <a:t>URLs</a:t>
                      </a:r>
                      <a:r>
                        <a:rPr lang="en-US" sz="1400" i="0" baseline="0" dirty="0" smtClean="0">
                          <a:solidFill>
                            <a:srgbClr val="7F7F7F"/>
                          </a:solidFill>
                          <a:latin typeface="メイリオ"/>
                          <a:ea typeface="メイリオ"/>
                          <a:cs typeface="メイリオ"/>
                        </a:rPr>
                        <a:t>,  </a:t>
                      </a:r>
                      <a:r>
                        <a:rPr lang="ja-JP" altLang="en-US" sz="1400" i="0" baseline="0" dirty="0" smtClean="0">
                          <a:solidFill>
                            <a:srgbClr val="7F7F7F"/>
                          </a:solidFill>
                          <a:latin typeface="メイリオ"/>
                          <a:ea typeface="メイリオ"/>
                          <a:cs typeface="メイリオ"/>
                        </a:rPr>
                        <a:t>リアルタイム更新</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ジオロケーション</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i="0" dirty="0" smtClean="0">
                          <a:solidFill>
                            <a:srgbClr val="7F7F7F"/>
                          </a:solidFill>
                          <a:latin typeface="メイリオ"/>
                          <a:ea typeface="メイリオ"/>
                          <a:cs typeface="メイリオ"/>
                        </a:rPr>
                        <a:t>国地域による通信制御</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b="1" dirty="0" smtClean="0">
                          <a:latin typeface="メイリオ"/>
                          <a:ea typeface="メイリオ"/>
                          <a:cs typeface="メイリオ"/>
                        </a:rPr>
                        <a:t>アンチウィルス / </a:t>
                      </a:r>
                      <a:r>
                        <a:rPr lang="ja-JP" altLang="en-US" sz="1400" b="1" dirty="0" smtClean="0">
                          <a:latin typeface="メイリオ"/>
                          <a:ea typeface="メイリオ"/>
                          <a:cs typeface="メイリオ"/>
                        </a:rPr>
                        <a:t>アンチフィッシング</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a:noFill/>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altLang="ja-JP" sz="1400" i="0" dirty="0" smtClean="0">
                          <a:solidFill>
                            <a:srgbClr val="7F7F7F"/>
                          </a:solidFill>
                          <a:latin typeface="メイリオ"/>
                          <a:ea typeface="メイリオ"/>
                          <a:cs typeface="メイリオ"/>
                        </a:rPr>
                        <a:t>AMP</a:t>
                      </a:r>
                      <a:r>
                        <a:rPr lang="ja-JP" altLang="en-US" sz="1400" i="0" dirty="0" smtClean="0">
                          <a:solidFill>
                            <a:srgbClr val="7F7F7F"/>
                          </a:solidFill>
                          <a:latin typeface="メイリオ"/>
                          <a:ea typeface="メイリオ"/>
                          <a:cs typeface="メイリオ"/>
                        </a:rPr>
                        <a:t> </a:t>
                      </a:r>
                      <a:r>
                        <a:rPr lang="en-US" altLang="ja-JP" sz="1400" i="0" dirty="0" smtClean="0">
                          <a:solidFill>
                            <a:srgbClr val="7F7F7F"/>
                          </a:solidFill>
                          <a:latin typeface="メイリオ"/>
                          <a:ea typeface="メイリオ"/>
                          <a:cs typeface="メイリオ"/>
                        </a:rPr>
                        <a:t>w/</a:t>
                      </a:r>
                      <a:r>
                        <a:rPr lang="ja-JP" altLang="en-US" sz="1400" i="0" dirty="0" smtClean="0">
                          <a:solidFill>
                            <a:srgbClr val="7F7F7F"/>
                          </a:solidFill>
                          <a:latin typeface="メイリオ"/>
                          <a:ea typeface="メイリオ"/>
                          <a:cs typeface="メイリオ"/>
                        </a:rPr>
                        <a:t> </a:t>
                      </a:r>
                      <a:r>
                        <a:rPr lang="en-US" altLang="ja-JP" sz="1400" i="0" dirty="0" err="1" smtClean="0">
                          <a:solidFill>
                            <a:srgbClr val="7F7F7F"/>
                          </a:solidFill>
                          <a:latin typeface="メイリオ"/>
                          <a:ea typeface="メイリオ"/>
                          <a:cs typeface="メイリオ"/>
                        </a:rPr>
                        <a:t>ThreatGrid</a:t>
                      </a:r>
                      <a:endParaRPr lang="en-US" altLang="ja-JP"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a:noFill/>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b="1" dirty="0" smtClean="0">
                          <a:latin typeface="メイリオ"/>
                          <a:ea typeface="メイリオ"/>
                          <a:cs typeface="メイリオ"/>
                        </a:rPr>
                        <a:t>PCI </a:t>
                      </a:r>
                      <a:r>
                        <a:rPr lang="ja-JP" altLang="en-US" sz="1400" b="1" dirty="0" smtClean="0">
                          <a:latin typeface="メイリオ"/>
                          <a:ea typeface="メイリオ"/>
                          <a:cs typeface="メイリオ"/>
                        </a:rPr>
                        <a:t>コンプライアンス</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i="0" dirty="0" smtClean="0">
                          <a:solidFill>
                            <a:srgbClr val="7F7F7F"/>
                          </a:solidFill>
                          <a:latin typeface="メイリオ"/>
                          <a:ea typeface="メイリオ"/>
                          <a:cs typeface="メイリオ"/>
                        </a:rPr>
                        <a:t>PCI</a:t>
                      </a:r>
                      <a:r>
                        <a:rPr lang="en-US" sz="1400" i="0" baseline="0" dirty="0" smtClean="0">
                          <a:solidFill>
                            <a:srgbClr val="7F7F7F"/>
                          </a:solidFill>
                          <a:latin typeface="メイリオ"/>
                          <a:ea typeface="メイリオ"/>
                          <a:cs typeface="メイリオ"/>
                        </a:rPr>
                        <a:t> 3.1 certified cloud-based management</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15485223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a:blip r:embed="rId3"/>
          <a:stretch>
            <a:fillRect/>
          </a:stretch>
        </p:blipFill>
        <p:spPr>
          <a:xfrm>
            <a:off x="899418" y="1723725"/>
            <a:ext cx="1142402" cy="510908"/>
          </a:xfrm>
          <a:prstGeom prst="rect">
            <a:avLst/>
          </a:prstGeom>
        </p:spPr>
      </p:pic>
      <p:pic>
        <p:nvPicPr>
          <p:cNvPr id="5" name="Picture 4"/>
          <p:cNvPicPr>
            <a:picLocks noChangeAspect="1"/>
          </p:cNvPicPr>
          <p:nvPr/>
        </p:nvPicPr>
        <p:blipFill>
          <a:blip r:embed="rId4"/>
          <a:stretch>
            <a:fillRect/>
          </a:stretch>
        </p:blipFill>
        <p:spPr>
          <a:xfrm>
            <a:off x="692915" y="2159217"/>
            <a:ext cx="1470578" cy="642683"/>
          </a:xfrm>
          <a:prstGeom prst="rect">
            <a:avLst/>
          </a:prstGeom>
        </p:spPr>
      </p:pic>
      <p:sp>
        <p:nvSpPr>
          <p:cNvPr id="51" name="Rectangle 50"/>
          <p:cNvSpPr/>
          <p:nvPr/>
        </p:nvSpPr>
        <p:spPr>
          <a:xfrm>
            <a:off x="7611291" y="1707916"/>
            <a:ext cx="1439320" cy="1692658"/>
          </a:xfrm>
          <a:prstGeom prst="rect">
            <a:avLst/>
          </a:prstGeom>
          <a:noFill/>
          <a:ln w="12700" cmpd="sng">
            <a:solidFill>
              <a:srgbClr val="BFBFBF"/>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メイリオ"/>
              <a:ea typeface="メイリオ"/>
              <a:cs typeface="メイリオ"/>
            </a:endParaRPr>
          </a:p>
        </p:txBody>
      </p:sp>
      <p:sp>
        <p:nvSpPr>
          <p:cNvPr id="8" name="TextBox 7"/>
          <p:cNvSpPr txBox="1"/>
          <p:nvPr/>
        </p:nvSpPr>
        <p:spPr>
          <a:xfrm>
            <a:off x="1065375" y="1504294"/>
            <a:ext cx="830777" cy="234987"/>
          </a:xfrm>
          <a:prstGeom prst="rect">
            <a:avLst/>
          </a:prstGeom>
          <a:noFill/>
        </p:spPr>
        <p:txBody>
          <a:bodyPr wrap="none" rtlCol="0">
            <a:spAutoFit/>
          </a:bodyPr>
          <a:lstStyle/>
          <a:p>
            <a:r>
              <a:rPr lang="en-US" sz="927">
                <a:solidFill>
                  <a:srgbClr val="435153"/>
                </a:solidFill>
                <a:latin typeface="メイリオ"/>
                <a:ea typeface="メイリオ"/>
                <a:cs typeface="メイリオ"/>
              </a:rPr>
              <a:t>MX64/64W</a:t>
            </a:r>
            <a:endParaRPr lang="en-US" sz="927" dirty="0">
              <a:solidFill>
                <a:srgbClr val="435153"/>
              </a:solidFill>
              <a:latin typeface="メイリオ"/>
              <a:ea typeface="メイリオ"/>
              <a:cs typeface="メイリオ"/>
            </a:endParaRPr>
          </a:p>
        </p:txBody>
      </p:sp>
      <p:sp>
        <p:nvSpPr>
          <p:cNvPr id="24" name="TextBox 23"/>
          <p:cNvSpPr txBox="1"/>
          <p:nvPr/>
        </p:nvSpPr>
        <p:spPr>
          <a:xfrm>
            <a:off x="1153673" y="2699448"/>
            <a:ext cx="518091"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MX84</a:t>
            </a:r>
          </a:p>
        </p:txBody>
      </p:sp>
      <p:sp>
        <p:nvSpPr>
          <p:cNvPr id="25" name="TextBox 24"/>
          <p:cNvSpPr txBox="1"/>
          <p:nvPr/>
        </p:nvSpPr>
        <p:spPr>
          <a:xfrm>
            <a:off x="1141662" y="3320382"/>
            <a:ext cx="584487"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MX100</a:t>
            </a:r>
          </a:p>
        </p:txBody>
      </p:sp>
      <p:sp>
        <p:nvSpPr>
          <p:cNvPr id="26" name="TextBox 25"/>
          <p:cNvSpPr txBox="1"/>
          <p:nvPr/>
        </p:nvSpPr>
        <p:spPr>
          <a:xfrm>
            <a:off x="1094674" y="3947998"/>
            <a:ext cx="584487"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MX400</a:t>
            </a:r>
          </a:p>
        </p:txBody>
      </p:sp>
      <p:sp>
        <p:nvSpPr>
          <p:cNvPr id="27" name="TextBox 26"/>
          <p:cNvSpPr txBox="1"/>
          <p:nvPr/>
        </p:nvSpPr>
        <p:spPr>
          <a:xfrm>
            <a:off x="1065647" y="4663183"/>
            <a:ext cx="584487"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MX600</a:t>
            </a:r>
          </a:p>
        </p:txBody>
      </p:sp>
      <p:cxnSp>
        <p:nvCxnSpPr>
          <p:cNvPr id="18" name="Straight Connector 17"/>
          <p:cNvCxnSpPr/>
          <p:nvPr/>
        </p:nvCxnSpPr>
        <p:spPr>
          <a:xfrm flipV="1">
            <a:off x="680034" y="4140301"/>
            <a:ext cx="6592883" cy="15974"/>
          </a:xfrm>
          <a:prstGeom prst="line">
            <a:avLst/>
          </a:prstGeom>
          <a:ln w="12700" cmpd="sng">
            <a:solidFill>
              <a:schemeClr val="bg1">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731015" y="3514344"/>
            <a:ext cx="6541902" cy="16511"/>
          </a:xfrm>
          <a:prstGeom prst="line">
            <a:avLst/>
          </a:prstGeom>
          <a:ln w="12700" cmpd="sng">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V="1">
            <a:off x="682396" y="2874570"/>
            <a:ext cx="6590521" cy="16634"/>
          </a:xfrm>
          <a:prstGeom prst="line">
            <a:avLst/>
          </a:prstGeom>
          <a:ln w="12700" cmpd="sng">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V="1">
            <a:off x="695412" y="1742454"/>
            <a:ext cx="6577505" cy="16602"/>
          </a:xfrm>
          <a:prstGeom prst="line">
            <a:avLst/>
          </a:prstGeom>
          <a:ln w="12700" cmpd="sng">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pic>
        <p:nvPicPr>
          <p:cNvPr id="31" name="Picture 3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04993" y="1787720"/>
            <a:ext cx="481364" cy="137316"/>
          </a:xfrm>
          <a:prstGeom prst="rect">
            <a:avLst/>
          </a:prstGeom>
        </p:spPr>
      </p:pic>
      <p:sp>
        <p:nvSpPr>
          <p:cNvPr id="32" name="TextBox 31"/>
          <p:cNvSpPr txBox="1"/>
          <p:nvPr/>
        </p:nvSpPr>
        <p:spPr>
          <a:xfrm>
            <a:off x="8224349" y="1925008"/>
            <a:ext cx="335876"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Z1</a:t>
            </a:r>
          </a:p>
        </p:txBody>
      </p:sp>
      <p:sp>
        <p:nvSpPr>
          <p:cNvPr id="33" name="TextBox 32"/>
          <p:cNvSpPr txBox="1"/>
          <p:nvPr/>
        </p:nvSpPr>
        <p:spPr>
          <a:xfrm>
            <a:off x="2399589" y="1279856"/>
            <a:ext cx="1260339" cy="377642"/>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スモールブランチ</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50 clients)</a:t>
            </a:r>
          </a:p>
        </p:txBody>
      </p:sp>
      <p:sp>
        <p:nvSpPr>
          <p:cNvPr id="34" name="TextBox 33"/>
          <p:cNvSpPr txBox="1"/>
          <p:nvPr/>
        </p:nvSpPr>
        <p:spPr>
          <a:xfrm>
            <a:off x="2527760" y="1006893"/>
            <a:ext cx="543739" cy="307777"/>
          </a:xfrm>
          <a:prstGeom prst="rect">
            <a:avLst/>
          </a:prstGeom>
          <a:noFill/>
        </p:spPr>
        <p:txBody>
          <a:bodyPr wrap="none" rtlCol="0">
            <a:spAutoFit/>
          </a:bodyPr>
          <a:lstStyle/>
          <a:p>
            <a:r>
              <a:rPr lang="ja-JP" altLang="en-US" sz="1400" dirty="0" smtClean="0">
                <a:solidFill>
                  <a:srgbClr val="435153"/>
                </a:solidFill>
                <a:latin typeface="メイリオ"/>
                <a:ea typeface="メイリオ"/>
                <a:cs typeface="メイリオ"/>
              </a:rPr>
              <a:t>対象</a:t>
            </a:r>
            <a:endParaRPr lang="en-US" sz="1400" dirty="0">
              <a:solidFill>
                <a:srgbClr val="435153"/>
              </a:solidFill>
              <a:latin typeface="メイリオ"/>
              <a:ea typeface="メイリオ"/>
              <a:cs typeface="メイリオ"/>
            </a:endParaRPr>
          </a:p>
        </p:txBody>
      </p:sp>
      <p:sp>
        <p:nvSpPr>
          <p:cNvPr id="35" name="TextBox 34"/>
          <p:cNvSpPr txBox="1"/>
          <p:nvPr/>
        </p:nvSpPr>
        <p:spPr>
          <a:xfrm>
            <a:off x="5143690" y="999565"/>
            <a:ext cx="1261884" cy="307777"/>
          </a:xfrm>
          <a:prstGeom prst="rect">
            <a:avLst/>
          </a:prstGeom>
          <a:noFill/>
        </p:spPr>
        <p:txBody>
          <a:bodyPr wrap="none" rtlCol="0">
            <a:spAutoFit/>
          </a:bodyPr>
          <a:lstStyle/>
          <a:p>
            <a:r>
              <a:rPr lang="ja-JP" altLang="en-US" sz="1400" dirty="0" smtClean="0">
                <a:solidFill>
                  <a:srgbClr val="435153"/>
                </a:solidFill>
                <a:latin typeface="メイリオ"/>
                <a:ea typeface="メイリオ"/>
                <a:cs typeface="メイリオ"/>
              </a:rPr>
              <a:t>スループット</a:t>
            </a:r>
            <a:endParaRPr lang="en-US" sz="1400" dirty="0">
              <a:solidFill>
                <a:srgbClr val="435153"/>
              </a:solidFill>
              <a:latin typeface="メイリオ"/>
              <a:ea typeface="メイリオ"/>
              <a:cs typeface="メイリオ"/>
            </a:endParaRPr>
          </a:p>
        </p:txBody>
      </p:sp>
      <p:sp>
        <p:nvSpPr>
          <p:cNvPr id="36" name="TextBox 35"/>
          <p:cNvSpPr txBox="1"/>
          <p:nvPr/>
        </p:nvSpPr>
        <p:spPr>
          <a:xfrm>
            <a:off x="5143690" y="1361758"/>
            <a:ext cx="1202697" cy="377642"/>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250 Mbps (FW)</a:t>
            </a:r>
          </a:p>
          <a:p>
            <a:r>
              <a:rPr lang="en-US" sz="927" dirty="0">
                <a:solidFill>
                  <a:srgbClr val="435153"/>
                </a:solidFill>
                <a:latin typeface="メイリオ"/>
                <a:ea typeface="メイリオ"/>
                <a:cs typeface="メイリオ"/>
              </a:rPr>
              <a:t>200 Mbps (UTM)</a:t>
            </a:r>
          </a:p>
        </p:txBody>
      </p:sp>
      <p:sp>
        <p:nvSpPr>
          <p:cNvPr id="37" name="TextBox 36"/>
          <p:cNvSpPr txBox="1"/>
          <p:nvPr/>
        </p:nvSpPr>
        <p:spPr>
          <a:xfrm>
            <a:off x="2297699" y="4269545"/>
            <a:ext cx="1362230" cy="520296"/>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キャンパス</a:t>
            </a:r>
            <a:r>
              <a:rPr lang="en-US" sz="927" dirty="0" smtClean="0">
                <a:solidFill>
                  <a:srgbClr val="435153"/>
                </a:solidFill>
                <a:latin typeface="メイリオ"/>
                <a:ea typeface="メイリオ"/>
                <a:cs typeface="メイリオ"/>
              </a:rPr>
              <a:t>/</a:t>
            </a:r>
            <a:endParaRPr lang="en-US" sz="927" dirty="0">
              <a:solidFill>
                <a:srgbClr val="435153"/>
              </a:solidFill>
              <a:latin typeface="メイリオ"/>
              <a:ea typeface="メイリオ"/>
              <a:cs typeface="メイリオ"/>
            </a:endParaRPr>
          </a:p>
          <a:p>
            <a:r>
              <a:rPr lang="en-US" sz="927" dirty="0" smtClean="0">
                <a:solidFill>
                  <a:srgbClr val="435153"/>
                </a:solidFill>
                <a:latin typeface="メイリオ"/>
                <a:ea typeface="メイリオ"/>
                <a:cs typeface="メイリオ"/>
              </a:rPr>
              <a:t>VPN</a:t>
            </a:r>
            <a:r>
              <a:rPr lang="ja-JP" altLang="en-US" sz="927" dirty="0" smtClean="0">
                <a:solidFill>
                  <a:srgbClr val="435153"/>
                </a:solidFill>
                <a:latin typeface="メイリオ"/>
                <a:ea typeface="メイリオ"/>
                <a:cs typeface="メイリオ"/>
              </a:rPr>
              <a:t>コンセントレーラ</a:t>
            </a:r>
            <a:endParaRPr lang="en-US" sz="927" dirty="0">
              <a:solidFill>
                <a:srgbClr val="435153"/>
              </a:solidFill>
              <a:latin typeface="メイリオ"/>
              <a:ea typeface="メイリオ"/>
              <a:cs typeface="メイリオ"/>
            </a:endParaRPr>
          </a:p>
          <a:p>
            <a:r>
              <a:rPr lang="en-US" sz="927" dirty="0">
                <a:solidFill>
                  <a:srgbClr val="435153"/>
                </a:solidFill>
                <a:latin typeface="メイリオ"/>
                <a:ea typeface="メイリオ"/>
                <a:cs typeface="メイリオ"/>
              </a:rPr>
              <a:t>(~10,000 clients)</a:t>
            </a:r>
          </a:p>
        </p:txBody>
      </p:sp>
      <p:sp>
        <p:nvSpPr>
          <p:cNvPr id="38" name="TextBox 37"/>
          <p:cNvSpPr txBox="1"/>
          <p:nvPr/>
        </p:nvSpPr>
        <p:spPr>
          <a:xfrm>
            <a:off x="2399589" y="3615928"/>
            <a:ext cx="1260339" cy="520296"/>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大規模ブランチ</a:t>
            </a:r>
            <a:r>
              <a:rPr lang="en-US" sz="927" dirty="0" smtClean="0">
                <a:solidFill>
                  <a:srgbClr val="435153"/>
                </a:solidFill>
                <a:latin typeface="メイリオ"/>
                <a:ea typeface="メイリオ"/>
                <a:cs typeface="メイリオ"/>
              </a:rPr>
              <a:t>/</a:t>
            </a:r>
            <a:r>
              <a:rPr lang="ja-JP" altLang="en-US" sz="927" dirty="0" smtClean="0">
                <a:solidFill>
                  <a:srgbClr val="435153"/>
                </a:solidFill>
                <a:latin typeface="メイリオ"/>
                <a:ea typeface="メイリオ"/>
                <a:cs typeface="メイリオ"/>
              </a:rPr>
              <a:t>キャンパス</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2,000 clients)</a:t>
            </a:r>
          </a:p>
        </p:txBody>
      </p:sp>
      <p:sp>
        <p:nvSpPr>
          <p:cNvPr id="39" name="TextBox 38"/>
          <p:cNvSpPr txBox="1"/>
          <p:nvPr/>
        </p:nvSpPr>
        <p:spPr>
          <a:xfrm>
            <a:off x="2399592" y="2393202"/>
            <a:ext cx="1337525" cy="377642"/>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中規模ブランチ</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200 clients)</a:t>
            </a:r>
          </a:p>
        </p:txBody>
      </p:sp>
      <p:sp>
        <p:nvSpPr>
          <p:cNvPr id="40" name="TextBox 39"/>
          <p:cNvSpPr txBox="1"/>
          <p:nvPr/>
        </p:nvSpPr>
        <p:spPr>
          <a:xfrm>
            <a:off x="2407846" y="2957589"/>
            <a:ext cx="1337525" cy="520296"/>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中規模ブランチ</a:t>
            </a:r>
            <a:r>
              <a:rPr lang="en-US" sz="927" dirty="0" smtClean="0">
                <a:solidFill>
                  <a:srgbClr val="435153"/>
                </a:solidFill>
                <a:latin typeface="メイリオ"/>
                <a:ea typeface="メイリオ"/>
                <a:cs typeface="メイリオ"/>
              </a:rPr>
              <a:t>/</a:t>
            </a:r>
            <a:endParaRPr lang="en-US" sz="927" dirty="0">
              <a:solidFill>
                <a:srgbClr val="435153"/>
              </a:solidFill>
              <a:latin typeface="メイリオ"/>
              <a:ea typeface="メイリオ"/>
              <a:cs typeface="メイリオ"/>
            </a:endParaRPr>
          </a:p>
          <a:p>
            <a:r>
              <a:rPr lang="ja-JP" altLang="en-US" sz="927" dirty="0" smtClean="0">
                <a:solidFill>
                  <a:srgbClr val="435153"/>
                </a:solidFill>
                <a:latin typeface="メイリオ"/>
                <a:ea typeface="メイリオ"/>
                <a:cs typeface="メイリオ"/>
              </a:rPr>
              <a:t>スモールキャンパス</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500 clients)</a:t>
            </a:r>
          </a:p>
        </p:txBody>
      </p:sp>
      <p:sp>
        <p:nvSpPr>
          <p:cNvPr id="41" name="TextBox 40"/>
          <p:cNvSpPr txBox="1"/>
          <p:nvPr/>
        </p:nvSpPr>
        <p:spPr>
          <a:xfrm>
            <a:off x="3687016" y="999565"/>
            <a:ext cx="543739" cy="307777"/>
          </a:xfrm>
          <a:prstGeom prst="rect">
            <a:avLst/>
          </a:prstGeom>
          <a:noFill/>
        </p:spPr>
        <p:txBody>
          <a:bodyPr wrap="none" rtlCol="0">
            <a:spAutoFit/>
          </a:bodyPr>
          <a:lstStyle/>
          <a:p>
            <a:r>
              <a:rPr lang="ja-JP" altLang="en-US" sz="1400" dirty="0" smtClean="0">
                <a:solidFill>
                  <a:srgbClr val="435153"/>
                </a:solidFill>
                <a:latin typeface="メイリオ"/>
                <a:ea typeface="メイリオ"/>
                <a:cs typeface="メイリオ"/>
              </a:rPr>
              <a:t>特徴</a:t>
            </a:r>
            <a:endParaRPr lang="en-US" sz="1400" dirty="0">
              <a:solidFill>
                <a:srgbClr val="435153"/>
              </a:solidFill>
              <a:latin typeface="メイリオ"/>
              <a:ea typeface="メイリオ"/>
              <a:cs typeface="メイリオ"/>
            </a:endParaRPr>
          </a:p>
        </p:txBody>
      </p:sp>
      <p:sp>
        <p:nvSpPr>
          <p:cNvPr id="42" name="TextBox 41"/>
          <p:cNvSpPr txBox="1"/>
          <p:nvPr/>
        </p:nvSpPr>
        <p:spPr>
          <a:xfrm>
            <a:off x="3535880" y="1360773"/>
            <a:ext cx="1456898" cy="377642"/>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11ac wireless (MX64W)</a:t>
            </a:r>
          </a:p>
        </p:txBody>
      </p:sp>
      <p:sp>
        <p:nvSpPr>
          <p:cNvPr id="44" name="TextBox 43"/>
          <p:cNvSpPr txBox="1"/>
          <p:nvPr/>
        </p:nvSpPr>
        <p:spPr>
          <a:xfrm>
            <a:off x="5133215" y="2465803"/>
            <a:ext cx="1219803" cy="377667"/>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500 Mbps (FW)</a:t>
            </a:r>
          </a:p>
          <a:p>
            <a:r>
              <a:rPr lang="en-US" sz="927" dirty="0">
                <a:solidFill>
                  <a:srgbClr val="435153"/>
                </a:solidFill>
                <a:latin typeface="メイリオ"/>
                <a:ea typeface="メイリオ"/>
                <a:cs typeface="メイリオ"/>
              </a:rPr>
              <a:t>300 Mbps (UTM)</a:t>
            </a:r>
          </a:p>
        </p:txBody>
      </p:sp>
      <p:sp>
        <p:nvSpPr>
          <p:cNvPr id="45" name="TextBox 44"/>
          <p:cNvSpPr txBox="1"/>
          <p:nvPr/>
        </p:nvSpPr>
        <p:spPr>
          <a:xfrm>
            <a:off x="3535877" y="2465802"/>
            <a:ext cx="1644851"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SFP </a:t>
            </a:r>
            <a:r>
              <a:rPr lang="ja-JP" altLang="en-US" sz="927" dirty="0" smtClean="0">
                <a:solidFill>
                  <a:srgbClr val="435153"/>
                </a:solidFill>
                <a:latin typeface="メイリオ"/>
                <a:ea typeface="メイリオ"/>
                <a:cs typeface="メイリオ"/>
              </a:rPr>
              <a:t>ポート</a:t>
            </a:r>
            <a:endParaRPr lang="en-US" sz="927" dirty="0">
              <a:solidFill>
                <a:srgbClr val="435153"/>
              </a:solidFill>
              <a:latin typeface="メイリオ"/>
              <a:ea typeface="メイリオ"/>
              <a:cs typeface="メイリオ"/>
            </a:endParaRPr>
          </a:p>
        </p:txBody>
      </p:sp>
      <p:sp>
        <p:nvSpPr>
          <p:cNvPr id="46" name="TextBox 45"/>
          <p:cNvSpPr txBox="1"/>
          <p:nvPr/>
        </p:nvSpPr>
        <p:spPr>
          <a:xfrm>
            <a:off x="5149090" y="3052672"/>
            <a:ext cx="1183927" cy="377667"/>
          </a:xfrm>
          <a:prstGeom prst="rect">
            <a:avLst/>
          </a:prstGeom>
          <a:noFill/>
        </p:spPr>
        <p:txBody>
          <a:bodyPr wrap="square" rtlCol="0">
            <a:spAutoFit/>
          </a:bodyPr>
          <a:lstStyle/>
          <a:p>
            <a:r>
              <a:rPr lang="en-US" sz="927" dirty="0" smtClean="0">
                <a:solidFill>
                  <a:srgbClr val="435153"/>
                </a:solidFill>
                <a:latin typeface="メイリオ"/>
                <a:ea typeface="メイリオ"/>
                <a:cs typeface="メイリオ"/>
              </a:rPr>
              <a:t>750 </a:t>
            </a:r>
            <a:r>
              <a:rPr lang="en-US" sz="927" dirty="0">
                <a:solidFill>
                  <a:srgbClr val="435153"/>
                </a:solidFill>
                <a:latin typeface="メイリオ"/>
                <a:ea typeface="メイリオ"/>
                <a:cs typeface="メイリオ"/>
              </a:rPr>
              <a:t>Mbps (FW)</a:t>
            </a:r>
          </a:p>
          <a:p>
            <a:r>
              <a:rPr lang="en-US" sz="927" dirty="0">
                <a:solidFill>
                  <a:srgbClr val="435153"/>
                </a:solidFill>
                <a:latin typeface="メイリオ"/>
                <a:ea typeface="メイリオ"/>
                <a:cs typeface="メイリオ"/>
              </a:rPr>
              <a:t>650 Mbps (UTM)</a:t>
            </a:r>
          </a:p>
        </p:txBody>
      </p:sp>
      <p:sp>
        <p:nvSpPr>
          <p:cNvPr id="47" name="TextBox 46"/>
          <p:cNvSpPr txBox="1"/>
          <p:nvPr/>
        </p:nvSpPr>
        <p:spPr>
          <a:xfrm>
            <a:off x="3526692" y="3097292"/>
            <a:ext cx="1690928"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SFP Ports</a:t>
            </a:r>
          </a:p>
        </p:txBody>
      </p:sp>
      <p:sp>
        <p:nvSpPr>
          <p:cNvPr id="48" name="TextBox 47"/>
          <p:cNvSpPr txBox="1"/>
          <p:nvPr/>
        </p:nvSpPr>
        <p:spPr>
          <a:xfrm>
            <a:off x="5160765" y="3676984"/>
            <a:ext cx="988577" cy="377667"/>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1 </a:t>
            </a:r>
            <a:r>
              <a:rPr lang="en-US" sz="927" dirty="0" err="1">
                <a:solidFill>
                  <a:srgbClr val="435153"/>
                </a:solidFill>
                <a:latin typeface="メイリオ"/>
                <a:ea typeface="メイリオ"/>
                <a:cs typeface="メイリオ"/>
              </a:rPr>
              <a:t>Gbps</a:t>
            </a:r>
            <a:r>
              <a:rPr lang="en-US" sz="927" dirty="0">
                <a:solidFill>
                  <a:srgbClr val="435153"/>
                </a:solidFill>
                <a:latin typeface="メイリオ"/>
                <a:ea typeface="メイリオ"/>
                <a:cs typeface="メイリオ"/>
              </a:rPr>
              <a:t> (FW)</a:t>
            </a:r>
          </a:p>
          <a:p>
            <a:r>
              <a:rPr lang="en-US" sz="927" dirty="0">
                <a:solidFill>
                  <a:srgbClr val="435153"/>
                </a:solidFill>
                <a:latin typeface="メイリオ"/>
                <a:ea typeface="メイリオ"/>
                <a:cs typeface="メイリオ"/>
              </a:rPr>
              <a:t>1 </a:t>
            </a:r>
            <a:r>
              <a:rPr lang="en-US" sz="927" dirty="0" err="1">
                <a:solidFill>
                  <a:srgbClr val="435153"/>
                </a:solidFill>
                <a:latin typeface="メイリオ"/>
                <a:ea typeface="メイリオ"/>
                <a:cs typeface="メイリオ"/>
              </a:rPr>
              <a:t>Gbps</a:t>
            </a:r>
            <a:r>
              <a:rPr lang="en-US" sz="927" dirty="0">
                <a:solidFill>
                  <a:srgbClr val="435153"/>
                </a:solidFill>
                <a:latin typeface="メイリオ"/>
                <a:ea typeface="メイリオ"/>
                <a:cs typeface="メイリオ"/>
              </a:rPr>
              <a:t> (UTM)</a:t>
            </a:r>
          </a:p>
        </p:txBody>
      </p:sp>
      <p:sp>
        <p:nvSpPr>
          <p:cNvPr id="49" name="TextBox 48"/>
          <p:cNvSpPr txBox="1"/>
          <p:nvPr/>
        </p:nvSpPr>
        <p:spPr>
          <a:xfrm>
            <a:off x="5148005" y="4316257"/>
            <a:ext cx="1029674" cy="377667"/>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1 </a:t>
            </a:r>
            <a:r>
              <a:rPr lang="en-US" sz="927" dirty="0" err="1">
                <a:solidFill>
                  <a:srgbClr val="435153"/>
                </a:solidFill>
                <a:latin typeface="メイリオ"/>
                <a:ea typeface="メイリオ"/>
                <a:cs typeface="メイリオ"/>
              </a:rPr>
              <a:t>Gbps</a:t>
            </a:r>
            <a:r>
              <a:rPr lang="en-US" sz="927" dirty="0">
                <a:solidFill>
                  <a:srgbClr val="435153"/>
                </a:solidFill>
                <a:latin typeface="メイリオ"/>
                <a:ea typeface="メイリオ"/>
                <a:cs typeface="メイリオ"/>
              </a:rPr>
              <a:t> (FW)</a:t>
            </a:r>
          </a:p>
          <a:p>
            <a:r>
              <a:rPr lang="en-US" sz="927" dirty="0">
                <a:solidFill>
                  <a:srgbClr val="435153"/>
                </a:solidFill>
                <a:latin typeface="メイリオ"/>
                <a:ea typeface="メイリオ"/>
                <a:cs typeface="メイリオ"/>
              </a:rPr>
              <a:t>1 </a:t>
            </a:r>
            <a:r>
              <a:rPr lang="en-US" sz="927" dirty="0" err="1">
                <a:solidFill>
                  <a:srgbClr val="435153"/>
                </a:solidFill>
                <a:latin typeface="メイリオ"/>
                <a:ea typeface="メイリオ"/>
                <a:cs typeface="メイリオ"/>
              </a:rPr>
              <a:t>Gbps</a:t>
            </a:r>
            <a:r>
              <a:rPr lang="en-US" sz="927" dirty="0">
                <a:solidFill>
                  <a:srgbClr val="435153"/>
                </a:solidFill>
                <a:latin typeface="メイリオ"/>
                <a:ea typeface="メイリオ"/>
                <a:cs typeface="メイリオ"/>
              </a:rPr>
              <a:t> (UTM)</a:t>
            </a:r>
          </a:p>
        </p:txBody>
      </p:sp>
      <p:sp>
        <p:nvSpPr>
          <p:cNvPr id="50" name="TextBox 49"/>
          <p:cNvSpPr txBox="1"/>
          <p:nvPr/>
        </p:nvSpPr>
        <p:spPr>
          <a:xfrm>
            <a:off x="3537018" y="3519374"/>
            <a:ext cx="1736279" cy="662950"/>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電源冗長</a:t>
            </a:r>
            <a:endParaRPr lang="en-US" altLang="ja-JP" sz="927" dirty="0" smtClean="0">
              <a:solidFill>
                <a:srgbClr val="435153"/>
              </a:solidFill>
              <a:latin typeface="メイリオ"/>
              <a:ea typeface="メイリオ"/>
              <a:cs typeface="メイリオ"/>
            </a:endParaRPr>
          </a:p>
          <a:p>
            <a:r>
              <a:rPr lang="ja-JP" altLang="en-US" sz="927" dirty="0" smtClean="0">
                <a:solidFill>
                  <a:srgbClr val="435153"/>
                </a:solidFill>
                <a:latin typeface="メイリオ"/>
                <a:ea typeface="メイリオ"/>
                <a:cs typeface="メイリオ"/>
              </a:rPr>
              <a:t>モジュラー</a:t>
            </a:r>
            <a:r>
              <a:rPr lang="en-US" altLang="ja-JP" sz="927" dirty="0" smtClean="0">
                <a:solidFill>
                  <a:srgbClr val="435153"/>
                </a:solidFill>
                <a:latin typeface="メイリオ"/>
                <a:ea typeface="メイリオ"/>
                <a:cs typeface="メイリオ"/>
              </a:rPr>
              <a:t>IF</a:t>
            </a:r>
          </a:p>
          <a:p>
            <a:r>
              <a:rPr lang="en-US" sz="927" dirty="0" smtClean="0">
                <a:solidFill>
                  <a:srgbClr val="435153"/>
                </a:solidFill>
                <a:latin typeface="メイリオ"/>
                <a:ea typeface="メイリオ"/>
                <a:cs typeface="メイリオ"/>
              </a:rPr>
              <a:t>SFP </a:t>
            </a:r>
            <a:r>
              <a:rPr lang="en-US" sz="927" dirty="0">
                <a:solidFill>
                  <a:srgbClr val="435153"/>
                </a:solidFill>
                <a:latin typeface="メイリオ"/>
                <a:ea typeface="メイリオ"/>
                <a:cs typeface="メイリオ"/>
              </a:rPr>
              <a:t>or SFP+ (with modules)</a:t>
            </a:r>
          </a:p>
        </p:txBody>
      </p:sp>
      <p:sp>
        <p:nvSpPr>
          <p:cNvPr id="52" name="TextBox 51"/>
          <p:cNvSpPr txBox="1"/>
          <p:nvPr/>
        </p:nvSpPr>
        <p:spPr>
          <a:xfrm>
            <a:off x="7619376" y="2153675"/>
            <a:ext cx="1449034" cy="948259"/>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テレワーカ</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1-5 users)</a:t>
            </a:r>
          </a:p>
          <a:p>
            <a:endParaRPr lang="en-US" sz="927" dirty="0">
              <a:solidFill>
                <a:srgbClr val="435153"/>
              </a:solidFill>
              <a:latin typeface="メイリオ"/>
              <a:ea typeface="メイリオ"/>
              <a:cs typeface="メイリオ"/>
            </a:endParaRPr>
          </a:p>
          <a:p>
            <a:r>
              <a:rPr lang="en-US" sz="927" dirty="0">
                <a:solidFill>
                  <a:srgbClr val="435153"/>
                </a:solidFill>
                <a:latin typeface="メイリオ"/>
                <a:ea typeface="メイリオ"/>
                <a:cs typeface="メイリオ"/>
              </a:rPr>
              <a:t>Dual-radio wireless</a:t>
            </a:r>
          </a:p>
          <a:p>
            <a:endParaRPr lang="en-US" sz="927" dirty="0">
              <a:solidFill>
                <a:srgbClr val="435153"/>
              </a:solidFill>
              <a:latin typeface="メイリオ"/>
              <a:ea typeface="メイリオ"/>
              <a:cs typeface="メイリオ"/>
            </a:endParaRPr>
          </a:p>
          <a:p>
            <a:r>
              <a:rPr lang="en-US" sz="927" dirty="0">
                <a:solidFill>
                  <a:srgbClr val="435153"/>
                </a:solidFill>
                <a:latin typeface="メイリオ"/>
                <a:ea typeface="メイリオ"/>
                <a:cs typeface="メイリオ"/>
              </a:rPr>
              <a:t>FW </a:t>
            </a:r>
            <a:r>
              <a:rPr lang="ja-JP" altLang="en-US" sz="927" dirty="0" smtClean="0">
                <a:solidFill>
                  <a:srgbClr val="435153"/>
                </a:solidFill>
                <a:latin typeface="メイリオ"/>
                <a:ea typeface="メイリオ"/>
                <a:cs typeface="メイリオ"/>
              </a:rPr>
              <a:t>スループット</a:t>
            </a:r>
            <a:r>
              <a:rPr lang="en-US" sz="927" dirty="0" smtClean="0">
                <a:solidFill>
                  <a:srgbClr val="435153"/>
                </a:solidFill>
                <a:latin typeface="メイリオ"/>
                <a:ea typeface="メイリオ"/>
                <a:cs typeface="メイリオ"/>
              </a:rPr>
              <a:t>: </a:t>
            </a:r>
            <a:r>
              <a:rPr lang="en-US" sz="927" dirty="0">
                <a:solidFill>
                  <a:srgbClr val="435153"/>
                </a:solidFill>
                <a:latin typeface="メイリオ"/>
                <a:ea typeface="メイリオ"/>
                <a:cs typeface="メイリオ"/>
              </a:rPr>
              <a:t>50 Mbps</a:t>
            </a:r>
          </a:p>
        </p:txBody>
      </p:sp>
      <p:sp>
        <p:nvSpPr>
          <p:cNvPr id="53" name="TextBox 52"/>
          <p:cNvSpPr txBox="1"/>
          <p:nvPr/>
        </p:nvSpPr>
        <p:spPr>
          <a:xfrm>
            <a:off x="7272917" y="4210888"/>
            <a:ext cx="1687769" cy="234987"/>
          </a:xfrm>
          <a:prstGeom prst="rect">
            <a:avLst/>
          </a:prstGeom>
          <a:noFill/>
        </p:spPr>
        <p:txBody>
          <a:bodyPr wrap="none" rtlCol="0">
            <a:spAutoFit/>
          </a:bodyPr>
          <a:lstStyle/>
          <a:p>
            <a:r>
              <a:rPr lang="en-US" sz="927" dirty="0">
                <a:latin typeface="メイリオ"/>
                <a:ea typeface="メイリオ"/>
                <a:cs typeface="メイリオ"/>
              </a:rPr>
              <a:t>All devices support 3G/4G</a:t>
            </a:r>
          </a:p>
        </p:txBody>
      </p:sp>
      <p:pic>
        <p:nvPicPr>
          <p:cNvPr id="3" name="Picture 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82420" y="3046467"/>
            <a:ext cx="1290472" cy="252554"/>
          </a:xfrm>
          <a:prstGeom prst="rect">
            <a:avLst/>
          </a:prstGeom>
        </p:spPr>
      </p:pic>
      <p:pic>
        <p:nvPicPr>
          <p:cNvPr id="7" name="Picture 6" descr="400-front-top.psd"/>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41212" y="3614870"/>
            <a:ext cx="1630392" cy="340364"/>
          </a:xfrm>
          <a:prstGeom prst="rect">
            <a:avLst/>
          </a:prstGeom>
        </p:spPr>
      </p:pic>
      <p:pic>
        <p:nvPicPr>
          <p:cNvPr id="9" name="Picture 8" descr="600-front-top.psd"/>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92089" y="4205260"/>
            <a:ext cx="1705609" cy="475637"/>
          </a:xfrm>
          <a:prstGeom prst="rect">
            <a:avLst/>
          </a:prstGeom>
        </p:spPr>
      </p:pic>
      <p:pic>
        <p:nvPicPr>
          <p:cNvPr id="6" name="Picture 5" descr="mx64w.jpg"/>
          <p:cNvPicPr>
            <a:picLocks noChangeAspect="1"/>
          </p:cNvPicPr>
          <p:nvPr/>
        </p:nvPicPr>
        <p:blipFill rotWithShape="1">
          <a:blip r:embed="rId9" cstate="print">
            <a:extLst>
              <a:ext uri="{28A0092B-C50C-407E-A947-70E740481C1C}">
                <a14:useLocalDpi xmlns:a14="http://schemas.microsoft.com/office/drawing/2010/main" val="0"/>
              </a:ext>
            </a:extLst>
          </a:blip>
          <a:srcRect t="11110" r="7537" b="24415"/>
          <a:stretch/>
        </p:blipFill>
        <p:spPr>
          <a:xfrm>
            <a:off x="1030823" y="1038557"/>
            <a:ext cx="755493" cy="444971"/>
          </a:xfrm>
          <a:prstGeom prst="rect">
            <a:avLst/>
          </a:prstGeom>
        </p:spPr>
      </p:pic>
      <p:cxnSp>
        <p:nvCxnSpPr>
          <p:cNvPr id="55" name="Straight Connector 54"/>
          <p:cNvCxnSpPr/>
          <p:nvPr/>
        </p:nvCxnSpPr>
        <p:spPr>
          <a:xfrm flipV="1">
            <a:off x="692915" y="2378202"/>
            <a:ext cx="6580002" cy="15541"/>
          </a:xfrm>
          <a:prstGeom prst="line">
            <a:avLst/>
          </a:prstGeom>
          <a:ln w="12700" cmpd="sng">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1043545" y="2176712"/>
            <a:ext cx="830777" cy="234987"/>
          </a:xfrm>
          <a:prstGeom prst="rect">
            <a:avLst/>
          </a:prstGeom>
          <a:noFill/>
        </p:spPr>
        <p:txBody>
          <a:bodyPr wrap="none" rtlCol="0">
            <a:spAutoFit/>
          </a:bodyPr>
          <a:lstStyle/>
          <a:p>
            <a:r>
              <a:rPr lang="en-US" sz="927" dirty="0">
                <a:solidFill>
                  <a:srgbClr val="435153"/>
                </a:solidFill>
                <a:latin typeface="メイリオ"/>
                <a:ea typeface="メイリオ"/>
                <a:cs typeface="メイリオ"/>
              </a:rPr>
              <a:t>MX65/65W</a:t>
            </a:r>
          </a:p>
        </p:txBody>
      </p:sp>
      <p:sp>
        <p:nvSpPr>
          <p:cNvPr id="58" name="TextBox 57"/>
          <p:cNvSpPr txBox="1"/>
          <p:nvPr/>
        </p:nvSpPr>
        <p:spPr>
          <a:xfrm>
            <a:off x="2422928" y="1874836"/>
            <a:ext cx="1260339" cy="377642"/>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スモールブランチ</a:t>
            </a:r>
            <a:r>
              <a:rPr lang="en-US" sz="927" dirty="0" smtClean="0">
                <a:solidFill>
                  <a:srgbClr val="435153"/>
                </a:solidFill>
                <a:latin typeface="メイリオ"/>
                <a:ea typeface="メイリオ"/>
                <a:cs typeface="メイリオ"/>
              </a:rPr>
              <a:t>(</a:t>
            </a:r>
            <a:r>
              <a:rPr lang="en-US" sz="927" dirty="0">
                <a:solidFill>
                  <a:srgbClr val="435153"/>
                </a:solidFill>
                <a:latin typeface="メイリオ"/>
                <a:ea typeface="メイリオ"/>
                <a:cs typeface="メイリオ"/>
              </a:rPr>
              <a:t>~50 clients)</a:t>
            </a:r>
          </a:p>
        </p:txBody>
      </p:sp>
      <p:sp>
        <p:nvSpPr>
          <p:cNvPr id="59" name="TextBox 58"/>
          <p:cNvSpPr txBox="1"/>
          <p:nvPr/>
        </p:nvSpPr>
        <p:spPr>
          <a:xfrm>
            <a:off x="3530182" y="1934633"/>
            <a:ext cx="1638743" cy="377642"/>
          </a:xfrm>
          <a:prstGeom prst="rect">
            <a:avLst/>
          </a:prstGeom>
          <a:noFill/>
        </p:spPr>
        <p:txBody>
          <a:bodyPr wrap="square" rtlCol="0">
            <a:spAutoFit/>
          </a:bodyPr>
          <a:lstStyle/>
          <a:p>
            <a:r>
              <a:rPr lang="en-US" sz="927" dirty="0" err="1">
                <a:solidFill>
                  <a:srgbClr val="435153"/>
                </a:solidFill>
                <a:latin typeface="メイリオ"/>
                <a:ea typeface="メイリオ"/>
                <a:cs typeface="メイリオ"/>
              </a:rPr>
              <a:t>PoE</a:t>
            </a:r>
            <a:r>
              <a:rPr lang="en-US" sz="927" dirty="0">
                <a:solidFill>
                  <a:srgbClr val="435153"/>
                </a:solidFill>
                <a:latin typeface="メイリオ"/>
                <a:ea typeface="メイリオ"/>
                <a:cs typeface="メイリオ"/>
              </a:rPr>
              <a:t>+, dual WAN, 802.11ac</a:t>
            </a:r>
          </a:p>
        </p:txBody>
      </p:sp>
      <p:sp>
        <p:nvSpPr>
          <p:cNvPr id="60" name="TextBox 59"/>
          <p:cNvSpPr txBox="1"/>
          <p:nvPr/>
        </p:nvSpPr>
        <p:spPr>
          <a:xfrm>
            <a:off x="5143691" y="1926995"/>
            <a:ext cx="1215310" cy="377642"/>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250 Mbps (FW)</a:t>
            </a:r>
          </a:p>
          <a:p>
            <a:r>
              <a:rPr lang="en-US" sz="927" dirty="0">
                <a:solidFill>
                  <a:srgbClr val="435153"/>
                </a:solidFill>
                <a:latin typeface="メイリオ"/>
                <a:ea typeface="メイリオ"/>
                <a:cs typeface="メイリオ"/>
              </a:rPr>
              <a:t>200 Mbps (UTM)</a:t>
            </a:r>
          </a:p>
        </p:txBody>
      </p:sp>
      <p:sp>
        <p:nvSpPr>
          <p:cNvPr id="61" name="Title 1"/>
          <p:cNvSpPr>
            <a:spLocks noGrp="1"/>
          </p:cNvSpPr>
          <p:nvPr>
            <p:ph type="title"/>
          </p:nvPr>
        </p:nvSpPr>
        <p:spPr>
          <a:xfrm>
            <a:off x="230835" y="226314"/>
            <a:ext cx="8578688" cy="603504"/>
          </a:xfrm>
        </p:spPr>
        <p:txBody>
          <a:bodyPr/>
          <a:lstStyle/>
          <a:p>
            <a:r>
              <a:rPr lang="en-US" dirty="0" smtClean="0">
                <a:solidFill>
                  <a:srgbClr val="2968AF"/>
                </a:solidFill>
                <a:latin typeface="メイリオ"/>
                <a:ea typeface="メイリオ"/>
                <a:cs typeface="メイリオ"/>
              </a:rPr>
              <a:t>The 2016 MX </a:t>
            </a:r>
            <a:r>
              <a:rPr lang="ja-JP" altLang="en-US" dirty="0" smtClean="0">
                <a:solidFill>
                  <a:srgbClr val="2968AF"/>
                </a:solidFill>
                <a:latin typeface="メイリオ"/>
                <a:ea typeface="メイリオ"/>
                <a:cs typeface="メイリオ"/>
              </a:rPr>
              <a:t>ファミリー</a:t>
            </a:r>
            <a:endParaRPr lang="en-US" dirty="0">
              <a:solidFill>
                <a:srgbClr val="2968AF"/>
              </a:solidFill>
              <a:latin typeface="メイリオ"/>
              <a:ea typeface="メイリオ"/>
              <a:cs typeface="メイリオ"/>
            </a:endParaRPr>
          </a:p>
        </p:txBody>
      </p:sp>
      <p:sp>
        <p:nvSpPr>
          <p:cNvPr id="63" name="TextBox 62"/>
          <p:cNvSpPr txBox="1"/>
          <p:nvPr/>
        </p:nvSpPr>
        <p:spPr>
          <a:xfrm>
            <a:off x="6252139" y="1001971"/>
            <a:ext cx="1444751" cy="307777"/>
          </a:xfrm>
          <a:prstGeom prst="rect">
            <a:avLst/>
          </a:prstGeom>
          <a:noFill/>
        </p:spPr>
        <p:txBody>
          <a:bodyPr wrap="none" rtlCol="0">
            <a:spAutoFit/>
          </a:bodyPr>
          <a:lstStyle/>
          <a:p>
            <a:r>
              <a:rPr lang="ja-JP" altLang="en-US" sz="1400" dirty="0" smtClean="0">
                <a:solidFill>
                  <a:srgbClr val="435153"/>
                </a:solidFill>
                <a:latin typeface="メイリオ"/>
                <a:ea typeface="メイリオ"/>
                <a:cs typeface="メイリオ"/>
              </a:rPr>
              <a:t>値段</a:t>
            </a:r>
            <a:r>
              <a:rPr lang="en-US" sz="1400" dirty="0" smtClean="0">
                <a:solidFill>
                  <a:srgbClr val="435153"/>
                </a:solidFill>
                <a:latin typeface="メイリオ"/>
                <a:ea typeface="メイリオ"/>
                <a:cs typeface="メイリオ"/>
              </a:rPr>
              <a:t>(</a:t>
            </a:r>
            <a:r>
              <a:rPr lang="en-US" sz="1400" dirty="0">
                <a:solidFill>
                  <a:srgbClr val="435153"/>
                </a:solidFill>
                <a:latin typeface="メイリオ"/>
                <a:ea typeface="メイリオ"/>
                <a:cs typeface="メイリオ"/>
              </a:rPr>
              <a:t>USD List)</a:t>
            </a:r>
          </a:p>
        </p:txBody>
      </p:sp>
      <p:sp>
        <p:nvSpPr>
          <p:cNvPr id="64" name="TextBox 63"/>
          <p:cNvSpPr txBox="1"/>
          <p:nvPr/>
        </p:nvSpPr>
        <p:spPr>
          <a:xfrm>
            <a:off x="6432394" y="1362927"/>
            <a:ext cx="1029674"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595/$945</a:t>
            </a:r>
          </a:p>
        </p:txBody>
      </p:sp>
      <p:sp>
        <p:nvSpPr>
          <p:cNvPr id="65" name="TextBox 64"/>
          <p:cNvSpPr txBox="1"/>
          <p:nvPr/>
        </p:nvSpPr>
        <p:spPr>
          <a:xfrm>
            <a:off x="6454892" y="2466972"/>
            <a:ext cx="1029674"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1,995</a:t>
            </a:r>
          </a:p>
        </p:txBody>
      </p:sp>
      <p:sp>
        <p:nvSpPr>
          <p:cNvPr id="66" name="TextBox 65"/>
          <p:cNvSpPr txBox="1"/>
          <p:nvPr/>
        </p:nvSpPr>
        <p:spPr>
          <a:xfrm>
            <a:off x="6454892" y="3096569"/>
            <a:ext cx="1029674"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4,995</a:t>
            </a:r>
          </a:p>
        </p:txBody>
      </p:sp>
      <p:sp>
        <p:nvSpPr>
          <p:cNvPr id="67" name="TextBox 66"/>
          <p:cNvSpPr txBox="1"/>
          <p:nvPr/>
        </p:nvSpPr>
        <p:spPr>
          <a:xfrm>
            <a:off x="6460926" y="3719097"/>
            <a:ext cx="717640"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15,995</a:t>
            </a:r>
          </a:p>
        </p:txBody>
      </p:sp>
      <p:sp>
        <p:nvSpPr>
          <p:cNvPr id="68" name="TextBox 67"/>
          <p:cNvSpPr txBox="1"/>
          <p:nvPr/>
        </p:nvSpPr>
        <p:spPr>
          <a:xfrm>
            <a:off x="6464041" y="4378842"/>
            <a:ext cx="1029674"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31,995</a:t>
            </a:r>
          </a:p>
        </p:txBody>
      </p:sp>
      <p:sp>
        <p:nvSpPr>
          <p:cNvPr id="69" name="TextBox 68"/>
          <p:cNvSpPr txBox="1"/>
          <p:nvPr/>
        </p:nvSpPr>
        <p:spPr>
          <a:xfrm>
            <a:off x="6470309" y="1928164"/>
            <a:ext cx="1029674" cy="235001"/>
          </a:xfrm>
          <a:prstGeom prst="rect">
            <a:avLst/>
          </a:prstGeom>
          <a:noFill/>
        </p:spPr>
        <p:txBody>
          <a:bodyPr wrap="square" rtlCol="0">
            <a:spAutoFit/>
          </a:bodyPr>
          <a:lstStyle/>
          <a:p>
            <a:r>
              <a:rPr lang="en-US" sz="927" dirty="0">
                <a:solidFill>
                  <a:srgbClr val="435153"/>
                </a:solidFill>
                <a:latin typeface="メイリオ"/>
                <a:ea typeface="メイリオ"/>
                <a:cs typeface="メイリオ"/>
              </a:rPr>
              <a:t>$945/$1,245</a:t>
            </a:r>
          </a:p>
        </p:txBody>
      </p:sp>
      <p:sp>
        <p:nvSpPr>
          <p:cNvPr id="2" name="TextBox 1"/>
          <p:cNvSpPr txBox="1"/>
          <p:nvPr/>
        </p:nvSpPr>
        <p:spPr>
          <a:xfrm>
            <a:off x="5472213" y="432284"/>
            <a:ext cx="3363952" cy="369332"/>
          </a:xfrm>
          <a:prstGeom prst="rect">
            <a:avLst/>
          </a:prstGeom>
          <a:noFill/>
        </p:spPr>
        <p:txBody>
          <a:bodyPr wrap="square" rtlCol="0">
            <a:spAutoFit/>
          </a:bodyPr>
          <a:lstStyle/>
          <a:p>
            <a:r>
              <a:rPr lang="en-US" dirty="0" smtClean="0">
                <a:latin typeface="メイリオ"/>
                <a:ea typeface="メイリオ"/>
                <a:cs typeface="メイリオ"/>
              </a:rPr>
              <a:t>UTM = all features enabled</a:t>
            </a:r>
            <a:endParaRPr lang="en-US" dirty="0">
              <a:latin typeface="メイリオ"/>
              <a:ea typeface="メイリオ"/>
              <a:cs typeface="メイリオ"/>
            </a:endParaRPr>
          </a:p>
        </p:txBody>
      </p:sp>
      <p:sp>
        <p:nvSpPr>
          <p:cNvPr id="54" name="TextBox 49"/>
          <p:cNvSpPr txBox="1"/>
          <p:nvPr/>
        </p:nvSpPr>
        <p:spPr>
          <a:xfrm>
            <a:off x="3546543" y="4148024"/>
            <a:ext cx="1736279" cy="662950"/>
          </a:xfrm>
          <a:prstGeom prst="rect">
            <a:avLst/>
          </a:prstGeom>
          <a:noFill/>
        </p:spPr>
        <p:txBody>
          <a:bodyPr wrap="square" rtlCol="0">
            <a:spAutoFit/>
          </a:bodyPr>
          <a:lstStyle/>
          <a:p>
            <a:r>
              <a:rPr lang="ja-JP" altLang="en-US" sz="927" dirty="0" smtClean="0">
                <a:solidFill>
                  <a:srgbClr val="435153"/>
                </a:solidFill>
                <a:latin typeface="メイリオ"/>
                <a:ea typeface="メイリオ"/>
                <a:cs typeface="メイリオ"/>
              </a:rPr>
              <a:t>電源冗長</a:t>
            </a:r>
            <a:endParaRPr lang="en-US" altLang="ja-JP" sz="927" dirty="0" smtClean="0">
              <a:solidFill>
                <a:srgbClr val="435153"/>
              </a:solidFill>
              <a:latin typeface="メイリオ"/>
              <a:ea typeface="メイリオ"/>
              <a:cs typeface="メイリオ"/>
            </a:endParaRPr>
          </a:p>
          <a:p>
            <a:r>
              <a:rPr lang="ja-JP" altLang="en-US" sz="927" dirty="0" smtClean="0">
                <a:solidFill>
                  <a:srgbClr val="435153"/>
                </a:solidFill>
                <a:latin typeface="メイリオ"/>
                <a:ea typeface="メイリオ"/>
                <a:cs typeface="メイリオ"/>
              </a:rPr>
              <a:t>モジュラー</a:t>
            </a:r>
            <a:r>
              <a:rPr lang="en-US" altLang="ja-JP" sz="927" dirty="0" smtClean="0">
                <a:solidFill>
                  <a:srgbClr val="435153"/>
                </a:solidFill>
                <a:latin typeface="メイリオ"/>
                <a:ea typeface="メイリオ"/>
                <a:cs typeface="メイリオ"/>
              </a:rPr>
              <a:t>IF</a:t>
            </a:r>
          </a:p>
          <a:p>
            <a:r>
              <a:rPr lang="en-US" sz="927" dirty="0" smtClean="0">
                <a:solidFill>
                  <a:srgbClr val="435153"/>
                </a:solidFill>
                <a:latin typeface="メイリオ"/>
                <a:ea typeface="メイリオ"/>
                <a:cs typeface="メイリオ"/>
              </a:rPr>
              <a:t>SFP </a:t>
            </a:r>
            <a:r>
              <a:rPr lang="en-US" sz="927" dirty="0">
                <a:solidFill>
                  <a:srgbClr val="435153"/>
                </a:solidFill>
                <a:latin typeface="メイリオ"/>
                <a:ea typeface="メイリオ"/>
                <a:cs typeface="メイリオ"/>
              </a:rPr>
              <a:t>or SFP+ (with modules)</a:t>
            </a:r>
          </a:p>
        </p:txBody>
      </p:sp>
    </p:spTree>
    <p:extLst>
      <p:ext uri="{BB962C8B-B14F-4D97-AF65-F5344CB8AC3E}">
        <p14:creationId xmlns:p14="http://schemas.microsoft.com/office/powerpoint/2010/main" val="3694774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ja-JP" altLang="en-US" sz="4500" dirty="0" smtClean="0"/>
              <a:t>ロードマップ、その他</a:t>
            </a:r>
            <a:r>
              <a:rPr lang="en-US" sz="4500" dirty="0" smtClean="0"/>
              <a:t>..</a:t>
            </a:r>
            <a:endParaRPr lang="en-US" sz="4500" dirty="0"/>
          </a:p>
        </p:txBody>
      </p:sp>
    </p:spTree>
    <p:extLst>
      <p:ext uri="{BB962C8B-B14F-4D97-AF65-F5344CB8AC3E}">
        <p14:creationId xmlns:p14="http://schemas.microsoft.com/office/powerpoint/2010/main" val="283956427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solidFill>
                  <a:srgbClr val="214794"/>
                </a:solidFill>
                <a:latin typeface="メイリオ"/>
                <a:ea typeface="メイリオ"/>
                <a:cs typeface="メイリオ"/>
              </a:rPr>
              <a:t>今後の予定</a:t>
            </a:r>
            <a:endParaRPr lang="en-US" dirty="0">
              <a:solidFill>
                <a:srgbClr val="214794"/>
              </a:solidFill>
              <a:latin typeface="メイリオ"/>
              <a:ea typeface="メイリオ"/>
              <a:cs typeface="メイリオ"/>
            </a:endParaRPr>
          </a:p>
        </p:txBody>
      </p:sp>
      <p:sp>
        <p:nvSpPr>
          <p:cNvPr id="3" name="Text Placeholder 2"/>
          <p:cNvSpPr>
            <a:spLocks noGrp="1"/>
          </p:cNvSpPr>
          <p:nvPr>
            <p:ph type="body" sz="quarter" idx="10"/>
          </p:nvPr>
        </p:nvSpPr>
        <p:spPr>
          <a:xfrm>
            <a:off x="234362" y="843480"/>
            <a:ext cx="8231292" cy="3722924"/>
          </a:xfrm>
        </p:spPr>
        <p:txBody>
          <a:bodyPr/>
          <a:lstStyle/>
          <a:p>
            <a:r>
              <a:rPr lang="en-US" altLang="ja-JP" sz="1800" dirty="0" smtClean="0">
                <a:latin typeface="メイリオ"/>
                <a:ea typeface="メイリオ"/>
                <a:cs typeface="メイリオ"/>
              </a:rPr>
              <a:t>AMP </a:t>
            </a:r>
            <a:r>
              <a:rPr lang="ja-JP" altLang="en-US" sz="1800" dirty="0" smtClean="0">
                <a:latin typeface="メイリオ"/>
                <a:ea typeface="メイリオ"/>
                <a:cs typeface="メイリオ"/>
              </a:rPr>
              <a:t>インテグレーション</a:t>
            </a:r>
            <a:r>
              <a:rPr lang="en-US" altLang="ja-JP" sz="1800" dirty="0" smtClean="0">
                <a:latin typeface="メイリオ"/>
                <a:ea typeface="メイリオ"/>
                <a:cs typeface="メイリオ"/>
              </a:rPr>
              <a:t>(</a:t>
            </a:r>
            <a:r>
              <a:rPr lang="ja-JP" altLang="en-US" sz="1800" dirty="0" smtClean="0">
                <a:latin typeface="メイリオ"/>
                <a:ea typeface="メイリオ"/>
                <a:cs typeface="メイリオ"/>
              </a:rPr>
              <a:t>ベータ</a:t>
            </a:r>
            <a:r>
              <a:rPr lang="en-US" altLang="ja-JP" sz="1800" dirty="0" smtClean="0">
                <a:latin typeface="メイリオ"/>
                <a:ea typeface="メイリオ"/>
                <a:cs typeface="メイリオ"/>
              </a:rPr>
              <a:t>)</a:t>
            </a:r>
            <a:endParaRPr lang="en-US" altLang="ja-JP" sz="1800" dirty="0" smtClean="0">
              <a:latin typeface="メイリオ"/>
              <a:ea typeface="メイリオ"/>
              <a:cs typeface="メイリオ"/>
            </a:endParaRPr>
          </a:p>
          <a:p>
            <a:r>
              <a:rPr lang="en-US" altLang="ja-JP" sz="1800" dirty="0" err="1" smtClean="0">
                <a:solidFill>
                  <a:schemeClr val="tx1"/>
                </a:solidFill>
                <a:latin typeface="メイリオ"/>
                <a:ea typeface="メイリオ"/>
                <a:cs typeface="メイリオ"/>
              </a:rPr>
              <a:t>ThreatGrid</a:t>
            </a:r>
            <a:r>
              <a:rPr lang="en-US" altLang="ja-JP" sz="1800" dirty="0" smtClean="0">
                <a:solidFill>
                  <a:schemeClr val="tx1"/>
                </a:solidFill>
                <a:latin typeface="メイリオ"/>
                <a:ea typeface="メイリオ"/>
                <a:cs typeface="メイリオ"/>
              </a:rPr>
              <a:t> </a:t>
            </a:r>
            <a:r>
              <a:rPr lang="ja-JP" altLang="en-US" sz="1800" dirty="0" smtClean="0">
                <a:solidFill>
                  <a:schemeClr val="tx1"/>
                </a:solidFill>
                <a:latin typeface="メイリオ"/>
                <a:ea typeface="メイリオ"/>
                <a:cs typeface="メイリオ"/>
              </a:rPr>
              <a:t>インテグレーション</a:t>
            </a:r>
            <a:r>
              <a:rPr lang="en-US" dirty="0" smtClean="0">
                <a:solidFill>
                  <a:schemeClr val="tx1"/>
                </a:solidFill>
                <a:latin typeface="メイリオ"/>
                <a:ea typeface="メイリオ"/>
                <a:cs typeface="メイリオ"/>
              </a:rPr>
              <a:t> </a:t>
            </a:r>
            <a:r>
              <a:rPr lang="en-US" dirty="0" smtClean="0">
                <a:solidFill>
                  <a:schemeClr val="tx1"/>
                </a:solidFill>
                <a:latin typeface="メイリオ"/>
                <a:ea typeface="メイリオ"/>
                <a:cs typeface="メイリオ"/>
              </a:rPr>
              <a:t>(FY2017</a:t>
            </a:r>
            <a:r>
              <a:rPr lang="ja-JP" altLang="en-US" dirty="0">
                <a:solidFill>
                  <a:schemeClr val="tx1"/>
                </a:solidFill>
                <a:latin typeface="メイリオ"/>
                <a:ea typeface="メイリオ"/>
                <a:cs typeface="メイリオ"/>
              </a:rPr>
              <a:t> </a:t>
            </a:r>
            <a:r>
              <a:rPr lang="en-US" altLang="ja-JP" dirty="0" smtClean="0">
                <a:solidFill>
                  <a:schemeClr val="tx1"/>
                </a:solidFill>
                <a:latin typeface="メイリオ"/>
                <a:ea typeface="メイリオ"/>
                <a:cs typeface="メイリオ"/>
              </a:rPr>
              <a:t>Q1</a:t>
            </a:r>
            <a:r>
              <a:rPr lang="ja-JP" altLang="en-US" dirty="0" smtClean="0">
                <a:solidFill>
                  <a:schemeClr val="tx1"/>
                </a:solidFill>
                <a:latin typeface="メイリオ"/>
                <a:ea typeface="メイリオ"/>
                <a:cs typeface="メイリオ"/>
              </a:rPr>
              <a:t> 予定</a:t>
            </a:r>
            <a:r>
              <a:rPr lang="en-US" dirty="0" smtClean="0">
                <a:solidFill>
                  <a:schemeClr val="tx1"/>
                </a:solidFill>
                <a:latin typeface="メイリオ"/>
                <a:ea typeface="メイリオ"/>
                <a:cs typeface="メイリオ"/>
              </a:rPr>
              <a:t>)</a:t>
            </a:r>
            <a:endParaRPr lang="en-US" dirty="0" smtClean="0">
              <a:solidFill>
                <a:schemeClr val="tx1"/>
              </a:solidFill>
              <a:latin typeface="メイリオ"/>
              <a:ea typeface="メイリオ"/>
              <a:cs typeface="メイリオ"/>
            </a:endParaRPr>
          </a:p>
          <a:p>
            <a:pPr marL="0" indent="0">
              <a:buNone/>
            </a:pPr>
            <a:endParaRPr lang="en-US" dirty="0" smtClean="0">
              <a:solidFill>
                <a:schemeClr val="tx1"/>
              </a:solidFill>
              <a:latin typeface="メイリオ"/>
              <a:ea typeface="メイリオ"/>
              <a:cs typeface="メイリオ"/>
            </a:endParaRPr>
          </a:p>
        </p:txBody>
      </p:sp>
    </p:spTree>
    <p:extLst>
      <p:ext uri="{BB962C8B-B14F-4D97-AF65-F5344CB8AC3E}">
        <p14:creationId xmlns:p14="http://schemas.microsoft.com/office/powerpoint/2010/main" val="2567268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349311" y="1481058"/>
            <a:ext cx="4433943" cy="2766937"/>
          </a:xfrm>
        </p:spPr>
        <p:txBody>
          <a:bodyPr/>
          <a:lstStyle/>
          <a:p>
            <a:pPr marL="0" indent="0" algn="l"/>
            <a:r>
              <a:rPr lang="en-US" sz="1800" dirty="0" smtClean="0">
                <a:latin typeface="メイリオ"/>
                <a:ea typeface="メイリオ"/>
                <a:cs typeface="メイリオ"/>
              </a:rPr>
              <a:t>Cisco Defense Orchestrator</a:t>
            </a:r>
          </a:p>
          <a:p>
            <a:pPr marL="457200" indent="-457200" algn="l">
              <a:buFont typeface="+mj-lt"/>
              <a:buAutoNum type="arabicPeriod"/>
            </a:pPr>
            <a:r>
              <a:rPr lang="en-US" sz="1800" dirty="0" smtClean="0">
                <a:latin typeface="メイリオ"/>
                <a:ea typeface="メイリオ"/>
                <a:cs typeface="メイリオ"/>
              </a:rPr>
              <a:t>Cisco Defense Orchestrator </a:t>
            </a:r>
            <a:r>
              <a:rPr lang="ja-JP" altLang="en-US" sz="1800" dirty="0" smtClean="0">
                <a:latin typeface="メイリオ"/>
                <a:ea typeface="メイリオ"/>
                <a:cs typeface="メイリオ"/>
              </a:rPr>
              <a:t>とは</a:t>
            </a:r>
            <a:endParaRPr lang="en-US" sz="1800" dirty="0" smtClean="0">
              <a:latin typeface="メイリオ"/>
              <a:ea typeface="メイリオ"/>
              <a:cs typeface="メイリオ"/>
            </a:endParaRPr>
          </a:p>
          <a:p>
            <a:pPr marL="457200" indent="-457200" algn="l">
              <a:buFont typeface="+mj-lt"/>
              <a:buAutoNum type="arabicPeriod"/>
            </a:pPr>
            <a:r>
              <a:rPr lang="en-US" sz="1800" dirty="0" smtClean="0">
                <a:latin typeface="メイリオ"/>
                <a:ea typeface="メイリオ"/>
                <a:cs typeface="メイリオ"/>
              </a:rPr>
              <a:t>CDO </a:t>
            </a:r>
            <a:r>
              <a:rPr lang="ja-JP" altLang="en-US" sz="1800" dirty="0" smtClean="0">
                <a:latin typeface="メイリオ"/>
                <a:ea typeface="メイリオ"/>
                <a:cs typeface="メイリオ"/>
              </a:rPr>
              <a:t>機能概要</a:t>
            </a:r>
            <a:endParaRPr lang="en-US" sz="1800" dirty="0">
              <a:latin typeface="メイリオ"/>
              <a:ea typeface="メイリオ"/>
              <a:cs typeface="メイリオ"/>
            </a:endParaRPr>
          </a:p>
          <a:p>
            <a:pPr marL="457200" indent="-457200" algn="l">
              <a:buFont typeface="+mj-lt"/>
              <a:buAutoNum type="arabicPeriod"/>
            </a:pPr>
            <a:r>
              <a:rPr lang="ja-JP" altLang="en-US" sz="1800" dirty="0" smtClean="0">
                <a:latin typeface="メイリオ"/>
                <a:ea typeface="メイリオ"/>
                <a:cs typeface="メイリオ"/>
              </a:rPr>
              <a:t>デモ</a:t>
            </a:r>
            <a:endParaRPr lang="en-US" altLang="ja-JP" sz="1800" dirty="0" smtClean="0">
              <a:latin typeface="メイリオ"/>
              <a:ea typeface="メイリオ"/>
              <a:cs typeface="メイリオ"/>
            </a:endParaRPr>
          </a:p>
          <a:p>
            <a:pPr marL="457200" indent="-457200" algn="l">
              <a:buFont typeface="+mj-lt"/>
              <a:buAutoNum type="arabicPeriod"/>
            </a:pPr>
            <a:r>
              <a:rPr lang="en-US" altLang="ja-JP" sz="1800" dirty="0">
                <a:latin typeface="メイリオ"/>
                <a:ea typeface="メイリオ"/>
                <a:cs typeface="メイリオ"/>
              </a:rPr>
              <a:t>ロードマップ、他</a:t>
            </a:r>
          </a:p>
          <a:p>
            <a:pPr marL="457200" indent="-457200" algn="l">
              <a:buFont typeface="+mj-lt"/>
              <a:buAutoNum type="arabicPeriod"/>
            </a:pPr>
            <a:endParaRPr lang="en-US" sz="1800" dirty="0" smtClean="0">
              <a:latin typeface="メイリオ"/>
              <a:ea typeface="メイリオ"/>
              <a:cs typeface="メイリオ"/>
            </a:endParaRPr>
          </a:p>
          <a:p>
            <a:pPr marL="457200" indent="-457200" algn="l">
              <a:buFont typeface="+mj-lt"/>
              <a:buAutoNum type="arabicPeriod"/>
            </a:pPr>
            <a:endParaRPr lang="en-US" sz="2400" dirty="0" smtClean="0">
              <a:latin typeface="メイリオ"/>
              <a:ea typeface="メイリオ"/>
              <a:cs typeface="メイリオ"/>
            </a:endParaRPr>
          </a:p>
          <a:p>
            <a:pPr marL="457200" indent="-457200" algn="l">
              <a:buFont typeface="+mj-lt"/>
              <a:buAutoNum type="arabicPeriod"/>
            </a:pPr>
            <a:endParaRPr lang="en-US" sz="2400" dirty="0">
              <a:latin typeface="メイリオ"/>
              <a:ea typeface="メイリオ"/>
              <a:cs typeface="メイリオ"/>
            </a:endParaRPr>
          </a:p>
        </p:txBody>
      </p:sp>
      <p:sp>
        <p:nvSpPr>
          <p:cNvPr id="3" name="Title 2"/>
          <p:cNvSpPr>
            <a:spLocks noGrp="1"/>
          </p:cNvSpPr>
          <p:nvPr>
            <p:ph type="title"/>
          </p:nvPr>
        </p:nvSpPr>
        <p:spPr/>
        <p:txBody>
          <a:bodyPr/>
          <a:lstStyle/>
          <a:p>
            <a:r>
              <a:rPr lang="en-US" dirty="0" smtClean="0">
                <a:latin typeface="メイリオ"/>
                <a:ea typeface="メイリオ"/>
                <a:cs typeface="メイリオ"/>
              </a:rPr>
              <a:t>アジェンダ</a:t>
            </a:r>
            <a:endParaRPr lang="en-US" dirty="0">
              <a:latin typeface="メイリオ"/>
              <a:ea typeface="メイリオ"/>
              <a:cs typeface="メイリオ"/>
            </a:endParaRPr>
          </a:p>
        </p:txBody>
      </p:sp>
      <p:pic>
        <p:nvPicPr>
          <p:cNvPr id="6" name="Picture 5"/>
          <p:cNvPicPr>
            <a:picLocks noChangeAspect="1"/>
          </p:cNvPicPr>
          <p:nvPr/>
        </p:nvPicPr>
        <p:blipFill>
          <a:blip r:embed="rId3"/>
          <a:stretch>
            <a:fillRect/>
          </a:stretch>
        </p:blipFill>
        <p:spPr>
          <a:xfrm>
            <a:off x="7456957" y="136125"/>
            <a:ext cx="1571638" cy="1329848"/>
          </a:xfrm>
          <a:prstGeom prst="rect">
            <a:avLst/>
          </a:prstGeom>
        </p:spPr>
      </p:pic>
      <p:sp>
        <p:nvSpPr>
          <p:cNvPr id="5" name="Content Placeholder 1"/>
          <p:cNvSpPr txBox="1">
            <a:spLocks/>
          </p:cNvSpPr>
          <p:nvPr/>
        </p:nvSpPr>
        <p:spPr>
          <a:xfrm>
            <a:off x="220822" y="1465973"/>
            <a:ext cx="4088110" cy="2766937"/>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lang="en-US" sz="20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l"/>
            <a:r>
              <a:rPr lang="en-US" sz="1800" dirty="0" err="1" smtClean="0">
                <a:latin typeface="メイリオ"/>
                <a:ea typeface="メイリオ"/>
                <a:cs typeface="メイリオ"/>
              </a:rPr>
              <a:t>Meraki</a:t>
            </a:r>
            <a:r>
              <a:rPr lang="en-US" sz="1800" dirty="0" smtClean="0">
                <a:latin typeface="メイリオ"/>
                <a:ea typeface="メイリオ"/>
                <a:cs typeface="メイリオ"/>
              </a:rPr>
              <a:t> MX Update</a:t>
            </a:r>
          </a:p>
          <a:p>
            <a:pPr marL="0" indent="0" algn="l"/>
            <a:r>
              <a:rPr lang="en-US" altLang="ja-JP" sz="1800" dirty="0" smtClean="0">
                <a:latin typeface="メイリオ"/>
                <a:ea typeface="メイリオ"/>
                <a:cs typeface="メイリオ"/>
              </a:rPr>
              <a:t>0.	</a:t>
            </a:r>
            <a:r>
              <a:rPr lang="ja-JP" altLang="en-US" sz="1800" dirty="0" smtClean="0">
                <a:latin typeface="メイリオ"/>
                <a:ea typeface="メイリオ"/>
                <a:cs typeface="メイリオ"/>
              </a:rPr>
              <a:t>概要</a:t>
            </a:r>
            <a:endParaRPr lang="en-US" sz="1800" dirty="0" smtClean="0">
              <a:latin typeface="メイリオ"/>
              <a:ea typeface="メイリオ"/>
              <a:cs typeface="メイリオ"/>
            </a:endParaRPr>
          </a:p>
          <a:p>
            <a:pPr marL="457200" indent="-457200" algn="l">
              <a:buFont typeface="+mj-lt"/>
              <a:buAutoNum type="arabicPeriod"/>
            </a:pPr>
            <a:r>
              <a:rPr lang="en-US" sz="1800" dirty="0" err="1" smtClean="0">
                <a:latin typeface="メイリオ"/>
                <a:ea typeface="メイリオ"/>
                <a:cs typeface="メイリオ"/>
              </a:rPr>
              <a:t>Meraki</a:t>
            </a:r>
            <a:r>
              <a:rPr lang="en-US" sz="1800" dirty="0" smtClean="0">
                <a:latin typeface="メイリオ"/>
                <a:ea typeface="メイリオ"/>
                <a:cs typeface="メイリオ"/>
              </a:rPr>
              <a:t> MX Update</a:t>
            </a:r>
          </a:p>
          <a:p>
            <a:pPr marL="530285" lvl="1" indent="-457200"/>
            <a:r>
              <a:rPr lang="en-US" sz="1200" dirty="0" smtClean="0">
                <a:latin typeface="メイリオ"/>
                <a:ea typeface="メイリオ"/>
                <a:cs typeface="メイリオ"/>
              </a:rPr>
              <a:t>IWAN</a:t>
            </a:r>
          </a:p>
          <a:p>
            <a:pPr marL="530285" lvl="1" indent="-457200"/>
            <a:r>
              <a:rPr lang="en-US" sz="1200" dirty="0" smtClean="0">
                <a:latin typeface="メイリオ"/>
                <a:ea typeface="メイリオ"/>
                <a:cs typeface="メイリオ"/>
              </a:rPr>
              <a:t>MX65 / MX65W</a:t>
            </a:r>
          </a:p>
          <a:p>
            <a:pPr marL="530285" lvl="1" indent="-457200"/>
            <a:r>
              <a:rPr lang="en-US" sz="1200" dirty="0" smtClean="0">
                <a:latin typeface="メイリオ"/>
                <a:ea typeface="メイリオ"/>
                <a:cs typeface="メイリオ"/>
              </a:rPr>
              <a:t>AMP</a:t>
            </a:r>
            <a:endParaRPr lang="en-US" sz="1200" dirty="0" smtClean="0">
              <a:latin typeface="メイリオ"/>
              <a:ea typeface="メイリオ"/>
              <a:cs typeface="メイリオ"/>
            </a:endParaRPr>
          </a:p>
          <a:p>
            <a:pPr marL="457200" indent="-457200" algn="l">
              <a:buFont typeface="+mj-lt"/>
              <a:buAutoNum type="arabicPeriod"/>
            </a:pPr>
            <a:r>
              <a:rPr lang="en-US" sz="1800" dirty="0" smtClean="0">
                <a:latin typeface="メイリオ"/>
                <a:ea typeface="メイリオ"/>
                <a:cs typeface="メイリオ"/>
              </a:rPr>
              <a:t>ロード</a:t>
            </a:r>
            <a:r>
              <a:rPr lang="en-US" sz="1800" dirty="0" smtClean="0">
                <a:latin typeface="メイリオ"/>
                <a:ea typeface="メイリオ"/>
                <a:cs typeface="メイリオ"/>
              </a:rPr>
              <a:t>マップ、他</a:t>
            </a:r>
          </a:p>
          <a:p>
            <a:pPr marL="0" indent="0" algn="l"/>
            <a:endParaRPr lang="en-US" sz="2400" dirty="0" smtClean="0">
              <a:latin typeface="メイリオ"/>
              <a:ea typeface="メイリオ"/>
              <a:cs typeface="メイリオ"/>
            </a:endParaRPr>
          </a:p>
          <a:p>
            <a:pPr marL="457200" indent="-457200" algn="l">
              <a:buFont typeface="+mj-lt"/>
              <a:buAutoNum type="arabicPeriod"/>
            </a:pPr>
            <a:endParaRPr lang="en-US" sz="2400" dirty="0">
              <a:latin typeface="メイリオ"/>
              <a:ea typeface="メイリオ"/>
              <a:cs typeface="メイリオ"/>
            </a:endParaRPr>
          </a:p>
        </p:txBody>
      </p:sp>
    </p:spTree>
    <p:extLst>
      <p:ext uri="{BB962C8B-B14F-4D97-AF65-F5344CB8AC3E}">
        <p14:creationId xmlns:p14="http://schemas.microsoft.com/office/powerpoint/2010/main" val="130882977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x-mr-cisco-centered.jpg"/>
          <p:cNvPicPr>
            <a:picLocks noChangeAspect="1"/>
          </p:cNvPicPr>
          <p:nvPr/>
        </p:nvPicPr>
        <p:blipFill rotWithShape="1">
          <a:blip r:embed="rId3" cstate="print">
            <a:extLst>
              <a:ext uri="{28A0092B-C50C-407E-A947-70E740481C1C}">
                <a14:useLocalDpi xmlns:a14="http://schemas.microsoft.com/office/drawing/2010/main" val="0"/>
              </a:ext>
            </a:extLst>
          </a:blip>
          <a:srcRect l="23589" t="23894" r="11413" b="17516"/>
          <a:stretch/>
        </p:blipFill>
        <p:spPr>
          <a:xfrm>
            <a:off x="0" y="2083717"/>
            <a:ext cx="9144001" cy="3068288"/>
          </a:xfrm>
          <a:prstGeom prst="rect">
            <a:avLst/>
          </a:prstGeom>
        </p:spPr>
      </p:pic>
      <p:sp>
        <p:nvSpPr>
          <p:cNvPr id="2" name="Title 1"/>
          <p:cNvSpPr>
            <a:spLocks noGrp="1"/>
          </p:cNvSpPr>
          <p:nvPr>
            <p:ph type="title"/>
          </p:nvPr>
        </p:nvSpPr>
        <p:spPr/>
        <p:txBody>
          <a:bodyPr/>
          <a:lstStyle/>
          <a:p>
            <a:r>
              <a:rPr lang="en-US" altLang="ja-JP" dirty="0" smtClean="0">
                <a:latin typeface="メイリオ"/>
                <a:ea typeface="メイリオ"/>
                <a:cs typeface="メイリオ"/>
              </a:rPr>
              <a:t>Cisco </a:t>
            </a:r>
            <a:r>
              <a:rPr lang="en-US" altLang="ja-JP" dirty="0" err="1" smtClean="0">
                <a:latin typeface="メイリオ"/>
                <a:ea typeface="メイリオ"/>
                <a:cs typeface="メイリオ"/>
              </a:rPr>
              <a:t>Meraki</a:t>
            </a:r>
            <a:r>
              <a:rPr lang="en-US" altLang="ja-JP" dirty="0" smtClean="0">
                <a:latin typeface="メイリオ"/>
                <a:ea typeface="メイリオ"/>
                <a:cs typeface="メイリオ"/>
              </a:rPr>
              <a:t> </a:t>
            </a:r>
            <a:r>
              <a:rPr lang="ja-JP" altLang="en-US" dirty="0" smtClean="0">
                <a:latin typeface="メイリオ"/>
                <a:ea typeface="メイリオ"/>
                <a:cs typeface="メイリオ"/>
              </a:rPr>
              <a:t>の無料体験サービス</a:t>
            </a:r>
            <a:endParaRPr lang="ja-JP" altLang="en-US" dirty="0">
              <a:latin typeface="メイリオ"/>
              <a:ea typeface="メイリオ"/>
              <a:cs typeface="メイリオ"/>
            </a:endParaRPr>
          </a:p>
        </p:txBody>
      </p:sp>
      <p:sp>
        <p:nvSpPr>
          <p:cNvPr id="3" name="Text Placeholder 2"/>
          <p:cNvSpPr>
            <a:spLocks noGrp="1"/>
          </p:cNvSpPr>
          <p:nvPr>
            <p:ph type="body" sz="quarter" idx="10"/>
          </p:nvPr>
        </p:nvSpPr>
        <p:spPr>
          <a:xfrm>
            <a:off x="369344" y="716756"/>
            <a:ext cx="5948906" cy="1494168"/>
          </a:xfrm>
        </p:spPr>
        <p:txBody>
          <a:bodyPr lIns="68589" tIns="34295" rIns="68589" bIns="34295"/>
          <a:lstStyle/>
          <a:p>
            <a:pPr marL="259591" indent="-259591"/>
            <a:r>
              <a:rPr lang="ja-JP" altLang="en-US" sz="1800" dirty="0">
                <a:latin typeface="メイリオ"/>
                <a:ea typeface="メイリオ"/>
                <a:cs typeface="メイリオ"/>
              </a:rPr>
              <a:t>お客様のネットワークで </a:t>
            </a:r>
            <a:r>
              <a:rPr lang="en-US" altLang="ja-JP" sz="1800" dirty="0" err="1">
                <a:latin typeface="メイリオ"/>
                <a:ea typeface="メイリオ"/>
                <a:cs typeface="メイリオ"/>
              </a:rPr>
              <a:t>Meraki</a:t>
            </a:r>
            <a:r>
              <a:rPr lang="en-US" altLang="ja-JP" sz="1800" dirty="0">
                <a:latin typeface="メイリオ"/>
                <a:ea typeface="メイリオ"/>
                <a:cs typeface="メイリオ"/>
              </a:rPr>
              <a:t> </a:t>
            </a:r>
            <a:r>
              <a:rPr lang="ja-JP" altLang="en-US" sz="1800" dirty="0">
                <a:latin typeface="メイリオ"/>
                <a:ea typeface="メイリオ"/>
                <a:cs typeface="メイリオ"/>
              </a:rPr>
              <a:t>をお試しください。</a:t>
            </a:r>
          </a:p>
          <a:p>
            <a:pPr marL="259591" indent="-259591"/>
            <a:r>
              <a:rPr lang="ja-JP" altLang="en-US" sz="1800" dirty="0">
                <a:latin typeface="メイリオ"/>
                <a:ea typeface="メイリオ"/>
                <a:cs typeface="メイリオ"/>
              </a:rPr>
              <a:t>無料でテクニカル サポートをご利用になれます。</a:t>
            </a:r>
          </a:p>
          <a:p>
            <a:pPr marL="259591" indent="-259591">
              <a:buNone/>
            </a:pPr>
            <a:endParaRPr lang="ja-JP" altLang="en-US" dirty="0">
              <a:latin typeface="メイリオ"/>
              <a:ea typeface="メイリオ"/>
              <a:cs typeface="メイリオ"/>
            </a:endParaRPr>
          </a:p>
        </p:txBody>
      </p:sp>
      <p:sp>
        <p:nvSpPr>
          <p:cNvPr id="5" name="Rectangle 4"/>
          <p:cNvSpPr/>
          <p:nvPr/>
        </p:nvSpPr>
        <p:spPr>
          <a:xfrm>
            <a:off x="2514064" y="4621652"/>
            <a:ext cx="4439186" cy="346259"/>
          </a:xfrm>
          <a:prstGeom prst="rect">
            <a:avLst/>
          </a:prstGeom>
        </p:spPr>
        <p:txBody>
          <a:bodyPr wrap="square" lIns="68589" tIns="34295" rIns="68589" bIns="34295">
            <a:spAutoFit/>
          </a:bodyPr>
          <a:lstStyle/>
          <a:p>
            <a:pPr marL="0" lvl="1" algn="ctr"/>
            <a:r>
              <a:rPr lang="ja-JP" altLang="en-US">
                <a:solidFill>
                  <a:srgbClr val="061C23"/>
                </a:solidFill>
                <a:latin typeface="メイリオ"/>
                <a:ea typeface="メイリオ"/>
                <a:cs typeface="メイリオ"/>
              </a:rPr>
              <a:t>無料のお試しは </a:t>
            </a:r>
            <a:r>
              <a:rPr lang="en-US" altLang="ja-JP">
                <a:latin typeface="メイリオ"/>
                <a:ea typeface="メイリオ"/>
                <a:cs typeface="メイリオ"/>
              </a:rPr>
              <a:t>meraki.com/eval</a:t>
            </a:r>
            <a:r>
              <a:rPr lang="ja-JP" altLang="en-US">
                <a:solidFill>
                  <a:srgbClr val="061C23"/>
                </a:solidFill>
                <a:latin typeface="メイリオ"/>
                <a:ea typeface="メイリオ"/>
                <a:cs typeface="メイリオ"/>
              </a:rPr>
              <a:t> まで</a:t>
            </a:r>
            <a:endParaRPr lang="ja-JP" altLang="en-US">
              <a:latin typeface="メイリオ"/>
              <a:ea typeface="メイリオ"/>
              <a:cs typeface="メイリオ"/>
            </a:endParaRPr>
          </a:p>
        </p:txBody>
      </p:sp>
    </p:spTree>
    <p:extLst>
      <p:ext uri="{BB962C8B-B14F-4D97-AF65-F5344CB8AC3E}">
        <p14:creationId xmlns:p14="http://schemas.microsoft.com/office/powerpoint/2010/main" val="490360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latin typeface="メイリオ"/>
                <a:ea typeface="メイリオ"/>
                <a:cs typeface="メイリオ"/>
              </a:rPr>
              <a:t>次のステップ</a:t>
            </a:r>
            <a:endParaRPr lang="ja-JP" altLang="en-US">
              <a:latin typeface="メイリオ"/>
              <a:ea typeface="メイリオ"/>
              <a:cs typeface="メイリオ"/>
            </a:endParaRPr>
          </a:p>
        </p:txBody>
      </p:sp>
      <p:sp>
        <p:nvSpPr>
          <p:cNvPr id="4" name="TextBox 3"/>
          <p:cNvSpPr txBox="1"/>
          <p:nvPr/>
        </p:nvSpPr>
        <p:spPr>
          <a:xfrm>
            <a:off x="181702" y="1282718"/>
            <a:ext cx="2495158" cy="623258"/>
          </a:xfrm>
          <a:prstGeom prst="rect">
            <a:avLst/>
          </a:prstGeom>
          <a:noFill/>
        </p:spPr>
        <p:txBody>
          <a:bodyPr wrap="square" lIns="68589" tIns="34295" rIns="68589" bIns="34295" rtlCol="0">
            <a:spAutoFit/>
          </a:bodyPr>
          <a:lstStyle/>
          <a:p>
            <a:r>
              <a:rPr lang="ja-JP" altLang="en-US" dirty="0" smtClean="0">
                <a:solidFill>
                  <a:srgbClr val="404040"/>
                </a:solidFill>
                <a:latin typeface="メイリオ"/>
                <a:ea typeface="メイリオ"/>
                <a:cs typeface="メイリオ"/>
              </a:rPr>
              <a:t>リスクフリーで評価いただけます</a:t>
            </a:r>
            <a:endParaRPr lang="ja-JP" altLang="en-US" dirty="0">
              <a:solidFill>
                <a:srgbClr val="404040"/>
              </a:solidFill>
              <a:latin typeface="メイリオ"/>
              <a:ea typeface="メイリオ"/>
              <a:cs typeface="メイリオ"/>
            </a:endParaRPr>
          </a:p>
        </p:txBody>
      </p:sp>
      <p:sp>
        <p:nvSpPr>
          <p:cNvPr id="5" name="TextBox 4"/>
          <p:cNvSpPr txBox="1"/>
          <p:nvPr/>
        </p:nvSpPr>
        <p:spPr>
          <a:xfrm>
            <a:off x="2505365" y="1109588"/>
            <a:ext cx="5100626" cy="346259"/>
          </a:xfrm>
          <a:prstGeom prst="rect">
            <a:avLst/>
          </a:prstGeom>
          <a:noFill/>
        </p:spPr>
        <p:txBody>
          <a:bodyPr wrap="none" lIns="68589" tIns="34295" rIns="68589" bIns="34295" rtlCol="0">
            <a:spAutoFit/>
          </a:bodyPr>
          <a:lstStyle/>
          <a:p>
            <a:r>
              <a:rPr lang="en-US" altLang="ja-JP" dirty="0" err="1" smtClean="0">
                <a:solidFill>
                  <a:srgbClr val="404040"/>
                </a:solidFill>
                <a:latin typeface="メイリオ"/>
                <a:ea typeface="メイリオ"/>
                <a:cs typeface="メイリオ"/>
              </a:rPr>
              <a:t>Meraki</a:t>
            </a:r>
            <a:r>
              <a:rPr lang="ja-JP" altLang="en-US" dirty="0" smtClean="0">
                <a:solidFill>
                  <a:srgbClr val="404040"/>
                </a:solidFill>
                <a:latin typeface="メイリオ"/>
                <a:ea typeface="メイリオ"/>
                <a:cs typeface="メイリオ"/>
              </a:rPr>
              <a:t>の </a:t>
            </a:r>
            <a:r>
              <a:rPr lang="en-US" altLang="ja-JP" dirty="0" smtClean="0">
                <a:solidFill>
                  <a:srgbClr val="404040"/>
                </a:solidFill>
                <a:latin typeface="メイリオ"/>
                <a:ea typeface="メイリオ"/>
                <a:cs typeface="メイリオ"/>
              </a:rPr>
              <a:t>Web </a:t>
            </a:r>
            <a:r>
              <a:rPr lang="ja-JP" altLang="en-US" dirty="0" smtClean="0">
                <a:solidFill>
                  <a:srgbClr val="404040"/>
                </a:solidFill>
                <a:latin typeface="メイリオ"/>
                <a:ea typeface="メイリオ"/>
                <a:cs typeface="メイリオ"/>
              </a:rPr>
              <a:t>サイトやブログをご覧ください</a:t>
            </a:r>
            <a:endParaRPr lang="ja-JP" altLang="en-US" dirty="0">
              <a:solidFill>
                <a:srgbClr val="404040"/>
              </a:solidFill>
              <a:latin typeface="メイリオ"/>
              <a:ea typeface="メイリオ"/>
              <a:cs typeface="メイリオ"/>
            </a:endParaRPr>
          </a:p>
        </p:txBody>
      </p:sp>
      <p:sp>
        <p:nvSpPr>
          <p:cNvPr id="6" name="TextBox 5"/>
          <p:cNvSpPr txBox="1"/>
          <p:nvPr/>
        </p:nvSpPr>
        <p:spPr>
          <a:xfrm>
            <a:off x="6166886" y="1513120"/>
            <a:ext cx="3110710" cy="346259"/>
          </a:xfrm>
          <a:prstGeom prst="rect">
            <a:avLst/>
          </a:prstGeom>
          <a:noFill/>
        </p:spPr>
        <p:txBody>
          <a:bodyPr wrap="none" lIns="68589" tIns="34295" rIns="68589" bIns="34295" rtlCol="0">
            <a:spAutoFit/>
          </a:bodyPr>
          <a:lstStyle/>
          <a:p>
            <a:r>
              <a:rPr lang="en-US" altLang="ja-JP" dirty="0" err="1" smtClean="0">
                <a:solidFill>
                  <a:srgbClr val="404040"/>
                </a:solidFill>
                <a:latin typeface="メイリオ"/>
                <a:ea typeface="メイリオ"/>
                <a:cs typeface="メイリオ"/>
              </a:rPr>
              <a:t>Meraki</a:t>
            </a:r>
            <a:r>
              <a:rPr lang="en-US" altLang="ja-JP" dirty="0" smtClean="0">
                <a:solidFill>
                  <a:srgbClr val="404040"/>
                </a:solidFill>
                <a:latin typeface="メイリオ"/>
                <a:ea typeface="メイリオ"/>
                <a:cs typeface="メイリオ"/>
              </a:rPr>
              <a:t> </a:t>
            </a:r>
            <a:r>
              <a:rPr lang="ja-JP" altLang="en-US" dirty="0" smtClean="0">
                <a:solidFill>
                  <a:srgbClr val="404040"/>
                </a:solidFill>
                <a:latin typeface="メイリオ"/>
                <a:ea typeface="メイリオ"/>
                <a:cs typeface="メイリオ"/>
              </a:rPr>
              <a:t>担当者にご連絡を！</a:t>
            </a:r>
            <a:endParaRPr lang="ja-JP" altLang="en-US" dirty="0">
              <a:solidFill>
                <a:srgbClr val="404040"/>
              </a:solidFill>
              <a:latin typeface="メイリオ"/>
              <a:ea typeface="メイリオ"/>
              <a:cs typeface="メイリオ"/>
            </a:endParaRPr>
          </a:p>
        </p:txBody>
      </p:sp>
      <p:grpSp>
        <p:nvGrpSpPr>
          <p:cNvPr id="9" name="Group 8"/>
          <p:cNvGrpSpPr/>
          <p:nvPr/>
        </p:nvGrpSpPr>
        <p:grpSpPr>
          <a:xfrm>
            <a:off x="3041285" y="1863586"/>
            <a:ext cx="3163794" cy="2667005"/>
            <a:chOff x="3965646" y="2484781"/>
            <a:chExt cx="4217293" cy="3556006"/>
          </a:xfrm>
        </p:grpSpPr>
        <p:pic>
          <p:nvPicPr>
            <p:cNvPr id="7" name="Picture 6" descr="Screen Shot 2014-05-29 at 11.13.33 A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5530" y="2484781"/>
              <a:ext cx="3950361" cy="3235741"/>
            </a:xfrm>
            <a:prstGeom prst="rect">
              <a:avLst/>
            </a:prstGeom>
          </p:spPr>
        </p:pic>
        <p:sp>
          <p:nvSpPr>
            <p:cNvPr id="8" name="Rectangle 7"/>
            <p:cNvSpPr/>
            <p:nvPr/>
          </p:nvSpPr>
          <p:spPr>
            <a:xfrm>
              <a:off x="3965646" y="5477569"/>
              <a:ext cx="4217293" cy="563218"/>
            </a:xfrm>
            <a:prstGeom prst="rect">
              <a:avLst/>
            </a:prstGeom>
            <a:gradFill flip="none" rotWithShape="1">
              <a:gsLst>
                <a:gs pos="0">
                  <a:schemeClr val="bg1"/>
                </a:gs>
                <a:gs pos="36000">
                  <a:srgbClr val="FFFFFF">
                    <a:alpha val="47000"/>
                  </a:srgbClr>
                </a:gs>
              </a:gsLst>
              <a:lin ang="5160000" scaled="0"/>
              <a:tileRect/>
            </a:gradFill>
            <a:ln>
              <a:noFill/>
            </a:ln>
            <a:effectLst>
              <a:glow rad="622300">
                <a:schemeClr val="bg1">
                  <a:lumMod val="95000"/>
                  <a:alpha val="39000"/>
                </a:schemeClr>
              </a:glow>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メイリオ"/>
                <a:ea typeface="メイリオ"/>
                <a:cs typeface="メイリオ"/>
              </a:endParaRPr>
            </a:p>
          </p:txBody>
        </p:sp>
      </p:grpSp>
      <p:pic>
        <p:nvPicPr>
          <p:cNvPr id="11" name="Picture 10" descr="europe-1920s.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7033" y="2285995"/>
            <a:ext cx="1735859" cy="1457742"/>
          </a:xfrm>
          <a:prstGeom prst="rect">
            <a:avLst/>
          </a:prstGeom>
        </p:spPr>
      </p:pic>
      <p:sp>
        <p:nvSpPr>
          <p:cNvPr id="12" name="TextBox 11"/>
          <p:cNvSpPr txBox="1"/>
          <p:nvPr/>
        </p:nvSpPr>
        <p:spPr>
          <a:xfrm>
            <a:off x="3416280" y="1493459"/>
            <a:ext cx="2677674" cy="346259"/>
          </a:xfrm>
          <a:prstGeom prst="rect">
            <a:avLst/>
          </a:prstGeom>
          <a:noFill/>
        </p:spPr>
        <p:txBody>
          <a:bodyPr wrap="none" lIns="68589" tIns="34295" rIns="68589" bIns="34295" rtlCol="0">
            <a:spAutoFit/>
          </a:bodyPr>
          <a:lstStyle/>
          <a:p>
            <a:r>
              <a:rPr lang="en-US" altLang="ja-JP" dirty="0" err="1" smtClean="0">
                <a:latin typeface="メイリオ"/>
                <a:ea typeface="メイリオ"/>
                <a:cs typeface="メイリオ"/>
              </a:rPr>
              <a:t>meraki.cisco.com</a:t>
            </a:r>
            <a:r>
              <a:rPr lang="en-US" altLang="ja-JP" dirty="0" smtClean="0">
                <a:latin typeface="メイリオ"/>
                <a:ea typeface="メイリオ"/>
                <a:cs typeface="メイリオ"/>
              </a:rPr>
              <a:t>/blog</a:t>
            </a:r>
            <a:endParaRPr lang="ja-JP" altLang="en-US" dirty="0">
              <a:latin typeface="メイリオ"/>
              <a:ea typeface="メイリオ"/>
              <a:cs typeface="メイリオ"/>
            </a:endParaRPr>
          </a:p>
        </p:txBody>
      </p:sp>
      <p:sp>
        <p:nvSpPr>
          <p:cNvPr id="13" name="TextBox 12"/>
          <p:cNvSpPr txBox="1"/>
          <p:nvPr/>
        </p:nvSpPr>
        <p:spPr>
          <a:xfrm>
            <a:off x="181702" y="1859379"/>
            <a:ext cx="2653441" cy="346259"/>
          </a:xfrm>
          <a:prstGeom prst="rect">
            <a:avLst/>
          </a:prstGeom>
          <a:noFill/>
        </p:spPr>
        <p:txBody>
          <a:bodyPr wrap="none" lIns="68589" tIns="34295" rIns="68589" bIns="34295" rtlCol="0">
            <a:spAutoFit/>
          </a:bodyPr>
          <a:lstStyle/>
          <a:p>
            <a:r>
              <a:rPr lang="en-US" altLang="ja-JP" dirty="0" err="1" smtClean="0">
                <a:latin typeface="メイリオ"/>
                <a:ea typeface="メイリオ"/>
                <a:cs typeface="メイリオ"/>
              </a:rPr>
              <a:t>meraki.cisco.com</a:t>
            </a:r>
            <a:r>
              <a:rPr lang="en-US" altLang="ja-JP" dirty="0" smtClean="0">
                <a:latin typeface="メイリオ"/>
                <a:ea typeface="メイリオ"/>
                <a:cs typeface="メイリオ"/>
              </a:rPr>
              <a:t>/</a:t>
            </a:r>
            <a:r>
              <a:rPr lang="en-US" altLang="ja-JP" dirty="0" err="1" smtClean="0">
                <a:latin typeface="メイリオ"/>
                <a:ea typeface="メイリオ"/>
                <a:cs typeface="メイリオ"/>
              </a:rPr>
              <a:t>eval</a:t>
            </a:r>
            <a:endParaRPr lang="ja-JP" altLang="en-US" dirty="0">
              <a:latin typeface="メイリオ"/>
              <a:ea typeface="メイリオ"/>
              <a:cs typeface="メイリオ"/>
            </a:endParaRPr>
          </a:p>
        </p:txBody>
      </p:sp>
      <p:sp>
        <p:nvSpPr>
          <p:cNvPr id="14" name="TextBox 13"/>
          <p:cNvSpPr txBox="1"/>
          <p:nvPr/>
        </p:nvSpPr>
        <p:spPr>
          <a:xfrm>
            <a:off x="6093973" y="1829411"/>
            <a:ext cx="3024035" cy="346259"/>
          </a:xfrm>
          <a:prstGeom prst="rect">
            <a:avLst/>
          </a:prstGeom>
          <a:noFill/>
        </p:spPr>
        <p:txBody>
          <a:bodyPr wrap="none" lIns="68589" tIns="34295" rIns="68589" bIns="34295" rtlCol="0">
            <a:spAutoFit/>
          </a:bodyPr>
          <a:lstStyle/>
          <a:p>
            <a:r>
              <a:rPr lang="en-US" altLang="ja-JP" dirty="0" err="1" smtClean="0">
                <a:latin typeface="メイリオ"/>
                <a:ea typeface="メイリオ"/>
                <a:cs typeface="メイリオ"/>
              </a:rPr>
              <a:t>meraki.cisco.com</a:t>
            </a:r>
            <a:r>
              <a:rPr lang="en-US" altLang="ja-JP" dirty="0" smtClean="0">
                <a:latin typeface="メイリオ"/>
                <a:ea typeface="メイリオ"/>
                <a:cs typeface="メイリオ"/>
              </a:rPr>
              <a:t>/contact</a:t>
            </a:r>
            <a:endParaRPr lang="ja-JP" altLang="en-US" dirty="0">
              <a:latin typeface="メイリオ"/>
              <a:ea typeface="メイリオ"/>
              <a:cs typeface="メイリオ"/>
            </a:endParaRPr>
          </a:p>
        </p:txBody>
      </p:sp>
      <p:pic>
        <p:nvPicPr>
          <p:cNvPr id="15" name="Picture 14" descr="cisco-ms220P_leftangle.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96089" y="2699417"/>
            <a:ext cx="2420401" cy="678242"/>
          </a:xfrm>
          <a:prstGeom prst="rect">
            <a:avLst/>
          </a:prstGeom>
        </p:spPr>
      </p:pic>
    </p:spTree>
    <p:extLst>
      <p:ext uri="{BB962C8B-B14F-4D97-AF65-F5344CB8AC3E}">
        <p14:creationId xmlns:p14="http://schemas.microsoft.com/office/powerpoint/2010/main" val="3257566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46548" y="1347788"/>
            <a:ext cx="8878382" cy="3073946"/>
          </a:xfrm>
        </p:spPr>
        <p:txBody>
          <a:bodyPr/>
          <a:lstStyle/>
          <a:p>
            <a:pPr algn="l"/>
            <a:endParaRPr lang="en-US" sz="1800" dirty="0">
              <a:solidFill>
                <a:srgbClr val="FF0000"/>
              </a:solidFill>
              <a:latin typeface="メイリオ"/>
              <a:ea typeface="メイリオ"/>
              <a:cs typeface="メイリオ"/>
            </a:endParaRPr>
          </a:p>
          <a:p>
            <a:pPr marL="342900" indent="-342900" algn="l">
              <a:buFont typeface="Arial" panose="020B0604020202020204" pitchFamily="34" charset="0"/>
              <a:buChar char="•"/>
            </a:pPr>
            <a:r>
              <a:rPr lang="en-US" sz="1800" dirty="0">
                <a:latin typeface="メイリオ"/>
                <a:ea typeface="メイリオ"/>
                <a:cs typeface="メイリオ"/>
                <a:hlinkClick r:id="rId3"/>
              </a:rPr>
              <a:t>https://meraki.cisco.com/mx</a:t>
            </a:r>
            <a:endParaRPr lang="en-US" sz="1800" dirty="0">
              <a:latin typeface="メイリオ"/>
              <a:ea typeface="メイリオ"/>
              <a:cs typeface="メイリオ"/>
            </a:endParaRPr>
          </a:p>
          <a:p>
            <a:pPr marL="342900" indent="-342900" algn="l">
              <a:buFont typeface="Arial" panose="020B0604020202020204" pitchFamily="34" charset="0"/>
              <a:buChar char="•"/>
            </a:pPr>
            <a:r>
              <a:rPr lang="en-US" sz="1800" dirty="0">
                <a:latin typeface="メイリオ"/>
                <a:ea typeface="メイリオ"/>
                <a:cs typeface="メイリオ"/>
                <a:hlinkClick r:id="rId4"/>
              </a:rPr>
              <a:t>https://meraki.cisco.com/lib/pdf/meraki_whitepaper_mx_sizing_guide.pdf</a:t>
            </a:r>
            <a:endParaRPr lang="en-US" sz="1800" dirty="0">
              <a:latin typeface="メイリオ"/>
              <a:ea typeface="メイリオ"/>
              <a:cs typeface="メイリオ"/>
            </a:endParaRPr>
          </a:p>
          <a:p>
            <a:pPr marL="342900" indent="-342900" algn="l">
              <a:buFont typeface="Arial" panose="020B0604020202020204" pitchFamily="34" charset="0"/>
              <a:buChar char="•"/>
            </a:pPr>
            <a:r>
              <a:rPr lang="en-US" sz="1800" dirty="0">
                <a:latin typeface="メイリオ"/>
                <a:ea typeface="メイリオ"/>
                <a:cs typeface="メイリオ"/>
                <a:hlinkClick r:id="rId5"/>
              </a:rPr>
              <a:t>http://cs.co/</a:t>
            </a:r>
            <a:r>
              <a:rPr lang="en-US" sz="1800" dirty="0" smtClean="0">
                <a:latin typeface="メイリオ"/>
                <a:ea typeface="メイリオ"/>
                <a:cs typeface="メイリオ"/>
                <a:hlinkClick r:id="rId5"/>
              </a:rPr>
              <a:t>talkmeraki</a:t>
            </a:r>
            <a:r>
              <a:rPr lang="ja-JP" altLang="en-US" sz="1800" dirty="0" smtClean="0">
                <a:latin typeface="メイリオ"/>
                <a:ea typeface="メイリオ"/>
                <a:cs typeface="メイリオ"/>
              </a:rPr>
              <a:t> </a:t>
            </a:r>
            <a:r>
              <a:rPr lang="en-US" altLang="ja-JP" sz="1800" dirty="0" smtClean="0">
                <a:latin typeface="メイリオ"/>
                <a:ea typeface="メイリオ"/>
                <a:cs typeface="メイリオ"/>
              </a:rPr>
              <a:t>(Google</a:t>
            </a:r>
            <a:r>
              <a:rPr lang="ja-JP" altLang="en-US" sz="1800" dirty="0" smtClean="0">
                <a:latin typeface="メイリオ"/>
                <a:ea typeface="メイリオ"/>
                <a:cs typeface="メイリオ"/>
              </a:rPr>
              <a:t> </a:t>
            </a:r>
            <a:r>
              <a:rPr lang="en-US" altLang="ja-JP" sz="1800" dirty="0" smtClean="0">
                <a:latin typeface="メイリオ"/>
                <a:ea typeface="メイリオ"/>
                <a:cs typeface="メイリオ"/>
              </a:rPr>
              <a:t>Community)</a:t>
            </a:r>
          </a:p>
          <a:p>
            <a:pPr marL="342900" indent="-342900" algn="l">
              <a:buFont typeface="Arial" panose="020B0604020202020204" pitchFamily="34" charset="0"/>
              <a:buChar char="•"/>
            </a:pPr>
            <a:r>
              <a:rPr lang="en-US" sz="1800" dirty="0">
                <a:latin typeface="メイリオ"/>
                <a:ea typeface="メイリオ"/>
                <a:cs typeface="メイリオ"/>
                <a:hlinkClick r:id="rId6"/>
              </a:rPr>
              <a:t>https://meraki.cisco.com/ja/form/</a:t>
            </a:r>
            <a:r>
              <a:rPr lang="en-US" sz="1800" dirty="0" smtClean="0">
                <a:latin typeface="メイリオ"/>
                <a:ea typeface="メイリオ"/>
                <a:cs typeface="メイリオ"/>
                <a:hlinkClick r:id="rId6"/>
              </a:rPr>
              <a:t>demo</a:t>
            </a:r>
            <a:r>
              <a:rPr lang="ja-JP" altLang="en-US" sz="1800" dirty="0" smtClean="0">
                <a:latin typeface="メイリオ"/>
                <a:ea typeface="メイリオ"/>
                <a:cs typeface="メイリオ"/>
              </a:rPr>
              <a:t>　デモアカウント</a:t>
            </a:r>
            <a:endParaRPr lang="en-US" sz="1800" dirty="0">
              <a:latin typeface="メイリオ"/>
              <a:ea typeface="メイリオ"/>
              <a:cs typeface="メイリオ"/>
            </a:endParaRPr>
          </a:p>
          <a:p>
            <a:pPr marL="342900" indent="-342900" algn="l">
              <a:buFont typeface="Arial" panose="020B0604020202020204" pitchFamily="34" charset="0"/>
              <a:buChar char="•"/>
            </a:pPr>
            <a:r>
              <a:rPr lang="en-US" sz="1800" dirty="0">
                <a:latin typeface="メイリオ"/>
                <a:ea typeface="メイリオ"/>
                <a:cs typeface="メイリオ"/>
              </a:rPr>
              <a:t>Coming soon – MX / ASA positioning and sales guide</a:t>
            </a:r>
          </a:p>
        </p:txBody>
      </p:sp>
      <p:sp>
        <p:nvSpPr>
          <p:cNvPr id="3" name="Title 2"/>
          <p:cNvSpPr>
            <a:spLocks noGrp="1"/>
          </p:cNvSpPr>
          <p:nvPr>
            <p:ph type="title"/>
          </p:nvPr>
        </p:nvSpPr>
        <p:spPr/>
        <p:txBody>
          <a:bodyPr/>
          <a:lstStyle/>
          <a:p>
            <a:r>
              <a:rPr lang="en-US" dirty="0" smtClean="0">
                <a:solidFill>
                  <a:srgbClr val="2968AF"/>
                </a:solidFill>
              </a:rPr>
              <a:t>リソース</a:t>
            </a:r>
            <a:endParaRPr lang="en-US" dirty="0">
              <a:solidFill>
                <a:srgbClr val="2968AF"/>
              </a:solidFill>
            </a:endParaRPr>
          </a:p>
        </p:txBody>
      </p:sp>
    </p:spTree>
    <p:extLst>
      <p:ext uri="{BB962C8B-B14F-4D97-AF65-F5344CB8AC3E}">
        <p14:creationId xmlns:p14="http://schemas.microsoft.com/office/powerpoint/2010/main" val="34933636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lgn="l"/>
            <a:endParaRPr lang="en-US" dirty="0">
              <a:latin typeface="メイリオ"/>
              <a:ea typeface="メイリオ"/>
              <a:cs typeface="メイリオ"/>
            </a:endParaRPr>
          </a:p>
          <a:p>
            <a:pPr marL="342900" indent="-342900" algn="l">
              <a:buFont typeface="Arial" panose="020B0604020202020204" pitchFamily="34" charset="0"/>
              <a:buChar char="•"/>
            </a:pPr>
            <a:r>
              <a:rPr lang="en-US" dirty="0" smtClean="0">
                <a:latin typeface="メイリオ"/>
                <a:ea typeface="メイリオ"/>
                <a:cs typeface="メイリオ"/>
              </a:rPr>
              <a:t>IWAN, AMP/</a:t>
            </a:r>
            <a:r>
              <a:rPr lang="en-US" dirty="0" err="1" smtClean="0">
                <a:latin typeface="メイリオ"/>
                <a:ea typeface="メイリオ"/>
                <a:cs typeface="メイリオ"/>
              </a:rPr>
              <a:t>ThreatGrid</a:t>
            </a:r>
            <a:r>
              <a:rPr lang="en-US" dirty="0" smtClean="0">
                <a:latin typeface="メイリオ"/>
                <a:ea typeface="メイリオ"/>
                <a:cs typeface="メイリオ"/>
              </a:rPr>
              <a:t> </a:t>
            </a:r>
            <a:r>
              <a:rPr lang="ja-JP" altLang="en-US" dirty="0" smtClean="0">
                <a:latin typeface="メイリオ"/>
                <a:ea typeface="メイリオ"/>
                <a:cs typeface="メイリオ"/>
              </a:rPr>
              <a:t>や新しい</a:t>
            </a:r>
            <a:r>
              <a:rPr lang="en-US" altLang="ja-JP" dirty="0" smtClean="0">
                <a:latin typeface="メイリオ"/>
                <a:ea typeface="メイリオ"/>
                <a:cs typeface="メイリオ"/>
              </a:rPr>
              <a:t> MX </a:t>
            </a:r>
            <a:r>
              <a:rPr lang="ja-JP" altLang="en-US" dirty="0" smtClean="0">
                <a:latin typeface="メイリオ"/>
                <a:ea typeface="メイリオ"/>
                <a:cs typeface="メイリオ"/>
              </a:rPr>
              <a:t>について</a:t>
            </a:r>
            <a:endParaRPr lang="en-US" altLang="ja-JP" dirty="0" smtClean="0">
              <a:latin typeface="メイリオ"/>
              <a:ea typeface="メイリオ"/>
              <a:cs typeface="メイリオ"/>
            </a:endParaRPr>
          </a:p>
          <a:p>
            <a:pPr marL="342900" indent="-342900" algn="l">
              <a:buFont typeface="Arial" panose="020B0604020202020204" pitchFamily="34" charset="0"/>
              <a:buChar char="•"/>
            </a:pPr>
            <a:r>
              <a:rPr lang="ja-JP" altLang="en-US" dirty="0" smtClean="0">
                <a:latin typeface="メイリオ"/>
                <a:ea typeface="メイリオ"/>
                <a:cs typeface="メイリオ"/>
              </a:rPr>
              <a:t>今後</a:t>
            </a:r>
            <a:r>
              <a:rPr lang="ja-JP" altLang="en-US" dirty="0" smtClean="0">
                <a:latin typeface="メイリオ"/>
                <a:ea typeface="メイリオ"/>
                <a:cs typeface="メイリオ"/>
              </a:rPr>
              <a:t>の</a:t>
            </a:r>
            <a:r>
              <a:rPr lang="ja-JP" altLang="en-US" dirty="0" smtClean="0">
                <a:latin typeface="メイリオ"/>
                <a:ea typeface="メイリオ"/>
                <a:cs typeface="メイリオ"/>
              </a:rPr>
              <a:t>予定</a:t>
            </a:r>
            <a:endParaRPr lang="en-US" altLang="ja-JP" dirty="0" smtClean="0">
              <a:latin typeface="メイリオ"/>
              <a:ea typeface="メイリオ"/>
              <a:cs typeface="メイリオ"/>
            </a:endParaRPr>
          </a:p>
          <a:p>
            <a:pPr marL="342900" indent="-342900" algn="l">
              <a:buFont typeface="Arial" panose="020B0604020202020204" pitchFamily="34" charset="0"/>
              <a:buChar char="•"/>
            </a:pPr>
            <a:r>
              <a:rPr lang="en-US" altLang="ja-JP" dirty="0" err="1" smtClean="0">
                <a:latin typeface="メイリオ"/>
                <a:ea typeface="メイリオ"/>
                <a:cs typeface="メイリオ"/>
              </a:rPr>
              <a:t>Meraki</a:t>
            </a:r>
            <a:r>
              <a:rPr lang="en-US" altLang="ja-JP" dirty="0" smtClean="0">
                <a:latin typeface="メイリオ"/>
                <a:ea typeface="メイリオ"/>
                <a:cs typeface="メイリオ"/>
              </a:rPr>
              <a:t> </a:t>
            </a:r>
            <a:r>
              <a:rPr lang="ja-JP" altLang="en-US" dirty="0" smtClean="0">
                <a:latin typeface="メイリオ"/>
                <a:ea typeface="メイリオ"/>
                <a:cs typeface="メイリオ"/>
              </a:rPr>
              <a:t>のコンタクト</a:t>
            </a:r>
            <a:endParaRPr lang="en-US" dirty="0">
              <a:latin typeface="メイリオ"/>
              <a:ea typeface="メイリオ"/>
              <a:cs typeface="メイリオ"/>
            </a:endParaRPr>
          </a:p>
          <a:p>
            <a:pPr marL="342900" indent="-342900" algn="l">
              <a:buFont typeface="Arial" panose="020B0604020202020204" pitchFamily="34" charset="0"/>
              <a:buChar char="•"/>
            </a:pPr>
            <a:endParaRPr lang="en-US" dirty="0">
              <a:latin typeface="メイリオ"/>
              <a:ea typeface="メイリオ"/>
              <a:cs typeface="メイリオ"/>
            </a:endParaRPr>
          </a:p>
        </p:txBody>
      </p:sp>
      <p:sp>
        <p:nvSpPr>
          <p:cNvPr id="3" name="Title 2"/>
          <p:cNvSpPr>
            <a:spLocks noGrp="1"/>
          </p:cNvSpPr>
          <p:nvPr>
            <p:ph type="title"/>
          </p:nvPr>
        </p:nvSpPr>
        <p:spPr/>
        <p:txBody>
          <a:bodyPr/>
          <a:lstStyle/>
          <a:p>
            <a:r>
              <a:rPr lang="en-US" altLang="ja-JP" dirty="0" err="1" smtClean="0">
                <a:solidFill>
                  <a:srgbClr val="2968AF"/>
                </a:solidFill>
              </a:rPr>
              <a:t>Meraki</a:t>
            </a:r>
            <a:r>
              <a:rPr lang="ja-JP" altLang="en-US" dirty="0" smtClean="0">
                <a:solidFill>
                  <a:srgbClr val="2968AF"/>
                </a:solidFill>
              </a:rPr>
              <a:t> </a:t>
            </a:r>
            <a:r>
              <a:rPr lang="en-US" altLang="ja-JP" dirty="0" smtClean="0">
                <a:solidFill>
                  <a:srgbClr val="2968AF"/>
                </a:solidFill>
              </a:rPr>
              <a:t>MX</a:t>
            </a:r>
            <a:r>
              <a:rPr lang="ja-JP" altLang="en-US" dirty="0" smtClean="0">
                <a:solidFill>
                  <a:srgbClr val="2968AF"/>
                </a:solidFill>
              </a:rPr>
              <a:t> </a:t>
            </a:r>
            <a:r>
              <a:rPr lang="en-US" altLang="ja-JP" dirty="0" smtClean="0">
                <a:solidFill>
                  <a:srgbClr val="2968AF"/>
                </a:solidFill>
              </a:rPr>
              <a:t>Update</a:t>
            </a:r>
            <a:r>
              <a:rPr lang="ja-JP" altLang="en-US" dirty="0" smtClean="0">
                <a:solidFill>
                  <a:srgbClr val="2968AF"/>
                </a:solidFill>
              </a:rPr>
              <a:t> まとめ</a:t>
            </a:r>
            <a:endParaRPr lang="en-US" dirty="0">
              <a:solidFill>
                <a:srgbClr val="2968AF"/>
              </a:solidFill>
            </a:endParaRPr>
          </a:p>
        </p:txBody>
      </p:sp>
    </p:spTree>
    <p:extLst>
      <p:ext uri="{BB962C8B-B14F-4D97-AF65-F5344CB8AC3E}">
        <p14:creationId xmlns:p14="http://schemas.microsoft.com/office/powerpoint/2010/main" val="342947663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Q&amp;A</a:t>
            </a:r>
            <a:endParaRPr lang="en-US" dirty="0"/>
          </a:p>
        </p:txBody>
      </p:sp>
    </p:spTree>
    <p:extLst>
      <p:ext uri="{BB962C8B-B14F-4D97-AF65-F5344CB8AC3E}">
        <p14:creationId xmlns:p14="http://schemas.microsoft.com/office/powerpoint/2010/main" val="116139905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061713"/>
            <a:ext cx="9144000" cy="759125"/>
          </a:xfrm>
        </p:spPr>
        <p:txBody>
          <a:bodyPr/>
          <a:lstStyle/>
          <a:p>
            <a:pPr algn="ctr"/>
            <a:r>
              <a:rPr lang="en-US" dirty="0" smtClean="0"/>
              <a:t>Cisco Defense Orchestrator</a:t>
            </a:r>
            <a:endParaRPr lang="en-US" dirty="0"/>
          </a:p>
        </p:txBody>
      </p:sp>
      <p:sp>
        <p:nvSpPr>
          <p:cNvPr id="3" name="Text Placeholder 2"/>
          <p:cNvSpPr>
            <a:spLocks noGrp="1"/>
          </p:cNvSpPr>
          <p:nvPr>
            <p:ph type="body" sz="quarter" idx="13"/>
          </p:nvPr>
        </p:nvSpPr>
        <p:spPr>
          <a:xfrm>
            <a:off x="0" y="2859725"/>
            <a:ext cx="9144000" cy="299001"/>
          </a:xfrm>
        </p:spPr>
        <p:txBody>
          <a:bodyPr/>
          <a:lstStyle/>
          <a:p>
            <a:pPr algn="ctr"/>
            <a:r>
              <a:rPr lang="en-US" sz="2400" dirty="0" smtClean="0"/>
              <a:t>A Cloud Based Policy Management Solution</a:t>
            </a:r>
            <a:endParaRPr lang="en-US" dirty="0"/>
          </a:p>
        </p:txBody>
      </p:sp>
      <p:sp>
        <p:nvSpPr>
          <p:cNvPr id="7" name="サブタイトル 6"/>
          <p:cNvSpPr>
            <a:spLocks noGrp="1"/>
          </p:cNvSpPr>
          <p:nvPr>
            <p:ph type="subTitle" idx="1"/>
          </p:nvPr>
        </p:nvSpPr>
        <p:spPr/>
        <p:txBody>
          <a:bodyPr/>
          <a:lstStyle/>
          <a:p>
            <a:endParaRPr kumimoji="1" lang="ja-JP" altLang="en-US"/>
          </a:p>
        </p:txBody>
      </p:sp>
      <p:sp>
        <p:nvSpPr>
          <p:cNvPr id="8" name="テキスト プレースホルダー 7"/>
          <p:cNvSpPr>
            <a:spLocks noGrp="1"/>
          </p:cNvSpPr>
          <p:nvPr>
            <p:ph type="body" sz="quarter" idx="11"/>
          </p:nvPr>
        </p:nvSpPr>
        <p:spPr/>
        <p:txBody>
          <a:bodyPr/>
          <a:lstStyle/>
          <a:p>
            <a:endParaRPr kumimoji="1" lang="ja-JP" altLang="en-US"/>
          </a:p>
        </p:txBody>
      </p:sp>
      <p:sp>
        <p:nvSpPr>
          <p:cNvPr id="9" name="テキスト プレースホルダー 8"/>
          <p:cNvSpPr>
            <a:spLocks noGrp="1"/>
          </p:cNvSpPr>
          <p:nvPr>
            <p:ph type="body" sz="quarter" idx="12"/>
          </p:nvPr>
        </p:nvSpPr>
        <p:spPr/>
        <p:txBody>
          <a:bodyPr/>
          <a:lstStyle/>
          <a:p>
            <a:endParaRPr kumimoji="1" lang="ja-JP" altLang="en-US"/>
          </a:p>
        </p:txBody>
      </p:sp>
    </p:spTree>
    <p:extLst>
      <p:ext uri="{BB962C8B-B14F-4D97-AF65-F5344CB8AC3E}">
        <p14:creationId xmlns:p14="http://schemas.microsoft.com/office/powerpoint/2010/main" val="413218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1" y="0"/>
            <a:ext cx="9144000" cy="5143500"/>
          </a:xfrm>
          <a:prstGeom prst="rect">
            <a:avLst/>
          </a:prstGeom>
        </p:spPr>
      </p:pic>
      <p:sp>
        <p:nvSpPr>
          <p:cNvPr id="36" name="Text Placeholder 2"/>
          <p:cNvSpPr txBox="1">
            <a:spLocks/>
          </p:cNvSpPr>
          <p:nvPr/>
        </p:nvSpPr>
        <p:spPr>
          <a:xfrm>
            <a:off x="428625" y="1037489"/>
            <a:ext cx="8286750" cy="3352800"/>
          </a:xfrm>
          <a:prstGeom prst="rect">
            <a:avLst/>
          </a:prstGeom>
        </p:spPr>
        <p:txBody>
          <a:bodyPr lIns="68580" tIns="34290" rIns="68580" bIns="34290"/>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solidFill>
                <a:schemeClr val="bg1"/>
              </a:solidFill>
              <a:latin typeface="メイリオ"/>
              <a:ea typeface="メイリオ"/>
              <a:cs typeface="メイリオ"/>
            </a:endParaRPr>
          </a:p>
        </p:txBody>
      </p:sp>
      <p:sp>
        <p:nvSpPr>
          <p:cNvPr id="12" name="Rectangle 11"/>
          <p:cNvSpPr/>
          <p:nvPr/>
        </p:nvSpPr>
        <p:spPr>
          <a:xfrm>
            <a:off x="428625" y="1181760"/>
            <a:ext cx="8286750" cy="3376750"/>
          </a:xfrm>
          <a:prstGeom prst="rect">
            <a:avLst/>
          </a:prstGeom>
          <a:solidFill>
            <a:schemeClr val="accent1">
              <a:alpha val="56000"/>
            </a:schemeClr>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lvl="0">
              <a:defRPr/>
            </a:pPr>
            <a:endParaRPr lang="en-US" sz="2100" kern="0" dirty="0">
              <a:solidFill>
                <a:srgbClr val="FFFFFF"/>
              </a:solidFill>
              <a:latin typeface="メイリオ"/>
              <a:ea typeface="メイリオ"/>
              <a:cs typeface="メイリオ"/>
            </a:endParaRPr>
          </a:p>
        </p:txBody>
      </p:sp>
      <p:sp>
        <p:nvSpPr>
          <p:cNvPr id="35" name="Title 1"/>
          <p:cNvSpPr txBox="1">
            <a:spLocks/>
          </p:cNvSpPr>
          <p:nvPr/>
        </p:nvSpPr>
        <p:spPr>
          <a:xfrm>
            <a:off x="437767" y="341314"/>
            <a:ext cx="8277608" cy="731837"/>
          </a:xfrm>
          <a:prstGeom prst="rect">
            <a:avLst/>
          </a:prstGeom>
        </p:spPr>
        <p:txBody>
          <a:bodyPr lIns="68580" tIns="34290" rIns="68580" bIns="34290"/>
          <a:lstStyle>
            <a:lvl1pPr algn="l" defTabSz="912261" rtl="0" eaLnBrk="1" fontAlgn="base" hangingPunct="1">
              <a:lnSpc>
                <a:spcPct val="80000"/>
              </a:lnSpc>
              <a:spcBef>
                <a:spcPct val="0"/>
              </a:spcBef>
              <a:spcAft>
                <a:spcPct val="0"/>
              </a:spcAft>
              <a:defRPr lang="en-US" sz="4000" kern="1200" dirty="0">
                <a:solidFill>
                  <a:schemeClr val="tx1"/>
                </a:solidFill>
                <a:latin typeface="+mj-lt"/>
                <a:ea typeface="ＭＳ Ｐゴシック" charset="0"/>
                <a:cs typeface="CiscoSans"/>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endParaRPr lang="en-US" dirty="0">
              <a:solidFill>
                <a:schemeClr val="bg1"/>
              </a:solidFill>
              <a:latin typeface="メイリオ"/>
              <a:ea typeface="メイリオ"/>
              <a:cs typeface="メイリオ"/>
            </a:endParaRPr>
          </a:p>
        </p:txBody>
      </p:sp>
      <p:sp>
        <p:nvSpPr>
          <p:cNvPr id="10" name="Title 9"/>
          <p:cNvSpPr>
            <a:spLocks noGrp="1"/>
          </p:cNvSpPr>
          <p:nvPr>
            <p:ph type="title"/>
          </p:nvPr>
        </p:nvSpPr>
        <p:spPr/>
        <p:txBody>
          <a:bodyPr/>
          <a:lstStyle/>
          <a:p>
            <a:r>
              <a:rPr lang="en-US" dirty="0" smtClean="0">
                <a:solidFill>
                  <a:schemeClr val="bg1"/>
                </a:solidFill>
                <a:latin typeface="メイリオ"/>
                <a:ea typeface="メイリオ"/>
                <a:cs typeface="メイリオ"/>
              </a:rPr>
              <a:t>Cisco Defense Orchestrator (CDO) </a:t>
            </a:r>
            <a:r>
              <a:rPr lang="ja-JP" altLang="en-US" dirty="0" smtClean="0">
                <a:solidFill>
                  <a:schemeClr val="bg1"/>
                </a:solidFill>
                <a:latin typeface="メイリオ"/>
                <a:ea typeface="メイリオ"/>
                <a:cs typeface="メイリオ"/>
              </a:rPr>
              <a:t>とは</a:t>
            </a:r>
            <a:endParaRPr lang="en-US" dirty="0">
              <a:solidFill>
                <a:schemeClr val="bg1"/>
              </a:solidFill>
              <a:latin typeface="メイリオ"/>
              <a:ea typeface="メイリオ"/>
              <a:cs typeface="メイリオ"/>
            </a:endParaRPr>
          </a:p>
        </p:txBody>
      </p:sp>
      <p:sp>
        <p:nvSpPr>
          <p:cNvPr id="27" name="Rectangle 26"/>
          <p:cNvSpPr/>
          <p:nvPr/>
        </p:nvSpPr>
        <p:spPr>
          <a:xfrm>
            <a:off x="428625" y="1427093"/>
            <a:ext cx="3779044" cy="25406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0" tIns="34290" rIns="68580" bIns="34290" rtlCol="0" anchor="ctr"/>
          <a:lstStyle/>
          <a:p>
            <a:pPr lvl="0">
              <a:defRPr/>
            </a:pPr>
            <a:r>
              <a:rPr lang="en-US" sz="4100" b="1" kern="0" dirty="0">
                <a:solidFill>
                  <a:srgbClr val="FFFFFF"/>
                </a:solidFill>
                <a:latin typeface="メイリオ"/>
                <a:ea typeface="メイリオ"/>
                <a:cs typeface="メイリオ"/>
              </a:rPr>
              <a:t>Cisco Defense Orchestrator</a:t>
            </a:r>
          </a:p>
        </p:txBody>
      </p:sp>
      <p:sp>
        <p:nvSpPr>
          <p:cNvPr id="51" name="Rectangle 50"/>
          <p:cNvSpPr/>
          <p:nvPr/>
        </p:nvSpPr>
        <p:spPr>
          <a:xfrm>
            <a:off x="4279470" y="1867372"/>
            <a:ext cx="4479131" cy="254619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spcBef>
                <a:spcPts val="900"/>
              </a:spcBef>
              <a:defRPr/>
            </a:pPr>
            <a:r>
              <a:rPr lang="ja-JP" altLang="en-US" sz="2100" kern="0" dirty="0" smtClean="0">
                <a:solidFill>
                  <a:srgbClr val="FFFFFF"/>
                </a:solidFill>
                <a:latin typeface="メイリオ"/>
                <a:ea typeface="メイリオ"/>
                <a:cs typeface="メイリオ"/>
              </a:rPr>
              <a:t>シスコセキュリティプロダクトを、</a:t>
            </a:r>
            <a:endParaRPr lang="en-US" altLang="ja-JP" sz="2100" kern="0" dirty="0" smtClean="0">
              <a:solidFill>
                <a:srgbClr val="FFFFFF"/>
              </a:solidFill>
              <a:latin typeface="メイリオ"/>
              <a:ea typeface="メイリオ"/>
              <a:cs typeface="メイリオ"/>
            </a:endParaRPr>
          </a:p>
          <a:p>
            <a:pPr>
              <a:spcBef>
                <a:spcPts val="900"/>
              </a:spcBef>
              <a:defRPr/>
            </a:pPr>
            <a:r>
              <a:rPr lang="ja-JP" altLang="en-US" sz="2100" kern="0" dirty="0" smtClean="0">
                <a:solidFill>
                  <a:srgbClr val="FFFFFF"/>
                </a:solidFill>
                <a:latin typeface="メイリオ"/>
                <a:ea typeface="メイリオ"/>
                <a:cs typeface="メイリオ"/>
              </a:rPr>
              <a:t>クラウドで管理するソリューション</a:t>
            </a:r>
            <a:endParaRPr lang="en-US" sz="2100" kern="0" dirty="0" smtClean="0">
              <a:solidFill>
                <a:srgbClr val="FFFFFF"/>
              </a:solidFill>
              <a:latin typeface="メイリオ"/>
              <a:ea typeface="メイリオ"/>
              <a:cs typeface="メイリオ"/>
            </a:endParaRPr>
          </a:p>
        </p:txBody>
      </p:sp>
      <p:cxnSp>
        <p:nvCxnSpPr>
          <p:cNvPr id="5" name="Straight Connector 4"/>
          <p:cNvCxnSpPr/>
          <p:nvPr/>
        </p:nvCxnSpPr>
        <p:spPr>
          <a:xfrm>
            <a:off x="4199166" y="1975747"/>
            <a:ext cx="0" cy="15773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055667" y="1534169"/>
            <a:ext cx="1142073" cy="1142073"/>
            <a:chOff x="1765189" y="2038980"/>
            <a:chExt cx="2780041" cy="2780041"/>
          </a:xfrm>
        </p:grpSpPr>
        <p:sp>
          <p:nvSpPr>
            <p:cNvPr id="33" name="Oval 32"/>
            <p:cNvSpPr/>
            <p:nvPr/>
          </p:nvSpPr>
          <p:spPr>
            <a:xfrm>
              <a:off x="1765189" y="2038980"/>
              <a:ext cx="2780041" cy="2780041"/>
            </a:xfrm>
            <a:prstGeom prst="ellipse">
              <a:avLst/>
            </a:prstGeom>
            <a:noFill/>
            <a:ln w="76200" cap="flat" cmpd="sng" algn="ctr">
              <a:solidFill>
                <a:srgbClr val="FFFFFF"/>
              </a:solidFill>
              <a:prstDash val="solid"/>
            </a:ln>
            <a:effectLst/>
          </p:spPr>
          <p:txBody>
            <a:bodyPr rtlCol="0" anchor="ctr"/>
            <a:lstStyle/>
            <a:p>
              <a:pPr algn="ctr" defTabSz="685800" fontAlgn="auto">
                <a:spcBef>
                  <a:spcPts val="0"/>
                </a:spcBef>
                <a:spcAft>
                  <a:spcPts val="0"/>
                </a:spcAft>
                <a:defRPr/>
              </a:pPr>
              <a:endParaRPr lang="en-US" sz="1400" b="1" kern="0" dirty="0">
                <a:solidFill>
                  <a:srgbClr val="FFFFFF"/>
                </a:solidFill>
                <a:latin typeface="メイリオ"/>
                <a:ea typeface="メイリオ"/>
                <a:cs typeface="メイリオ"/>
              </a:endParaRPr>
            </a:p>
          </p:txBody>
        </p:sp>
        <p:sp>
          <p:nvSpPr>
            <p:cNvPr id="34" name="Freeform 5"/>
            <p:cNvSpPr>
              <a:spLocks/>
            </p:cNvSpPr>
            <p:nvPr/>
          </p:nvSpPr>
          <p:spPr bwMode="auto">
            <a:xfrm>
              <a:off x="2199448" y="2761050"/>
              <a:ext cx="1911522" cy="1135089"/>
            </a:xfrm>
            <a:custGeom>
              <a:avLst/>
              <a:gdLst>
                <a:gd name="T0" fmla="*/ 816 w 970"/>
                <a:gd name="T1" fmla="*/ 262 h 576"/>
                <a:gd name="T2" fmla="*/ 816 w 970"/>
                <a:gd name="T3" fmla="*/ 250 h 576"/>
                <a:gd name="T4" fmla="*/ 810 w 970"/>
                <a:gd name="T5" fmla="*/ 226 h 576"/>
                <a:gd name="T6" fmla="*/ 796 w 970"/>
                <a:gd name="T7" fmla="*/ 192 h 576"/>
                <a:gd name="T8" fmla="*/ 760 w 970"/>
                <a:gd name="T9" fmla="*/ 158 h 576"/>
                <a:gd name="T10" fmla="*/ 728 w 970"/>
                <a:gd name="T11" fmla="*/ 142 h 576"/>
                <a:gd name="T12" fmla="*/ 704 w 970"/>
                <a:gd name="T13" fmla="*/ 136 h 576"/>
                <a:gd name="T14" fmla="*/ 690 w 970"/>
                <a:gd name="T15" fmla="*/ 136 h 576"/>
                <a:gd name="T16" fmla="*/ 658 w 970"/>
                <a:gd name="T17" fmla="*/ 140 h 576"/>
                <a:gd name="T18" fmla="*/ 630 w 970"/>
                <a:gd name="T19" fmla="*/ 152 h 576"/>
                <a:gd name="T20" fmla="*/ 622 w 970"/>
                <a:gd name="T21" fmla="*/ 134 h 576"/>
                <a:gd name="T22" fmla="*/ 604 w 970"/>
                <a:gd name="T23" fmla="*/ 104 h 576"/>
                <a:gd name="T24" fmla="*/ 582 w 970"/>
                <a:gd name="T25" fmla="*/ 76 h 576"/>
                <a:gd name="T26" fmla="*/ 554 w 970"/>
                <a:gd name="T27" fmla="*/ 52 h 576"/>
                <a:gd name="T28" fmla="*/ 526 w 970"/>
                <a:gd name="T29" fmla="*/ 32 h 576"/>
                <a:gd name="T30" fmla="*/ 492 w 970"/>
                <a:gd name="T31" fmla="*/ 16 h 576"/>
                <a:gd name="T32" fmla="*/ 458 w 970"/>
                <a:gd name="T33" fmla="*/ 6 h 576"/>
                <a:gd name="T34" fmla="*/ 420 w 970"/>
                <a:gd name="T35" fmla="*/ 0 h 576"/>
                <a:gd name="T36" fmla="*/ 402 w 970"/>
                <a:gd name="T37" fmla="*/ 0 h 576"/>
                <a:gd name="T38" fmla="*/ 352 w 970"/>
                <a:gd name="T39" fmla="*/ 4 h 576"/>
                <a:gd name="T40" fmla="*/ 306 w 970"/>
                <a:gd name="T41" fmla="*/ 20 h 576"/>
                <a:gd name="T42" fmla="*/ 264 w 970"/>
                <a:gd name="T43" fmla="*/ 42 h 576"/>
                <a:gd name="T44" fmla="*/ 226 w 970"/>
                <a:gd name="T45" fmla="*/ 72 h 576"/>
                <a:gd name="T46" fmla="*/ 196 w 970"/>
                <a:gd name="T47" fmla="*/ 108 h 576"/>
                <a:gd name="T48" fmla="*/ 174 w 970"/>
                <a:gd name="T49" fmla="*/ 150 h 576"/>
                <a:gd name="T50" fmla="*/ 158 w 970"/>
                <a:gd name="T51" fmla="*/ 198 h 576"/>
                <a:gd name="T52" fmla="*/ 154 w 970"/>
                <a:gd name="T53" fmla="*/ 248 h 576"/>
                <a:gd name="T54" fmla="*/ 154 w 970"/>
                <a:gd name="T55" fmla="*/ 262 h 576"/>
                <a:gd name="T56" fmla="*/ 138 w 970"/>
                <a:gd name="T57" fmla="*/ 264 h 576"/>
                <a:gd name="T58" fmla="*/ 108 w 970"/>
                <a:gd name="T59" fmla="*/ 270 h 576"/>
                <a:gd name="T60" fmla="*/ 80 w 970"/>
                <a:gd name="T61" fmla="*/ 282 h 576"/>
                <a:gd name="T62" fmla="*/ 56 w 970"/>
                <a:gd name="T63" fmla="*/ 300 h 576"/>
                <a:gd name="T64" fmla="*/ 34 w 970"/>
                <a:gd name="T65" fmla="*/ 320 h 576"/>
                <a:gd name="T66" fmla="*/ 18 w 970"/>
                <a:gd name="T67" fmla="*/ 346 h 576"/>
                <a:gd name="T68" fmla="*/ 6 w 970"/>
                <a:gd name="T69" fmla="*/ 374 h 576"/>
                <a:gd name="T70" fmla="*/ 0 w 970"/>
                <a:gd name="T71" fmla="*/ 404 h 576"/>
                <a:gd name="T72" fmla="*/ 0 w 970"/>
                <a:gd name="T73" fmla="*/ 420 h 576"/>
                <a:gd name="T74" fmla="*/ 2 w 970"/>
                <a:gd name="T75" fmla="*/ 452 h 576"/>
                <a:gd name="T76" fmla="*/ 12 w 970"/>
                <a:gd name="T77" fmla="*/ 480 h 576"/>
                <a:gd name="T78" fmla="*/ 26 w 970"/>
                <a:gd name="T79" fmla="*/ 508 h 576"/>
                <a:gd name="T80" fmla="*/ 46 w 970"/>
                <a:gd name="T81" fmla="*/ 530 h 576"/>
                <a:gd name="T82" fmla="*/ 68 w 970"/>
                <a:gd name="T83" fmla="*/ 550 h 576"/>
                <a:gd name="T84" fmla="*/ 96 w 970"/>
                <a:gd name="T85" fmla="*/ 564 h 576"/>
                <a:gd name="T86" fmla="*/ 124 w 970"/>
                <a:gd name="T87" fmla="*/ 574 h 576"/>
                <a:gd name="T88" fmla="*/ 156 w 970"/>
                <a:gd name="T89" fmla="*/ 576 h 576"/>
                <a:gd name="T90" fmla="*/ 814 w 970"/>
                <a:gd name="T91" fmla="*/ 576 h 576"/>
                <a:gd name="T92" fmla="*/ 846 w 970"/>
                <a:gd name="T93" fmla="*/ 574 h 576"/>
                <a:gd name="T94" fmla="*/ 876 w 970"/>
                <a:gd name="T95" fmla="*/ 564 h 576"/>
                <a:gd name="T96" fmla="*/ 902 w 970"/>
                <a:gd name="T97" fmla="*/ 550 h 576"/>
                <a:gd name="T98" fmla="*/ 926 w 970"/>
                <a:gd name="T99" fmla="*/ 530 h 576"/>
                <a:gd name="T100" fmla="*/ 944 w 970"/>
                <a:gd name="T101" fmla="*/ 508 h 576"/>
                <a:gd name="T102" fmla="*/ 958 w 970"/>
                <a:gd name="T103" fmla="*/ 480 h 576"/>
                <a:gd name="T104" fmla="*/ 968 w 970"/>
                <a:gd name="T105" fmla="*/ 452 h 576"/>
                <a:gd name="T106" fmla="*/ 970 w 970"/>
                <a:gd name="T107" fmla="*/ 420 h 576"/>
                <a:gd name="T108" fmla="*/ 970 w 970"/>
                <a:gd name="T109" fmla="*/ 404 h 576"/>
                <a:gd name="T110" fmla="*/ 964 w 970"/>
                <a:gd name="T111" fmla="*/ 374 h 576"/>
                <a:gd name="T112" fmla="*/ 952 w 970"/>
                <a:gd name="T113" fmla="*/ 346 h 576"/>
                <a:gd name="T114" fmla="*/ 936 w 970"/>
                <a:gd name="T115" fmla="*/ 320 h 576"/>
                <a:gd name="T116" fmla="*/ 914 w 970"/>
                <a:gd name="T117" fmla="*/ 300 h 576"/>
                <a:gd name="T118" fmla="*/ 890 w 970"/>
                <a:gd name="T119" fmla="*/ 282 h 576"/>
                <a:gd name="T120" fmla="*/ 862 w 970"/>
                <a:gd name="T121" fmla="*/ 270 h 576"/>
                <a:gd name="T122" fmla="*/ 832 w 970"/>
                <a:gd name="T123" fmla="*/ 264 h 576"/>
                <a:gd name="T124" fmla="*/ 816 w 970"/>
                <a:gd name="T125" fmla="*/ 26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0" h="576">
                  <a:moveTo>
                    <a:pt x="816" y="262"/>
                  </a:moveTo>
                  <a:lnTo>
                    <a:pt x="816" y="262"/>
                  </a:lnTo>
                  <a:lnTo>
                    <a:pt x="816" y="262"/>
                  </a:lnTo>
                  <a:lnTo>
                    <a:pt x="816" y="250"/>
                  </a:lnTo>
                  <a:lnTo>
                    <a:pt x="814" y="238"/>
                  </a:lnTo>
                  <a:lnTo>
                    <a:pt x="810" y="226"/>
                  </a:lnTo>
                  <a:lnTo>
                    <a:pt x="806" y="214"/>
                  </a:lnTo>
                  <a:lnTo>
                    <a:pt x="796" y="192"/>
                  </a:lnTo>
                  <a:lnTo>
                    <a:pt x="780" y="174"/>
                  </a:lnTo>
                  <a:lnTo>
                    <a:pt x="760" y="158"/>
                  </a:lnTo>
                  <a:lnTo>
                    <a:pt x="740" y="146"/>
                  </a:lnTo>
                  <a:lnTo>
                    <a:pt x="728" y="142"/>
                  </a:lnTo>
                  <a:lnTo>
                    <a:pt x="716" y="138"/>
                  </a:lnTo>
                  <a:lnTo>
                    <a:pt x="704" y="136"/>
                  </a:lnTo>
                  <a:lnTo>
                    <a:pt x="690" y="136"/>
                  </a:lnTo>
                  <a:lnTo>
                    <a:pt x="690" y="136"/>
                  </a:lnTo>
                  <a:lnTo>
                    <a:pt x="674" y="138"/>
                  </a:lnTo>
                  <a:lnTo>
                    <a:pt x="658" y="140"/>
                  </a:lnTo>
                  <a:lnTo>
                    <a:pt x="644" y="144"/>
                  </a:lnTo>
                  <a:lnTo>
                    <a:pt x="630" y="152"/>
                  </a:lnTo>
                  <a:lnTo>
                    <a:pt x="630" y="152"/>
                  </a:lnTo>
                  <a:lnTo>
                    <a:pt x="622" y="134"/>
                  </a:lnTo>
                  <a:lnTo>
                    <a:pt x="614" y="120"/>
                  </a:lnTo>
                  <a:lnTo>
                    <a:pt x="604" y="104"/>
                  </a:lnTo>
                  <a:lnTo>
                    <a:pt x="594" y="90"/>
                  </a:lnTo>
                  <a:lnTo>
                    <a:pt x="582" y="76"/>
                  </a:lnTo>
                  <a:lnTo>
                    <a:pt x="568" y="64"/>
                  </a:lnTo>
                  <a:lnTo>
                    <a:pt x="554" y="52"/>
                  </a:lnTo>
                  <a:lnTo>
                    <a:pt x="540" y="42"/>
                  </a:lnTo>
                  <a:lnTo>
                    <a:pt x="526" y="32"/>
                  </a:lnTo>
                  <a:lnTo>
                    <a:pt x="510" y="24"/>
                  </a:lnTo>
                  <a:lnTo>
                    <a:pt x="492" y="16"/>
                  </a:lnTo>
                  <a:lnTo>
                    <a:pt x="476" y="10"/>
                  </a:lnTo>
                  <a:lnTo>
                    <a:pt x="458" y="6"/>
                  </a:lnTo>
                  <a:lnTo>
                    <a:pt x="440" y="2"/>
                  </a:lnTo>
                  <a:lnTo>
                    <a:pt x="420" y="0"/>
                  </a:lnTo>
                  <a:lnTo>
                    <a:pt x="402" y="0"/>
                  </a:lnTo>
                  <a:lnTo>
                    <a:pt x="402" y="0"/>
                  </a:lnTo>
                  <a:lnTo>
                    <a:pt x="376" y="0"/>
                  </a:lnTo>
                  <a:lnTo>
                    <a:pt x="352" y="4"/>
                  </a:lnTo>
                  <a:lnTo>
                    <a:pt x="328" y="10"/>
                  </a:lnTo>
                  <a:lnTo>
                    <a:pt x="306" y="20"/>
                  </a:lnTo>
                  <a:lnTo>
                    <a:pt x="284" y="30"/>
                  </a:lnTo>
                  <a:lnTo>
                    <a:pt x="264" y="42"/>
                  </a:lnTo>
                  <a:lnTo>
                    <a:pt x="244" y="56"/>
                  </a:lnTo>
                  <a:lnTo>
                    <a:pt x="226" y="72"/>
                  </a:lnTo>
                  <a:lnTo>
                    <a:pt x="210" y="90"/>
                  </a:lnTo>
                  <a:lnTo>
                    <a:pt x="196" y="108"/>
                  </a:lnTo>
                  <a:lnTo>
                    <a:pt x="184" y="130"/>
                  </a:lnTo>
                  <a:lnTo>
                    <a:pt x="174" y="150"/>
                  </a:lnTo>
                  <a:lnTo>
                    <a:pt x="166" y="174"/>
                  </a:lnTo>
                  <a:lnTo>
                    <a:pt x="158" y="198"/>
                  </a:lnTo>
                  <a:lnTo>
                    <a:pt x="156" y="222"/>
                  </a:lnTo>
                  <a:lnTo>
                    <a:pt x="154" y="248"/>
                  </a:lnTo>
                  <a:lnTo>
                    <a:pt x="154" y="248"/>
                  </a:lnTo>
                  <a:lnTo>
                    <a:pt x="154" y="262"/>
                  </a:lnTo>
                  <a:lnTo>
                    <a:pt x="154" y="262"/>
                  </a:lnTo>
                  <a:lnTo>
                    <a:pt x="138" y="264"/>
                  </a:lnTo>
                  <a:lnTo>
                    <a:pt x="124" y="266"/>
                  </a:lnTo>
                  <a:lnTo>
                    <a:pt x="108" y="270"/>
                  </a:lnTo>
                  <a:lnTo>
                    <a:pt x="94" y="276"/>
                  </a:lnTo>
                  <a:lnTo>
                    <a:pt x="80" y="282"/>
                  </a:lnTo>
                  <a:lnTo>
                    <a:pt x="68" y="290"/>
                  </a:lnTo>
                  <a:lnTo>
                    <a:pt x="56" y="300"/>
                  </a:lnTo>
                  <a:lnTo>
                    <a:pt x="44" y="310"/>
                  </a:lnTo>
                  <a:lnTo>
                    <a:pt x="34" y="320"/>
                  </a:lnTo>
                  <a:lnTo>
                    <a:pt x="26" y="332"/>
                  </a:lnTo>
                  <a:lnTo>
                    <a:pt x="18" y="346"/>
                  </a:lnTo>
                  <a:lnTo>
                    <a:pt x="12" y="358"/>
                  </a:lnTo>
                  <a:lnTo>
                    <a:pt x="6" y="374"/>
                  </a:lnTo>
                  <a:lnTo>
                    <a:pt x="2" y="388"/>
                  </a:lnTo>
                  <a:lnTo>
                    <a:pt x="0" y="404"/>
                  </a:lnTo>
                  <a:lnTo>
                    <a:pt x="0" y="420"/>
                  </a:lnTo>
                  <a:lnTo>
                    <a:pt x="0" y="420"/>
                  </a:lnTo>
                  <a:lnTo>
                    <a:pt x="0" y="436"/>
                  </a:lnTo>
                  <a:lnTo>
                    <a:pt x="2" y="452"/>
                  </a:lnTo>
                  <a:lnTo>
                    <a:pt x="6" y="466"/>
                  </a:lnTo>
                  <a:lnTo>
                    <a:pt x="12" y="480"/>
                  </a:lnTo>
                  <a:lnTo>
                    <a:pt x="18" y="494"/>
                  </a:lnTo>
                  <a:lnTo>
                    <a:pt x="26" y="508"/>
                  </a:lnTo>
                  <a:lnTo>
                    <a:pt x="36" y="520"/>
                  </a:lnTo>
                  <a:lnTo>
                    <a:pt x="46" y="530"/>
                  </a:lnTo>
                  <a:lnTo>
                    <a:pt x="56" y="540"/>
                  </a:lnTo>
                  <a:lnTo>
                    <a:pt x="68" y="550"/>
                  </a:lnTo>
                  <a:lnTo>
                    <a:pt x="82" y="558"/>
                  </a:lnTo>
                  <a:lnTo>
                    <a:pt x="96" y="564"/>
                  </a:lnTo>
                  <a:lnTo>
                    <a:pt x="110" y="570"/>
                  </a:lnTo>
                  <a:lnTo>
                    <a:pt x="124" y="574"/>
                  </a:lnTo>
                  <a:lnTo>
                    <a:pt x="140" y="576"/>
                  </a:lnTo>
                  <a:lnTo>
                    <a:pt x="156" y="576"/>
                  </a:lnTo>
                  <a:lnTo>
                    <a:pt x="814" y="576"/>
                  </a:lnTo>
                  <a:lnTo>
                    <a:pt x="814" y="576"/>
                  </a:lnTo>
                  <a:lnTo>
                    <a:pt x="830" y="576"/>
                  </a:lnTo>
                  <a:lnTo>
                    <a:pt x="846" y="574"/>
                  </a:lnTo>
                  <a:lnTo>
                    <a:pt x="860" y="570"/>
                  </a:lnTo>
                  <a:lnTo>
                    <a:pt x="876" y="564"/>
                  </a:lnTo>
                  <a:lnTo>
                    <a:pt x="888" y="558"/>
                  </a:lnTo>
                  <a:lnTo>
                    <a:pt x="902" y="550"/>
                  </a:lnTo>
                  <a:lnTo>
                    <a:pt x="914" y="540"/>
                  </a:lnTo>
                  <a:lnTo>
                    <a:pt x="926" y="530"/>
                  </a:lnTo>
                  <a:lnTo>
                    <a:pt x="936" y="520"/>
                  </a:lnTo>
                  <a:lnTo>
                    <a:pt x="944" y="508"/>
                  </a:lnTo>
                  <a:lnTo>
                    <a:pt x="952" y="494"/>
                  </a:lnTo>
                  <a:lnTo>
                    <a:pt x="958" y="480"/>
                  </a:lnTo>
                  <a:lnTo>
                    <a:pt x="964" y="466"/>
                  </a:lnTo>
                  <a:lnTo>
                    <a:pt x="968" y="452"/>
                  </a:lnTo>
                  <a:lnTo>
                    <a:pt x="970" y="436"/>
                  </a:lnTo>
                  <a:lnTo>
                    <a:pt x="970" y="420"/>
                  </a:lnTo>
                  <a:lnTo>
                    <a:pt x="970" y="420"/>
                  </a:lnTo>
                  <a:lnTo>
                    <a:pt x="970" y="404"/>
                  </a:lnTo>
                  <a:lnTo>
                    <a:pt x="968" y="388"/>
                  </a:lnTo>
                  <a:lnTo>
                    <a:pt x="964" y="374"/>
                  </a:lnTo>
                  <a:lnTo>
                    <a:pt x="958" y="358"/>
                  </a:lnTo>
                  <a:lnTo>
                    <a:pt x="952" y="346"/>
                  </a:lnTo>
                  <a:lnTo>
                    <a:pt x="944" y="332"/>
                  </a:lnTo>
                  <a:lnTo>
                    <a:pt x="936" y="320"/>
                  </a:lnTo>
                  <a:lnTo>
                    <a:pt x="926" y="310"/>
                  </a:lnTo>
                  <a:lnTo>
                    <a:pt x="914" y="300"/>
                  </a:lnTo>
                  <a:lnTo>
                    <a:pt x="904" y="290"/>
                  </a:lnTo>
                  <a:lnTo>
                    <a:pt x="890" y="282"/>
                  </a:lnTo>
                  <a:lnTo>
                    <a:pt x="876" y="276"/>
                  </a:lnTo>
                  <a:lnTo>
                    <a:pt x="862" y="270"/>
                  </a:lnTo>
                  <a:lnTo>
                    <a:pt x="848" y="266"/>
                  </a:lnTo>
                  <a:lnTo>
                    <a:pt x="832" y="264"/>
                  </a:lnTo>
                  <a:lnTo>
                    <a:pt x="816" y="262"/>
                  </a:lnTo>
                  <a:lnTo>
                    <a:pt x="816" y="26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14" name="Group 13"/>
          <p:cNvGrpSpPr/>
          <p:nvPr/>
        </p:nvGrpSpPr>
        <p:grpSpPr>
          <a:xfrm>
            <a:off x="4872401" y="3961963"/>
            <a:ext cx="3635441" cy="1015238"/>
            <a:chOff x="6438900" y="5282617"/>
            <a:chExt cx="4847255" cy="1353650"/>
          </a:xfrm>
        </p:grpSpPr>
        <p:sp>
          <p:nvSpPr>
            <p:cNvPr id="41" name="Oval 40"/>
            <p:cNvSpPr/>
            <p:nvPr/>
          </p:nvSpPr>
          <p:spPr>
            <a:xfrm>
              <a:off x="6438900" y="5282617"/>
              <a:ext cx="1353650" cy="1353650"/>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43" name="Oval 42"/>
            <p:cNvSpPr/>
            <p:nvPr/>
          </p:nvSpPr>
          <p:spPr>
            <a:xfrm>
              <a:off x="8185702" y="5282617"/>
              <a:ext cx="1353650" cy="1353650"/>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45" name="Oval 44"/>
            <p:cNvSpPr/>
            <p:nvPr/>
          </p:nvSpPr>
          <p:spPr>
            <a:xfrm>
              <a:off x="9932505" y="5282617"/>
              <a:ext cx="1353650" cy="1353650"/>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3" name="Oval 2"/>
            <p:cNvSpPr/>
            <p:nvPr/>
          </p:nvSpPr>
          <p:spPr>
            <a:xfrm>
              <a:off x="6438900" y="5282617"/>
              <a:ext cx="1353650" cy="1353650"/>
            </a:xfrm>
            <a:prstGeom prst="ellipse">
              <a:avLst/>
            </a:prstGeom>
            <a:solidFill>
              <a:schemeClr val="bg1">
                <a:alpha val="5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nvGrpSpPr>
            <p:cNvPr id="30" name="Group 29"/>
            <p:cNvGrpSpPr/>
            <p:nvPr/>
          </p:nvGrpSpPr>
          <p:grpSpPr>
            <a:xfrm>
              <a:off x="6625614" y="5675045"/>
              <a:ext cx="980222" cy="568794"/>
              <a:chOff x="4118276" y="-125813"/>
              <a:chExt cx="5846021" cy="3392274"/>
            </a:xfrm>
          </p:grpSpPr>
          <p:pic>
            <p:nvPicPr>
              <p:cNvPr id="62" name="Picture 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30025" y="80176"/>
                <a:ext cx="4422521" cy="2506096"/>
              </a:xfrm>
              <a:prstGeom prst="rect">
                <a:avLst/>
              </a:prstGeom>
            </p:spPr>
          </p:pic>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18276" y="-125813"/>
                <a:ext cx="5846021" cy="3392274"/>
              </a:xfrm>
              <a:prstGeom prst="rect">
                <a:avLst/>
              </a:prstGeom>
            </p:spPr>
          </p:pic>
          <p:sp>
            <p:nvSpPr>
              <p:cNvPr id="64" name="Rectangle 63"/>
              <p:cNvSpPr/>
              <p:nvPr/>
            </p:nvSpPr>
            <p:spPr>
              <a:xfrm>
                <a:off x="6924880" y="2373211"/>
                <a:ext cx="232815" cy="153809"/>
              </a:xfrm>
              <a:prstGeom prst="rect">
                <a:avLst/>
              </a:prstGeom>
              <a:solidFill>
                <a:srgbClr val="00000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sp>
          <p:nvSpPr>
            <p:cNvPr id="37" name="Oval 36"/>
            <p:cNvSpPr/>
            <p:nvPr/>
          </p:nvSpPr>
          <p:spPr>
            <a:xfrm>
              <a:off x="8185702" y="5282617"/>
              <a:ext cx="1353650" cy="1353650"/>
            </a:xfrm>
            <a:prstGeom prst="ellipse">
              <a:avLst/>
            </a:prstGeom>
            <a:solidFill>
              <a:schemeClr val="bg1">
                <a:alpha val="5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nvGrpSpPr>
            <p:cNvPr id="31" name="Group 30"/>
            <p:cNvGrpSpPr/>
            <p:nvPr/>
          </p:nvGrpSpPr>
          <p:grpSpPr>
            <a:xfrm>
              <a:off x="8372416" y="5675045"/>
              <a:ext cx="980222" cy="568794"/>
              <a:chOff x="504487" y="-656182"/>
              <a:chExt cx="5846021" cy="3392274"/>
            </a:xfrm>
          </p:grpSpPr>
          <p:pic>
            <p:nvPicPr>
              <p:cNvPr id="59" name="Picture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0666" y="-433565"/>
                <a:ext cx="4409905" cy="2419851"/>
              </a:xfrm>
              <a:prstGeom prst="rect">
                <a:avLst/>
              </a:prstGeom>
            </p:spPr>
          </p:pic>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4487" y="-656182"/>
                <a:ext cx="5846021" cy="3392274"/>
              </a:xfrm>
              <a:prstGeom prst="rect">
                <a:avLst/>
              </a:prstGeom>
            </p:spPr>
          </p:pic>
          <p:sp>
            <p:nvSpPr>
              <p:cNvPr id="61" name="Rectangle 60"/>
              <p:cNvSpPr/>
              <p:nvPr/>
            </p:nvSpPr>
            <p:spPr>
              <a:xfrm>
                <a:off x="3320701" y="1822693"/>
                <a:ext cx="232815" cy="153809"/>
              </a:xfrm>
              <a:prstGeom prst="rect">
                <a:avLst/>
              </a:prstGeom>
              <a:solidFill>
                <a:srgbClr val="00000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sp>
          <p:nvSpPr>
            <p:cNvPr id="38" name="Oval 37"/>
            <p:cNvSpPr/>
            <p:nvPr/>
          </p:nvSpPr>
          <p:spPr>
            <a:xfrm>
              <a:off x="9932505" y="5282617"/>
              <a:ext cx="1353650" cy="1353650"/>
            </a:xfrm>
            <a:prstGeom prst="ellipse">
              <a:avLst/>
            </a:prstGeom>
            <a:solidFill>
              <a:schemeClr val="bg1">
                <a:alpha val="5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nvGrpSpPr>
            <p:cNvPr id="50" name="Group 49"/>
            <p:cNvGrpSpPr/>
            <p:nvPr/>
          </p:nvGrpSpPr>
          <p:grpSpPr>
            <a:xfrm>
              <a:off x="10119219" y="5675045"/>
              <a:ext cx="980222" cy="568794"/>
              <a:chOff x="5537852" y="685800"/>
              <a:chExt cx="5846021" cy="3392274"/>
            </a:xfrm>
          </p:grpSpPr>
          <p:grpSp>
            <p:nvGrpSpPr>
              <p:cNvPr id="52" name="Group 51"/>
              <p:cNvGrpSpPr/>
              <p:nvPr/>
            </p:nvGrpSpPr>
            <p:grpSpPr>
              <a:xfrm>
                <a:off x="5537852" y="685800"/>
                <a:ext cx="5846021" cy="3392274"/>
                <a:chOff x="5316119" y="702343"/>
                <a:chExt cx="3928302" cy="2279478"/>
              </a:xfrm>
            </p:grpSpPr>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68062" y="826724"/>
                  <a:ext cx="2814761" cy="1549467"/>
                </a:xfrm>
                <a:prstGeom prst="rect">
                  <a:avLst/>
                </a:prstGeom>
              </p:spPr>
            </p:pic>
            <p:pic>
              <p:nvPicPr>
                <p:cNvPr id="58" name="Pictur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16119" y="702343"/>
                  <a:ext cx="3928302" cy="2279478"/>
                </a:xfrm>
                <a:prstGeom prst="rect">
                  <a:avLst/>
                </a:prstGeom>
              </p:spPr>
            </p:pic>
          </p:grpSp>
          <p:sp>
            <p:nvSpPr>
              <p:cNvPr id="54" name="Rectangle 53"/>
              <p:cNvSpPr/>
              <p:nvPr/>
            </p:nvSpPr>
            <p:spPr>
              <a:xfrm>
                <a:off x="8354066" y="3164675"/>
                <a:ext cx="232815" cy="153809"/>
              </a:xfrm>
              <a:prstGeom prst="rect">
                <a:avLst/>
              </a:prstGeom>
              <a:solidFill>
                <a:srgbClr val="00000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grpSp>
    </p:spTree>
    <p:extLst>
      <p:ext uri="{BB962C8B-B14F-4D97-AF65-F5344CB8AC3E}">
        <p14:creationId xmlns:p14="http://schemas.microsoft.com/office/powerpoint/2010/main" val="19561233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次世代」ソリューションを簡単に管理</a:t>
            </a:r>
            <a:endParaRPr lang="en-US" dirty="0"/>
          </a:p>
        </p:txBody>
      </p:sp>
      <p:cxnSp>
        <p:nvCxnSpPr>
          <p:cNvPr id="3" name="Straight Connector 2"/>
          <p:cNvCxnSpPr/>
          <p:nvPr/>
        </p:nvCxnSpPr>
        <p:spPr>
          <a:xfrm flipH="1" flipV="1">
            <a:off x="2338072" y="2842177"/>
            <a:ext cx="388489" cy="391488"/>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flipH="1" flipV="1">
            <a:off x="2895725" y="2450519"/>
            <a:ext cx="1" cy="711483"/>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V="1">
            <a:off x="3087400" y="2803387"/>
            <a:ext cx="448891" cy="452357"/>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p:cNvCxnSpPr>
            <a:endCxn id="244" idx="4"/>
          </p:cNvCxnSpPr>
          <p:nvPr/>
        </p:nvCxnSpPr>
        <p:spPr>
          <a:xfrm flipV="1">
            <a:off x="2895725" y="3563839"/>
            <a:ext cx="0" cy="173576"/>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2418193" y="1400532"/>
            <a:ext cx="955063" cy="955063"/>
          </a:xfrm>
          <a:prstGeom prst="ellipse">
            <a:avLst/>
          </a:prstGeom>
          <a:solidFill>
            <a:schemeClr val="accent1"/>
          </a:solidFill>
          <a:ln w="38100" cap="flat" cmpd="sng" algn="ctr">
            <a:solidFill>
              <a:srgbClr val="FFFFFF"/>
            </a:solidFill>
            <a:prstDash val="solid"/>
          </a:ln>
          <a:effectLst/>
        </p:spPr>
        <p:txBody>
          <a:bodyPr lIns="68580" tIns="34290" rIns="68580" bIns="34290" rtlCol="0" anchor="ctr"/>
          <a:lstStyle/>
          <a:p>
            <a:pPr algn="ctr" defTabSz="685800" fontAlgn="auto">
              <a:spcBef>
                <a:spcPts val="0"/>
              </a:spcBef>
              <a:spcAft>
                <a:spcPts val="0"/>
              </a:spcAft>
              <a:defRPr/>
            </a:pPr>
            <a:endParaRPr lang="en-US" sz="1400" b="1" kern="0" dirty="0">
              <a:solidFill>
                <a:srgbClr val="FFFFFF"/>
              </a:solidFill>
              <a:ea typeface="+mn-ea"/>
              <a:cs typeface="+mn-cs"/>
            </a:endParaRPr>
          </a:p>
        </p:txBody>
      </p:sp>
      <p:sp>
        <p:nvSpPr>
          <p:cNvPr id="8" name="Freeform 13"/>
          <p:cNvSpPr>
            <a:spLocks noEditPoints="1"/>
          </p:cNvSpPr>
          <p:nvPr/>
        </p:nvSpPr>
        <p:spPr bwMode="auto">
          <a:xfrm>
            <a:off x="2653587" y="1605530"/>
            <a:ext cx="489814" cy="430544"/>
          </a:xfrm>
          <a:custGeom>
            <a:avLst/>
            <a:gdLst>
              <a:gd name="T0" fmla="*/ 1470 w 2149"/>
              <a:gd name="T1" fmla="*/ 1624 h 1910"/>
              <a:gd name="T2" fmla="*/ 1662 w 2149"/>
              <a:gd name="T3" fmla="*/ 1656 h 1910"/>
              <a:gd name="T4" fmla="*/ 1496 w 2149"/>
              <a:gd name="T5" fmla="*/ 1895 h 1910"/>
              <a:gd name="T6" fmla="*/ 1677 w 2149"/>
              <a:gd name="T7" fmla="*/ 1895 h 1910"/>
              <a:gd name="T8" fmla="*/ 703 w 2149"/>
              <a:gd name="T9" fmla="*/ 1314 h 1910"/>
              <a:gd name="T10" fmla="*/ 389 w 2149"/>
              <a:gd name="T11" fmla="*/ 1074 h 1910"/>
              <a:gd name="T12" fmla="*/ 389 w 2149"/>
              <a:gd name="T13" fmla="*/ 1329 h 1910"/>
              <a:gd name="T14" fmla="*/ 990 w 2149"/>
              <a:gd name="T15" fmla="*/ 1624 h 1910"/>
              <a:gd name="T16" fmla="*/ 1303 w 2149"/>
              <a:gd name="T17" fmla="*/ 1560 h 1910"/>
              <a:gd name="T18" fmla="*/ 990 w 2149"/>
              <a:gd name="T19" fmla="*/ 1369 h 1910"/>
              <a:gd name="T20" fmla="*/ 990 w 2149"/>
              <a:gd name="T21" fmla="*/ 1624 h 1910"/>
              <a:gd name="T22" fmla="*/ 1032 w 2149"/>
              <a:gd name="T23" fmla="*/ 1093 h 1910"/>
              <a:gd name="T24" fmla="*/ 748 w 2149"/>
              <a:gd name="T25" fmla="*/ 1090 h 1910"/>
              <a:gd name="T26" fmla="*/ 1062 w 2149"/>
              <a:gd name="T27" fmla="*/ 1329 h 1910"/>
              <a:gd name="T28" fmla="*/ 1037 w 2149"/>
              <a:gd name="T29" fmla="*/ 1042 h 1910"/>
              <a:gd name="T30" fmla="*/ 1049 w 2149"/>
              <a:gd name="T31" fmla="*/ 983 h 1910"/>
              <a:gd name="T32" fmla="*/ 1099 w 2149"/>
              <a:gd name="T33" fmla="*/ 788 h 1910"/>
              <a:gd name="T34" fmla="*/ 974 w 2149"/>
              <a:gd name="T35" fmla="*/ 1027 h 1910"/>
              <a:gd name="T36" fmla="*/ 227 w 2149"/>
              <a:gd name="T37" fmla="*/ 1385 h 1910"/>
              <a:gd name="T38" fmla="*/ 541 w 2149"/>
              <a:gd name="T39" fmla="*/ 1624 h 1910"/>
              <a:gd name="T40" fmla="*/ 541 w 2149"/>
              <a:gd name="T41" fmla="*/ 1369 h 1910"/>
              <a:gd name="T42" fmla="*/ 914 w 2149"/>
              <a:gd name="T43" fmla="*/ 1042 h 1910"/>
              <a:gd name="T44" fmla="*/ 914 w 2149"/>
              <a:gd name="T45" fmla="*/ 788 h 1910"/>
              <a:gd name="T46" fmla="*/ 601 w 2149"/>
              <a:gd name="T47" fmla="*/ 1027 h 1910"/>
              <a:gd name="T48" fmla="*/ 0 w 2149"/>
              <a:gd name="T49" fmla="*/ 1385 h 1910"/>
              <a:gd name="T50" fmla="*/ 167 w 2149"/>
              <a:gd name="T51" fmla="*/ 1624 h 1910"/>
              <a:gd name="T52" fmla="*/ 167 w 2149"/>
              <a:gd name="T53" fmla="*/ 1369 h 1910"/>
              <a:gd name="T54" fmla="*/ 541 w 2149"/>
              <a:gd name="T55" fmla="*/ 1042 h 1910"/>
              <a:gd name="T56" fmla="*/ 541 w 2149"/>
              <a:gd name="T57" fmla="*/ 788 h 1910"/>
              <a:gd name="T58" fmla="*/ 227 w 2149"/>
              <a:gd name="T59" fmla="*/ 1027 h 1910"/>
              <a:gd name="T60" fmla="*/ 167 w 2149"/>
              <a:gd name="T61" fmla="*/ 1042 h 1910"/>
              <a:gd name="T62" fmla="*/ 167 w 2149"/>
              <a:gd name="T63" fmla="*/ 788 h 1910"/>
              <a:gd name="T64" fmla="*/ 0 w 2149"/>
              <a:gd name="T65" fmla="*/ 1027 h 1910"/>
              <a:gd name="T66" fmla="*/ 914 w 2149"/>
              <a:gd name="T67" fmla="*/ 1624 h 1910"/>
              <a:gd name="T68" fmla="*/ 914 w 2149"/>
              <a:gd name="T69" fmla="*/ 1369 h 1910"/>
              <a:gd name="T70" fmla="*/ 601 w 2149"/>
              <a:gd name="T71" fmla="*/ 1609 h 1910"/>
              <a:gd name="T72" fmla="*/ 1137 w 2149"/>
              <a:gd name="T73" fmla="*/ 1656 h 1910"/>
              <a:gd name="T74" fmla="*/ 1137 w 2149"/>
              <a:gd name="T75" fmla="*/ 1910 h 1910"/>
              <a:gd name="T76" fmla="*/ 1451 w 2149"/>
              <a:gd name="T77" fmla="*/ 1671 h 1910"/>
              <a:gd name="T78" fmla="*/ 314 w 2149"/>
              <a:gd name="T79" fmla="*/ 1329 h 1910"/>
              <a:gd name="T80" fmla="*/ 314 w 2149"/>
              <a:gd name="T81" fmla="*/ 1074 h 1910"/>
              <a:gd name="T82" fmla="*/ 0 w 2149"/>
              <a:gd name="T83" fmla="*/ 1314 h 1910"/>
              <a:gd name="T84" fmla="*/ 389 w 2149"/>
              <a:gd name="T85" fmla="*/ 1656 h 1910"/>
              <a:gd name="T86" fmla="*/ 389 w 2149"/>
              <a:gd name="T87" fmla="*/ 1910 h 1910"/>
              <a:gd name="T88" fmla="*/ 703 w 2149"/>
              <a:gd name="T89" fmla="*/ 1671 h 1910"/>
              <a:gd name="T90" fmla="*/ 16 w 2149"/>
              <a:gd name="T91" fmla="*/ 1656 h 1910"/>
              <a:gd name="T92" fmla="*/ 16 w 2149"/>
              <a:gd name="T93" fmla="*/ 1910 h 1910"/>
              <a:gd name="T94" fmla="*/ 329 w 2149"/>
              <a:gd name="T95" fmla="*/ 1671 h 1910"/>
              <a:gd name="T96" fmla="*/ 763 w 2149"/>
              <a:gd name="T97" fmla="*/ 1656 h 1910"/>
              <a:gd name="T98" fmla="*/ 763 w 2149"/>
              <a:gd name="T99" fmla="*/ 1910 h 1910"/>
              <a:gd name="T100" fmla="*/ 1077 w 2149"/>
              <a:gd name="T101" fmla="*/ 1671 h 1910"/>
              <a:gd name="T102" fmla="*/ 2066 w 2149"/>
              <a:gd name="T103" fmla="*/ 755 h 1910"/>
              <a:gd name="T104" fmla="*/ 1968 w 2149"/>
              <a:gd name="T105" fmla="*/ 700 h 1910"/>
              <a:gd name="T106" fmla="*/ 1816 w 2149"/>
              <a:gd name="T107" fmla="*/ 809 h 1910"/>
              <a:gd name="T108" fmla="*/ 1616 w 2149"/>
              <a:gd name="T109" fmla="*/ 347 h 1910"/>
              <a:gd name="T110" fmla="*/ 1429 w 2149"/>
              <a:gd name="T111" fmla="*/ 558 h 1910"/>
              <a:gd name="T112" fmla="*/ 1348 w 2149"/>
              <a:gd name="T113" fmla="*/ 846 h 1910"/>
              <a:gd name="T114" fmla="*/ 1283 w 2149"/>
              <a:gd name="T115" fmla="*/ 788 h 1910"/>
              <a:gd name="T116" fmla="*/ 1175 w 2149"/>
              <a:gd name="T117" fmla="*/ 700 h 1910"/>
              <a:gd name="T118" fmla="*/ 1121 w 2149"/>
              <a:gd name="T119" fmla="*/ 1005 h 1910"/>
              <a:gd name="T120" fmla="*/ 1122 w 2149"/>
              <a:gd name="T121" fmla="*/ 1210 h 1910"/>
              <a:gd name="T122" fmla="*/ 1303 w 2149"/>
              <a:gd name="T123" fmla="*/ 1471 h 1910"/>
              <a:gd name="T124" fmla="*/ 1677 w 2149"/>
              <a:gd name="T125" fmla="*/ 1563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9" h="1910">
                <a:moveTo>
                  <a:pt x="1348" y="1609"/>
                </a:moveTo>
                <a:cubicBezTo>
                  <a:pt x="1348" y="1617"/>
                  <a:pt x="1355" y="1624"/>
                  <a:pt x="1363" y="1624"/>
                </a:cubicBezTo>
                <a:cubicBezTo>
                  <a:pt x="1470" y="1624"/>
                  <a:pt x="1470" y="1624"/>
                  <a:pt x="1470" y="1624"/>
                </a:cubicBezTo>
                <a:cubicBezTo>
                  <a:pt x="1427" y="1614"/>
                  <a:pt x="1387" y="1600"/>
                  <a:pt x="1348" y="1583"/>
                </a:cubicBezTo>
                <a:lnTo>
                  <a:pt x="1348" y="1609"/>
                </a:lnTo>
                <a:close/>
                <a:moveTo>
                  <a:pt x="1662" y="1656"/>
                </a:moveTo>
                <a:cubicBezTo>
                  <a:pt x="1511" y="1656"/>
                  <a:pt x="1511" y="1656"/>
                  <a:pt x="1511" y="1656"/>
                </a:cubicBezTo>
                <a:cubicBezTo>
                  <a:pt x="1502" y="1656"/>
                  <a:pt x="1496" y="1663"/>
                  <a:pt x="1496" y="1671"/>
                </a:cubicBezTo>
                <a:cubicBezTo>
                  <a:pt x="1496" y="1895"/>
                  <a:pt x="1496" y="1895"/>
                  <a:pt x="1496" y="1895"/>
                </a:cubicBezTo>
                <a:cubicBezTo>
                  <a:pt x="1496" y="1904"/>
                  <a:pt x="1502" y="1910"/>
                  <a:pt x="1511" y="1910"/>
                </a:cubicBezTo>
                <a:cubicBezTo>
                  <a:pt x="1662" y="1910"/>
                  <a:pt x="1662" y="1910"/>
                  <a:pt x="1662" y="1910"/>
                </a:cubicBezTo>
                <a:cubicBezTo>
                  <a:pt x="1670" y="1910"/>
                  <a:pt x="1677" y="1904"/>
                  <a:pt x="1677" y="1895"/>
                </a:cubicBezTo>
                <a:cubicBezTo>
                  <a:pt x="1677" y="1671"/>
                  <a:pt x="1677" y="1671"/>
                  <a:pt x="1677" y="1671"/>
                </a:cubicBezTo>
                <a:cubicBezTo>
                  <a:pt x="1677" y="1663"/>
                  <a:pt x="1670" y="1656"/>
                  <a:pt x="1662" y="1656"/>
                </a:cubicBezTo>
                <a:close/>
                <a:moveTo>
                  <a:pt x="703" y="1314"/>
                </a:moveTo>
                <a:cubicBezTo>
                  <a:pt x="703" y="1090"/>
                  <a:pt x="703" y="1090"/>
                  <a:pt x="703" y="1090"/>
                </a:cubicBezTo>
                <a:cubicBezTo>
                  <a:pt x="703" y="1081"/>
                  <a:pt x="696" y="1074"/>
                  <a:pt x="688" y="1074"/>
                </a:cubicBezTo>
                <a:cubicBezTo>
                  <a:pt x="389" y="1074"/>
                  <a:pt x="389" y="1074"/>
                  <a:pt x="389" y="1074"/>
                </a:cubicBezTo>
                <a:cubicBezTo>
                  <a:pt x="381" y="1074"/>
                  <a:pt x="374" y="1081"/>
                  <a:pt x="374" y="1090"/>
                </a:cubicBezTo>
                <a:cubicBezTo>
                  <a:pt x="374" y="1314"/>
                  <a:pt x="374" y="1314"/>
                  <a:pt x="374" y="1314"/>
                </a:cubicBezTo>
                <a:cubicBezTo>
                  <a:pt x="374" y="1322"/>
                  <a:pt x="381" y="1329"/>
                  <a:pt x="389" y="1329"/>
                </a:cubicBezTo>
                <a:cubicBezTo>
                  <a:pt x="688" y="1329"/>
                  <a:pt x="688" y="1329"/>
                  <a:pt x="688" y="1329"/>
                </a:cubicBezTo>
                <a:cubicBezTo>
                  <a:pt x="696" y="1329"/>
                  <a:pt x="703" y="1322"/>
                  <a:pt x="703" y="1314"/>
                </a:cubicBezTo>
                <a:close/>
                <a:moveTo>
                  <a:pt x="990" y="1624"/>
                </a:moveTo>
                <a:cubicBezTo>
                  <a:pt x="1288" y="1624"/>
                  <a:pt x="1288" y="1624"/>
                  <a:pt x="1288" y="1624"/>
                </a:cubicBezTo>
                <a:cubicBezTo>
                  <a:pt x="1297" y="1624"/>
                  <a:pt x="1303" y="1617"/>
                  <a:pt x="1303" y="1609"/>
                </a:cubicBezTo>
                <a:cubicBezTo>
                  <a:pt x="1303" y="1560"/>
                  <a:pt x="1303" y="1560"/>
                  <a:pt x="1303" y="1560"/>
                </a:cubicBezTo>
                <a:cubicBezTo>
                  <a:pt x="1269" y="1540"/>
                  <a:pt x="1238" y="1518"/>
                  <a:pt x="1209" y="1493"/>
                </a:cubicBezTo>
                <a:cubicBezTo>
                  <a:pt x="1168" y="1456"/>
                  <a:pt x="1134" y="1415"/>
                  <a:pt x="1107" y="1369"/>
                </a:cubicBezTo>
                <a:cubicBezTo>
                  <a:pt x="990" y="1369"/>
                  <a:pt x="990" y="1369"/>
                  <a:pt x="990" y="1369"/>
                </a:cubicBezTo>
                <a:cubicBezTo>
                  <a:pt x="981" y="1369"/>
                  <a:pt x="974" y="1376"/>
                  <a:pt x="974" y="1385"/>
                </a:cubicBezTo>
                <a:cubicBezTo>
                  <a:pt x="974" y="1609"/>
                  <a:pt x="974" y="1609"/>
                  <a:pt x="974" y="1609"/>
                </a:cubicBezTo>
                <a:cubicBezTo>
                  <a:pt x="974" y="1617"/>
                  <a:pt x="981" y="1624"/>
                  <a:pt x="990" y="1624"/>
                </a:cubicBezTo>
                <a:close/>
                <a:moveTo>
                  <a:pt x="1077" y="1314"/>
                </a:moveTo>
                <a:cubicBezTo>
                  <a:pt x="1077" y="1311"/>
                  <a:pt x="1077" y="1311"/>
                  <a:pt x="1077" y="1311"/>
                </a:cubicBezTo>
                <a:cubicBezTo>
                  <a:pt x="1048" y="1244"/>
                  <a:pt x="1032" y="1171"/>
                  <a:pt x="1032" y="1093"/>
                </a:cubicBezTo>
                <a:cubicBezTo>
                  <a:pt x="1032" y="1087"/>
                  <a:pt x="1033" y="1081"/>
                  <a:pt x="1033" y="1074"/>
                </a:cubicBezTo>
                <a:cubicBezTo>
                  <a:pt x="763" y="1074"/>
                  <a:pt x="763" y="1074"/>
                  <a:pt x="763" y="1074"/>
                </a:cubicBezTo>
                <a:cubicBezTo>
                  <a:pt x="755" y="1074"/>
                  <a:pt x="748" y="1081"/>
                  <a:pt x="748" y="1090"/>
                </a:cubicBezTo>
                <a:cubicBezTo>
                  <a:pt x="748" y="1314"/>
                  <a:pt x="748" y="1314"/>
                  <a:pt x="748" y="1314"/>
                </a:cubicBezTo>
                <a:cubicBezTo>
                  <a:pt x="748" y="1322"/>
                  <a:pt x="755" y="1329"/>
                  <a:pt x="763" y="1329"/>
                </a:cubicBezTo>
                <a:cubicBezTo>
                  <a:pt x="1062" y="1329"/>
                  <a:pt x="1062" y="1329"/>
                  <a:pt x="1062" y="1329"/>
                </a:cubicBezTo>
                <a:cubicBezTo>
                  <a:pt x="1070" y="1329"/>
                  <a:pt x="1077" y="1322"/>
                  <a:pt x="1077" y="1314"/>
                </a:cubicBezTo>
                <a:close/>
                <a:moveTo>
                  <a:pt x="990" y="1042"/>
                </a:moveTo>
                <a:cubicBezTo>
                  <a:pt x="1037" y="1042"/>
                  <a:pt x="1037" y="1042"/>
                  <a:pt x="1037" y="1042"/>
                </a:cubicBezTo>
                <a:cubicBezTo>
                  <a:pt x="1041" y="1013"/>
                  <a:pt x="1047" y="989"/>
                  <a:pt x="1048" y="985"/>
                </a:cubicBezTo>
                <a:cubicBezTo>
                  <a:pt x="1048" y="985"/>
                  <a:pt x="1048" y="984"/>
                  <a:pt x="1049" y="984"/>
                </a:cubicBezTo>
                <a:cubicBezTo>
                  <a:pt x="1049" y="983"/>
                  <a:pt x="1049" y="983"/>
                  <a:pt x="1049" y="983"/>
                </a:cubicBezTo>
                <a:cubicBezTo>
                  <a:pt x="1049" y="982"/>
                  <a:pt x="1049" y="982"/>
                  <a:pt x="1049" y="981"/>
                </a:cubicBezTo>
                <a:cubicBezTo>
                  <a:pt x="1053" y="966"/>
                  <a:pt x="1059" y="947"/>
                  <a:pt x="1065" y="926"/>
                </a:cubicBezTo>
                <a:cubicBezTo>
                  <a:pt x="1077" y="887"/>
                  <a:pt x="1093" y="836"/>
                  <a:pt x="1099" y="788"/>
                </a:cubicBezTo>
                <a:cubicBezTo>
                  <a:pt x="990" y="788"/>
                  <a:pt x="990" y="788"/>
                  <a:pt x="990" y="788"/>
                </a:cubicBezTo>
                <a:cubicBezTo>
                  <a:pt x="981" y="788"/>
                  <a:pt x="974" y="795"/>
                  <a:pt x="974" y="803"/>
                </a:cubicBezTo>
                <a:cubicBezTo>
                  <a:pt x="974" y="1027"/>
                  <a:pt x="974" y="1027"/>
                  <a:pt x="974" y="1027"/>
                </a:cubicBezTo>
                <a:cubicBezTo>
                  <a:pt x="974" y="1035"/>
                  <a:pt x="981" y="1042"/>
                  <a:pt x="990" y="1042"/>
                </a:cubicBezTo>
                <a:close/>
                <a:moveTo>
                  <a:pt x="242" y="1369"/>
                </a:moveTo>
                <a:cubicBezTo>
                  <a:pt x="234" y="1369"/>
                  <a:pt x="227" y="1376"/>
                  <a:pt x="227" y="1385"/>
                </a:cubicBezTo>
                <a:cubicBezTo>
                  <a:pt x="227" y="1609"/>
                  <a:pt x="227" y="1609"/>
                  <a:pt x="227" y="1609"/>
                </a:cubicBezTo>
                <a:cubicBezTo>
                  <a:pt x="227" y="1617"/>
                  <a:pt x="234" y="1624"/>
                  <a:pt x="242" y="1624"/>
                </a:cubicBezTo>
                <a:cubicBezTo>
                  <a:pt x="541" y="1624"/>
                  <a:pt x="541" y="1624"/>
                  <a:pt x="541" y="1624"/>
                </a:cubicBezTo>
                <a:cubicBezTo>
                  <a:pt x="549" y="1624"/>
                  <a:pt x="556" y="1617"/>
                  <a:pt x="556" y="1609"/>
                </a:cubicBezTo>
                <a:cubicBezTo>
                  <a:pt x="556" y="1385"/>
                  <a:pt x="556" y="1385"/>
                  <a:pt x="556" y="1385"/>
                </a:cubicBezTo>
                <a:cubicBezTo>
                  <a:pt x="556" y="1376"/>
                  <a:pt x="549" y="1369"/>
                  <a:pt x="541" y="1369"/>
                </a:cubicBezTo>
                <a:lnTo>
                  <a:pt x="242" y="1369"/>
                </a:lnTo>
                <a:close/>
                <a:moveTo>
                  <a:pt x="616" y="1042"/>
                </a:moveTo>
                <a:cubicBezTo>
                  <a:pt x="914" y="1042"/>
                  <a:pt x="914" y="1042"/>
                  <a:pt x="914" y="1042"/>
                </a:cubicBezTo>
                <a:cubicBezTo>
                  <a:pt x="923" y="1042"/>
                  <a:pt x="930" y="1035"/>
                  <a:pt x="930" y="1027"/>
                </a:cubicBezTo>
                <a:cubicBezTo>
                  <a:pt x="930" y="803"/>
                  <a:pt x="930" y="803"/>
                  <a:pt x="930" y="803"/>
                </a:cubicBezTo>
                <a:cubicBezTo>
                  <a:pt x="930" y="795"/>
                  <a:pt x="923" y="788"/>
                  <a:pt x="914" y="788"/>
                </a:cubicBezTo>
                <a:cubicBezTo>
                  <a:pt x="616" y="788"/>
                  <a:pt x="616" y="788"/>
                  <a:pt x="616" y="788"/>
                </a:cubicBezTo>
                <a:cubicBezTo>
                  <a:pt x="607" y="788"/>
                  <a:pt x="601" y="795"/>
                  <a:pt x="601" y="803"/>
                </a:cubicBezTo>
                <a:cubicBezTo>
                  <a:pt x="601" y="1027"/>
                  <a:pt x="601" y="1027"/>
                  <a:pt x="601" y="1027"/>
                </a:cubicBezTo>
                <a:cubicBezTo>
                  <a:pt x="601" y="1035"/>
                  <a:pt x="607" y="1042"/>
                  <a:pt x="616" y="1042"/>
                </a:cubicBezTo>
                <a:close/>
                <a:moveTo>
                  <a:pt x="16" y="1369"/>
                </a:moveTo>
                <a:cubicBezTo>
                  <a:pt x="7" y="1369"/>
                  <a:pt x="0" y="1376"/>
                  <a:pt x="0" y="1385"/>
                </a:cubicBezTo>
                <a:cubicBezTo>
                  <a:pt x="0" y="1609"/>
                  <a:pt x="0" y="1609"/>
                  <a:pt x="0" y="1609"/>
                </a:cubicBezTo>
                <a:cubicBezTo>
                  <a:pt x="0" y="1617"/>
                  <a:pt x="7" y="1624"/>
                  <a:pt x="16" y="1624"/>
                </a:cubicBezTo>
                <a:cubicBezTo>
                  <a:pt x="167" y="1624"/>
                  <a:pt x="167" y="1624"/>
                  <a:pt x="167" y="1624"/>
                </a:cubicBezTo>
                <a:cubicBezTo>
                  <a:pt x="175" y="1624"/>
                  <a:pt x="182" y="1617"/>
                  <a:pt x="182" y="1609"/>
                </a:cubicBezTo>
                <a:cubicBezTo>
                  <a:pt x="182" y="1385"/>
                  <a:pt x="182" y="1385"/>
                  <a:pt x="182" y="1385"/>
                </a:cubicBezTo>
                <a:cubicBezTo>
                  <a:pt x="182" y="1376"/>
                  <a:pt x="175" y="1369"/>
                  <a:pt x="167" y="1369"/>
                </a:cubicBezTo>
                <a:lnTo>
                  <a:pt x="16" y="1369"/>
                </a:lnTo>
                <a:close/>
                <a:moveTo>
                  <a:pt x="242" y="1042"/>
                </a:moveTo>
                <a:cubicBezTo>
                  <a:pt x="541" y="1042"/>
                  <a:pt x="541" y="1042"/>
                  <a:pt x="541" y="1042"/>
                </a:cubicBezTo>
                <a:cubicBezTo>
                  <a:pt x="549" y="1042"/>
                  <a:pt x="556" y="1035"/>
                  <a:pt x="556" y="1027"/>
                </a:cubicBezTo>
                <a:cubicBezTo>
                  <a:pt x="556" y="803"/>
                  <a:pt x="556" y="803"/>
                  <a:pt x="556" y="803"/>
                </a:cubicBezTo>
                <a:cubicBezTo>
                  <a:pt x="556" y="795"/>
                  <a:pt x="549" y="788"/>
                  <a:pt x="541" y="788"/>
                </a:cubicBezTo>
                <a:cubicBezTo>
                  <a:pt x="242" y="788"/>
                  <a:pt x="242" y="788"/>
                  <a:pt x="242" y="788"/>
                </a:cubicBezTo>
                <a:cubicBezTo>
                  <a:pt x="234" y="788"/>
                  <a:pt x="227" y="795"/>
                  <a:pt x="227" y="803"/>
                </a:cubicBezTo>
                <a:cubicBezTo>
                  <a:pt x="227" y="1027"/>
                  <a:pt x="227" y="1027"/>
                  <a:pt x="227" y="1027"/>
                </a:cubicBezTo>
                <a:cubicBezTo>
                  <a:pt x="227" y="1035"/>
                  <a:pt x="234" y="1042"/>
                  <a:pt x="242" y="1042"/>
                </a:cubicBezTo>
                <a:close/>
                <a:moveTo>
                  <a:pt x="16" y="1042"/>
                </a:moveTo>
                <a:cubicBezTo>
                  <a:pt x="167" y="1042"/>
                  <a:pt x="167" y="1042"/>
                  <a:pt x="167" y="1042"/>
                </a:cubicBezTo>
                <a:cubicBezTo>
                  <a:pt x="175" y="1042"/>
                  <a:pt x="182" y="1035"/>
                  <a:pt x="182" y="1027"/>
                </a:cubicBezTo>
                <a:cubicBezTo>
                  <a:pt x="182" y="803"/>
                  <a:pt x="182" y="803"/>
                  <a:pt x="182" y="803"/>
                </a:cubicBezTo>
                <a:cubicBezTo>
                  <a:pt x="182" y="795"/>
                  <a:pt x="175" y="788"/>
                  <a:pt x="167" y="788"/>
                </a:cubicBezTo>
                <a:cubicBezTo>
                  <a:pt x="16" y="788"/>
                  <a:pt x="16" y="788"/>
                  <a:pt x="16" y="788"/>
                </a:cubicBezTo>
                <a:cubicBezTo>
                  <a:pt x="7" y="788"/>
                  <a:pt x="0" y="795"/>
                  <a:pt x="0" y="803"/>
                </a:cubicBezTo>
                <a:cubicBezTo>
                  <a:pt x="0" y="1027"/>
                  <a:pt x="0" y="1027"/>
                  <a:pt x="0" y="1027"/>
                </a:cubicBezTo>
                <a:cubicBezTo>
                  <a:pt x="0" y="1035"/>
                  <a:pt x="7" y="1042"/>
                  <a:pt x="16" y="1042"/>
                </a:cubicBezTo>
                <a:close/>
                <a:moveTo>
                  <a:pt x="616" y="1624"/>
                </a:moveTo>
                <a:cubicBezTo>
                  <a:pt x="914" y="1624"/>
                  <a:pt x="914" y="1624"/>
                  <a:pt x="914" y="1624"/>
                </a:cubicBezTo>
                <a:cubicBezTo>
                  <a:pt x="923" y="1624"/>
                  <a:pt x="930" y="1617"/>
                  <a:pt x="930" y="1609"/>
                </a:cubicBezTo>
                <a:cubicBezTo>
                  <a:pt x="930" y="1385"/>
                  <a:pt x="930" y="1385"/>
                  <a:pt x="930" y="1385"/>
                </a:cubicBezTo>
                <a:cubicBezTo>
                  <a:pt x="930" y="1376"/>
                  <a:pt x="923" y="1369"/>
                  <a:pt x="914" y="1369"/>
                </a:cubicBezTo>
                <a:cubicBezTo>
                  <a:pt x="616" y="1369"/>
                  <a:pt x="616" y="1369"/>
                  <a:pt x="616" y="1369"/>
                </a:cubicBezTo>
                <a:cubicBezTo>
                  <a:pt x="607" y="1369"/>
                  <a:pt x="601" y="1376"/>
                  <a:pt x="601" y="1385"/>
                </a:cubicBezTo>
                <a:cubicBezTo>
                  <a:pt x="601" y="1609"/>
                  <a:pt x="601" y="1609"/>
                  <a:pt x="601" y="1609"/>
                </a:cubicBezTo>
                <a:cubicBezTo>
                  <a:pt x="601" y="1617"/>
                  <a:pt x="607" y="1624"/>
                  <a:pt x="616" y="1624"/>
                </a:cubicBezTo>
                <a:close/>
                <a:moveTo>
                  <a:pt x="1436" y="1656"/>
                </a:moveTo>
                <a:cubicBezTo>
                  <a:pt x="1137" y="1656"/>
                  <a:pt x="1137" y="1656"/>
                  <a:pt x="1137" y="1656"/>
                </a:cubicBezTo>
                <a:cubicBezTo>
                  <a:pt x="1129" y="1656"/>
                  <a:pt x="1122" y="1663"/>
                  <a:pt x="1122" y="1671"/>
                </a:cubicBezTo>
                <a:cubicBezTo>
                  <a:pt x="1122" y="1895"/>
                  <a:pt x="1122" y="1895"/>
                  <a:pt x="1122" y="1895"/>
                </a:cubicBezTo>
                <a:cubicBezTo>
                  <a:pt x="1122" y="1904"/>
                  <a:pt x="1129" y="1910"/>
                  <a:pt x="1137" y="1910"/>
                </a:cubicBezTo>
                <a:cubicBezTo>
                  <a:pt x="1436" y="1910"/>
                  <a:pt x="1436" y="1910"/>
                  <a:pt x="1436" y="1910"/>
                </a:cubicBezTo>
                <a:cubicBezTo>
                  <a:pt x="1444" y="1910"/>
                  <a:pt x="1451" y="1904"/>
                  <a:pt x="1451" y="1895"/>
                </a:cubicBezTo>
                <a:cubicBezTo>
                  <a:pt x="1451" y="1671"/>
                  <a:pt x="1451" y="1671"/>
                  <a:pt x="1451" y="1671"/>
                </a:cubicBezTo>
                <a:cubicBezTo>
                  <a:pt x="1451" y="1663"/>
                  <a:pt x="1444" y="1656"/>
                  <a:pt x="1436" y="1656"/>
                </a:cubicBezTo>
                <a:close/>
                <a:moveTo>
                  <a:pt x="16" y="1329"/>
                </a:moveTo>
                <a:cubicBezTo>
                  <a:pt x="314" y="1329"/>
                  <a:pt x="314" y="1329"/>
                  <a:pt x="314" y="1329"/>
                </a:cubicBezTo>
                <a:cubicBezTo>
                  <a:pt x="323" y="1329"/>
                  <a:pt x="329" y="1322"/>
                  <a:pt x="329" y="1314"/>
                </a:cubicBezTo>
                <a:cubicBezTo>
                  <a:pt x="329" y="1090"/>
                  <a:pt x="329" y="1090"/>
                  <a:pt x="329" y="1090"/>
                </a:cubicBezTo>
                <a:cubicBezTo>
                  <a:pt x="329" y="1081"/>
                  <a:pt x="323" y="1074"/>
                  <a:pt x="314" y="1074"/>
                </a:cubicBezTo>
                <a:cubicBezTo>
                  <a:pt x="16" y="1074"/>
                  <a:pt x="16" y="1074"/>
                  <a:pt x="16" y="1074"/>
                </a:cubicBezTo>
                <a:cubicBezTo>
                  <a:pt x="7" y="1074"/>
                  <a:pt x="0" y="1081"/>
                  <a:pt x="0" y="1090"/>
                </a:cubicBezTo>
                <a:cubicBezTo>
                  <a:pt x="0" y="1314"/>
                  <a:pt x="0" y="1314"/>
                  <a:pt x="0" y="1314"/>
                </a:cubicBezTo>
                <a:cubicBezTo>
                  <a:pt x="0" y="1322"/>
                  <a:pt x="7" y="1329"/>
                  <a:pt x="16" y="1329"/>
                </a:cubicBezTo>
                <a:close/>
                <a:moveTo>
                  <a:pt x="688" y="1656"/>
                </a:moveTo>
                <a:cubicBezTo>
                  <a:pt x="389" y="1656"/>
                  <a:pt x="389" y="1656"/>
                  <a:pt x="389" y="1656"/>
                </a:cubicBezTo>
                <a:cubicBezTo>
                  <a:pt x="381" y="1656"/>
                  <a:pt x="374" y="1663"/>
                  <a:pt x="374" y="1671"/>
                </a:cubicBezTo>
                <a:cubicBezTo>
                  <a:pt x="374" y="1895"/>
                  <a:pt x="374" y="1895"/>
                  <a:pt x="374" y="1895"/>
                </a:cubicBezTo>
                <a:cubicBezTo>
                  <a:pt x="374" y="1904"/>
                  <a:pt x="381" y="1910"/>
                  <a:pt x="389" y="1910"/>
                </a:cubicBezTo>
                <a:cubicBezTo>
                  <a:pt x="688" y="1910"/>
                  <a:pt x="688" y="1910"/>
                  <a:pt x="688" y="1910"/>
                </a:cubicBezTo>
                <a:cubicBezTo>
                  <a:pt x="696" y="1910"/>
                  <a:pt x="703" y="1904"/>
                  <a:pt x="703" y="1895"/>
                </a:cubicBezTo>
                <a:cubicBezTo>
                  <a:pt x="703" y="1671"/>
                  <a:pt x="703" y="1671"/>
                  <a:pt x="703" y="1671"/>
                </a:cubicBezTo>
                <a:cubicBezTo>
                  <a:pt x="703" y="1663"/>
                  <a:pt x="696" y="1656"/>
                  <a:pt x="688" y="1656"/>
                </a:cubicBezTo>
                <a:close/>
                <a:moveTo>
                  <a:pt x="314" y="1656"/>
                </a:moveTo>
                <a:cubicBezTo>
                  <a:pt x="16" y="1656"/>
                  <a:pt x="16" y="1656"/>
                  <a:pt x="16" y="1656"/>
                </a:cubicBezTo>
                <a:cubicBezTo>
                  <a:pt x="7" y="1656"/>
                  <a:pt x="0" y="1663"/>
                  <a:pt x="0" y="1671"/>
                </a:cubicBezTo>
                <a:cubicBezTo>
                  <a:pt x="0" y="1895"/>
                  <a:pt x="0" y="1895"/>
                  <a:pt x="0" y="1895"/>
                </a:cubicBezTo>
                <a:cubicBezTo>
                  <a:pt x="0" y="1904"/>
                  <a:pt x="7" y="1910"/>
                  <a:pt x="16" y="1910"/>
                </a:cubicBezTo>
                <a:cubicBezTo>
                  <a:pt x="314" y="1910"/>
                  <a:pt x="314" y="1910"/>
                  <a:pt x="314" y="1910"/>
                </a:cubicBezTo>
                <a:cubicBezTo>
                  <a:pt x="323" y="1910"/>
                  <a:pt x="329" y="1904"/>
                  <a:pt x="329" y="1895"/>
                </a:cubicBezTo>
                <a:cubicBezTo>
                  <a:pt x="329" y="1671"/>
                  <a:pt x="329" y="1671"/>
                  <a:pt x="329" y="1671"/>
                </a:cubicBezTo>
                <a:cubicBezTo>
                  <a:pt x="329" y="1663"/>
                  <a:pt x="323" y="1656"/>
                  <a:pt x="314" y="1656"/>
                </a:cubicBezTo>
                <a:close/>
                <a:moveTo>
                  <a:pt x="1062" y="1656"/>
                </a:moveTo>
                <a:cubicBezTo>
                  <a:pt x="763" y="1656"/>
                  <a:pt x="763" y="1656"/>
                  <a:pt x="763" y="1656"/>
                </a:cubicBezTo>
                <a:cubicBezTo>
                  <a:pt x="755" y="1656"/>
                  <a:pt x="748" y="1663"/>
                  <a:pt x="748" y="1671"/>
                </a:cubicBezTo>
                <a:cubicBezTo>
                  <a:pt x="748" y="1895"/>
                  <a:pt x="748" y="1895"/>
                  <a:pt x="748" y="1895"/>
                </a:cubicBezTo>
                <a:cubicBezTo>
                  <a:pt x="748" y="1904"/>
                  <a:pt x="755" y="1910"/>
                  <a:pt x="763" y="1910"/>
                </a:cubicBezTo>
                <a:cubicBezTo>
                  <a:pt x="1062" y="1910"/>
                  <a:pt x="1062" y="1910"/>
                  <a:pt x="1062" y="1910"/>
                </a:cubicBezTo>
                <a:cubicBezTo>
                  <a:pt x="1070" y="1910"/>
                  <a:pt x="1077" y="1904"/>
                  <a:pt x="1077" y="1895"/>
                </a:cubicBezTo>
                <a:cubicBezTo>
                  <a:pt x="1077" y="1671"/>
                  <a:pt x="1077" y="1671"/>
                  <a:pt x="1077" y="1671"/>
                </a:cubicBezTo>
                <a:cubicBezTo>
                  <a:pt x="1077" y="1663"/>
                  <a:pt x="1070" y="1656"/>
                  <a:pt x="1062" y="1656"/>
                </a:cubicBezTo>
                <a:close/>
                <a:moveTo>
                  <a:pt x="2135" y="955"/>
                </a:moveTo>
                <a:cubicBezTo>
                  <a:pt x="2125" y="887"/>
                  <a:pt x="2101" y="817"/>
                  <a:pt x="2066" y="755"/>
                </a:cubicBezTo>
                <a:cubicBezTo>
                  <a:pt x="2052" y="732"/>
                  <a:pt x="2038" y="710"/>
                  <a:pt x="2022" y="689"/>
                </a:cubicBezTo>
                <a:cubicBezTo>
                  <a:pt x="1999" y="660"/>
                  <a:pt x="1954" y="625"/>
                  <a:pt x="1917" y="615"/>
                </a:cubicBezTo>
                <a:cubicBezTo>
                  <a:pt x="1936" y="620"/>
                  <a:pt x="1963" y="682"/>
                  <a:pt x="1968" y="700"/>
                </a:cubicBezTo>
                <a:cubicBezTo>
                  <a:pt x="1975" y="720"/>
                  <a:pt x="1977" y="742"/>
                  <a:pt x="1975" y="762"/>
                </a:cubicBezTo>
                <a:cubicBezTo>
                  <a:pt x="1972" y="790"/>
                  <a:pt x="1959" y="816"/>
                  <a:pt x="1934" y="834"/>
                </a:cubicBezTo>
                <a:cubicBezTo>
                  <a:pt x="1892" y="864"/>
                  <a:pt x="1846" y="847"/>
                  <a:pt x="1816" y="809"/>
                </a:cubicBezTo>
                <a:cubicBezTo>
                  <a:pt x="1813" y="805"/>
                  <a:pt x="1810" y="801"/>
                  <a:pt x="1808" y="797"/>
                </a:cubicBezTo>
                <a:cubicBezTo>
                  <a:pt x="1781" y="755"/>
                  <a:pt x="1776" y="706"/>
                  <a:pt x="1769" y="658"/>
                </a:cubicBezTo>
                <a:cubicBezTo>
                  <a:pt x="1751" y="540"/>
                  <a:pt x="1653" y="458"/>
                  <a:pt x="1616" y="347"/>
                </a:cubicBezTo>
                <a:cubicBezTo>
                  <a:pt x="1578" y="234"/>
                  <a:pt x="1596" y="94"/>
                  <a:pt x="1672" y="0"/>
                </a:cubicBezTo>
                <a:cubicBezTo>
                  <a:pt x="1532" y="67"/>
                  <a:pt x="1405" y="217"/>
                  <a:pt x="1404" y="378"/>
                </a:cubicBezTo>
                <a:cubicBezTo>
                  <a:pt x="1404" y="439"/>
                  <a:pt x="1414" y="499"/>
                  <a:pt x="1429" y="558"/>
                </a:cubicBezTo>
                <a:cubicBezTo>
                  <a:pt x="1446" y="626"/>
                  <a:pt x="1482" y="719"/>
                  <a:pt x="1449" y="788"/>
                </a:cubicBezTo>
                <a:cubicBezTo>
                  <a:pt x="1444" y="799"/>
                  <a:pt x="1437" y="809"/>
                  <a:pt x="1428" y="818"/>
                </a:cubicBezTo>
                <a:cubicBezTo>
                  <a:pt x="1409" y="838"/>
                  <a:pt x="1377" y="849"/>
                  <a:pt x="1348" y="846"/>
                </a:cubicBezTo>
                <a:cubicBezTo>
                  <a:pt x="1335" y="845"/>
                  <a:pt x="1323" y="840"/>
                  <a:pt x="1313" y="833"/>
                </a:cubicBezTo>
                <a:cubicBezTo>
                  <a:pt x="1309" y="830"/>
                  <a:pt x="1306" y="827"/>
                  <a:pt x="1303" y="824"/>
                </a:cubicBezTo>
                <a:cubicBezTo>
                  <a:pt x="1294" y="814"/>
                  <a:pt x="1288" y="801"/>
                  <a:pt x="1283" y="788"/>
                </a:cubicBezTo>
                <a:cubicBezTo>
                  <a:pt x="1279" y="777"/>
                  <a:pt x="1276" y="766"/>
                  <a:pt x="1273" y="755"/>
                </a:cubicBezTo>
                <a:cubicBezTo>
                  <a:pt x="1249" y="685"/>
                  <a:pt x="1204" y="636"/>
                  <a:pt x="1133" y="619"/>
                </a:cubicBezTo>
                <a:cubicBezTo>
                  <a:pt x="1160" y="630"/>
                  <a:pt x="1171" y="674"/>
                  <a:pt x="1175" y="700"/>
                </a:cubicBezTo>
                <a:cubicBezTo>
                  <a:pt x="1179" y="728"/>
                  <a:pt x="1179" y="758"/>
                  <a:pt x="1175" y="788"/>
                </a:cubicBezTo>
                <a:cubicBezTo>
                  <a:pt x="1165" y="874"/>
                  <a:pt x="1131" y="960"/>
                  <a:pt x="1122" y="1000"/>
                </a:cubicBezTo>
                <a:cubicBezTo>
                  <a:pt x="1122" y="1001"/>
                  <a:pt x="1121" y="1003"/>
                  <a:pt x="1121" y="1005"/>
                </a:cubicBezTo>
                <a:cubicBezTo>
                  <a:pt x="1118" y="1014"/>
                  <a:pt x="1115" y="1027"/>
                  <a:pt x="1113" y="1042"/>
                </a:cubicBezTo>
                <a:cubicBezTo>
                  <a:pt x="1110" y="1059"/>
                  <a:pt x="1108" y="1077"/>
                  <a:pt x="1108" y="1093"/>
                </a:cubicBezTo>
                <a:cubicBezTo>
                  <a:pt x="1108" y="1134"/>
                  <a:pt x="1113" y="1174"/>
                  <a:pt x="1122" y="1210"/>
                </a:cubicBezTo>
                <a:cubicBezTo>
                  <a:pt x="1132" y="1253"/>
                  <a:pt x="1149" y="1293"/>
                  <a:pt x="1170" y="1329"/>
                </a:cubicBezTo>
                <a:cubicBezTo>
                  <a:pt x="1178" y="1343"/>
                  <a:pt x="1187" y="1356"/>
                  <a:pt x="1197" y="1369"/>
                </a:cubicBezTo>
                <a:cubicBezTo>
                  <a:pt x="1227" y="1409"/>
                  <a:pt x="1262" y="1443"/>
                  <a:pt x="1303" y="1471"/>
                </a:cubicBezTo>
                <a:cubicBezTo>
                  <a:pt x="1318" y="1481"/>
                  <a:pt x="1333" y="1490"/>
                  <a:pt x="1348" y="1498"/>
                </a:cubicBezTo>
                <a:cubicBezTo>
                  <a:pt x="1428" y="1542"/>
                  <a:pt x="1522" y="1565"/>
                  <a:pt x="1623" y="1565"/>
                </a:cubicBezTo>
                <a:cubicBezTo>
                  <a:pt x="1642" y="1565"/>
                  <a:pt x="1659" y="1565"/>
                  <a:pt x="1677" y="1563"/>
                </a:cubicBezTo>
                <a:cubicBezTo>
                  <a:pt x="1930" y="1542"/>
                  <a:pt x="2128" y="1371"/>
                  <a:pt x="2139" y="1114"/>
                </a:cubicBezTo>
                <a:cubicBezTo>
                  <a:pt x="2149" y="1061"/>
                  <a:pt x="2142" y="1001"/>
                  <a:pt x="2135" y="955"/>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p>
        </p:txBody>
      </p:sp>
      <p:sp>
        <p:nvSpPr>
          <p:cNvPr id="9" name="Oval 8"/>
          <p:cNvSpPr/>
          <p:nvPr/>
        </p:nvSpPr>
        <p:spPr>
          <a:xfrm>
            <a:off x="1278849" y="1960575"/>
            <a:ext cx="955063" cy="955063"/>
          </a:xfrm>
          <a:prstGeom prst="ellipse">
            <a:avLst/>
          </a:prstGeom>
          <a:solidFill>
            <a:srgbClr val="1A315D"/>
          </a:solidFill>
          <a:ln w="38100" cap="flat" cmpd="sng" algn="ctr">
            <a:solidFill>
              <a:schemeClr val="bg1"/>
            </a:solidFill>
            <a:prstDash val="solid"/>
          </a:ln>
          <a:effectLst/>
        </p:spPr>
        <p:txBody>
          <a:bodyPr lIns="68580" tIns="34290" rIns="68580" bIns="34290" rtlCol="0" anchor="ctr"/>
          <a:lstStyle/>
          <a:p>
            <a:pPr algn="ctr"/>
            <a:endParaRPr lang="en-US" sz="800" kern="0">
              <a:solidFill>
                <a:srgbClr val="FFFFFF"/>
              </a:solidFill>
            </a:endParaRPr>
          </a:p>
        </p:txBody>
      </p:sp>
      <p:grpSp>
        <p:nvGrpSpPr>
          <p:cNvPr id="10" name="Group 9"/>
          <p:cNvGrpSpPr/>
          <p:nvPr/>
        </p:nvGrpSpPr>
        <p:grpSpPr>
          <a:xfrm>
            <a:off x="1539967" y="2280171"/>
            <a:ext cx="432824" cy="315871"/>
            <a:chOff x="3056026" y="2256262"/>
            <a:chExt cx="237444" cy="173284"/>
          </a:xfrm>
        </p:grpSpPr>
        <p:sp>
          <p:nvSpPr>
            <p:cNvPr id="11" name="Rectangle 49"/>
            <p:cNvSpPr>
              <a:spLocks noChangeArrowheads="1"/>
            </p:cNvSpPr>
            <p:nvPr/>
          </p:nvSpPr>
          <p:spPr bwMode="auto">
            <a:xfrm>
              <a:off x="3056026" y="2375152"/>
              <a:ext cx="158296" cy="54394"/>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2" name="Rectangle 50"/>
            <p:cNvSpPr>
              <a:spLocks noChangeArrowheads="1"/>
            </p:cNvSpPr>
            <p:nvPr/>
          </p:nvSpPr>
          <p:spPr bwMode="auto">
            <a:xfrm>
              <a:off x="3135174" y="2315318"/>
              <a:ext cx="158296" cy="54394"/>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3" name="Rectangle 51"/>
            <p:cNvSpPr>
              <a:spLocks noChangeArrowheads="1"/>
            </p:cNvSpPr>
            <p:nvPr/>
          </p:nvSpPr>
          <p:spPr bwMode="auto">
            <a:xfrm>
              <a:off x="3221375" y="2375152"/>
              <a:ext cx="72095" cy="54394"/>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Rectangle 52"/>
            <p:cNvSpPr>
              <a:spLocks noChangeArrowheads="1"/>
            </p:cNvSpPr>
            <p:nvPr/>
          </p:nvSpPr>
          <p:spPr bwMode="auto">
            <a:xfrm>
              <a:off x="3221375" y="2256262"/>
              <a:ext cx="72095" cy="53617"/>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 name="Rectangle 53"/>
            <p:cNvSpPr>
              <a:spLocks noChangeArrowheads="1"/>
            </p:cNvSpPr>
            <p:nvPr/>
          </p:nvSpPr>
          <p:spPr bwMode="auto">
            <a:xfrm>
              <a:off x="3056026" y="2315318"/>
              <a:ext cx="71312" cy="54394"/>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6" name="Rectangle 54"/>
            <p:cNvSpPr>
              <a:spLocks noChangeArrowheads="1"/>
            </p:cNvSpPr>
            <p:nvPr/>
          </p:nvSpPr>
          <p:spPr bwMode="auto">
            <a:xfrm>
              <a:off x="3056026" y="2256262"/>
              <a:ext cx="158296" cy="53617"/>
            </a:xfrm>
            <a:prstGeom prst="rect">
              <a:avLst/>
            </a:prstGeom>
            <a:solidFill>
              <a:srgbClr val="FFFFFF"/>
            </a:solidFill>
            <a:ln w="317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7" name="Oval 16"/>
          <p:cNvSpPr/>
          <p:nvPr/>
        </p:nvSpPr>
        <p:spPr>
          <a:xfrm>
            <a:off x="3589299" y="1906634"/>
            <a:ext cx="955063" cy="955063"/>
          </a:xfrm>
          <a:prstGeom prst="ellipse">
            <a:avLst/>
          </a:prstGeom>
          <a:solidFill>
            <a:schemeClr val="accent1"/>
          </a:solidFill>
          <a:ln w="38100" cap="flat" cmpd="sng" algn="ctr">
            <a:solidFill>
              <a:srgbClr val="FFFFFF"/>
            </a:solidFill>
            <a:prstDash val="solid"/>
          </a:ln>
          <a:effectLst/>
        </p:spPr>
        <p:txBody>
          <a:bodyPr lIns="68580" tIns="34290" rIns="68580" bIns="34290" rtlCol="0" anchor="ctr"/>
          <a:lstStyle/>
          <a:p>
            <a:pPr algn="ctr"/>
            <a:endParaRPr lang="en-US" b="1" kern="0" dirty="0">
              <a:solidFill>
                <a:srgbClr val="FFFFFF"/>
              </a:solidFill>
            </a:endParaRPr>
          </a:p>
        </p:txBody>
      </p:sp>
      <p:grpSp>
        <p:nvGrpSpPr>
          <p:cNvPr id="18" name="Group 17"/>
          <p:cNvGrpSpPr/>
          <p:nvPr/>
        </p:nvGrpSpPr>
        <p:grpSpPr>
          <a:xfrm>
            <a:off x="3755762" y="2290275"/>
            <a:ext cx="622137" cy="187780"/>
            <a:chOff x="1241425" y="1963738"/>
            <a:chExt cx="9709150" cy="2930525"/>
          </a:xfrm>
          <a:solidFill>
            <a:schemeClr val="bg1"/>
          </a:solidFill>
        </p:grpSpPr>
        <p:sp>
          <p:nvSpPr>
            <p:cNvPr id="19" name="Freeform 5"/>
            <p:cNvSpPr>
              <a:spLocks noEditPoints="1"/>
            </p:cNvSpPr>
            <p:nvPr/>
          </p:nvSpPr>
          <p:spPr bwMode="auto">
            <a:xfrm>
              <a:off x="1241425" y="1989138"/>
              <a:ext cx="1222375" cy="2390775"/>
            </a:xfrm>
            <a:custGeom>
              <a:avLst/>
              <a:gdLst>
                <a:gd name="T0" fmla="*/ 252 w 770"/>
                <a:gd name="T1" fmla="*/ 1162 h 1506"/>
                <a:gd name="T2" fmla="*/ 266 w 770"/>
                <a:gd name="T3" fmla="*/ 1224 h 1506"/>
                <a:gd name="T4" fmla="*/ 288 w 770"/>
                <a:gd name="T5" fmla="*/ 1256 h 1506"/>
                <a:gd name="T6" fmla="*/ 320 w 770"/>
                <a:gd name="T7" fmla="*/ 1276 h 1506"/>
                <a:gd name="T8" fmla="*/ 366 w 770"/>
                <a:gd name="T9" fmla="*/ 1286 h 1506"/>
                <a:gd name="T10" fmla="*/ 402 w 770"/>
                <a:gd name="T11" fmla="*/ 1286 h 1506"/>
                <a:gd name="T12" fmla="*/ 448 w 770"/>
                <a:gd name="T13" fmla="*/ 1276 h 1506"/>
                <a:gd name="T14" fmla="*/ 482 w 770"/>
                <a:gd name="T15" fmla="*/ 1256 h 1506"/>
                <a:gd name="T16" fmla="*/ 504 w 770"/>
                <a:gd name="T17" fmla="*/ 1224 h 1506"/>
                <a:gd name="T18" fmla="*/ 518 w 770"/>
                <a:gd name="T19" fmla="*/ 1162 h 1506"/>
                <a:gd name="T20" fmla="*/ 518 w 770"/>
                <a:gd name="T21" fmla="*/ 380 h 1506"/>
                <a:gd name="T22" fmla="*/ 508 w 770"/>
                <a:gd name="T23" fmla="*/ 294 h 1506"/>
                <a:gd name="T24" fmla="*/ 490 w 770"/>
                <a:gd name="T25" fmla="*/ 258 h 1506"/>
                <a:gd name="T26" fmla="*/ 460 w 770"/>
                <a:gd name="T27" fmla="*/ 234 h 1506"/>
                <a:gd name="T28" fmla="*/ 420 w 770"/>
                <a:gd name="T29" fmla="*/ 222 h 1506"/>
                <a:gd name="T30" fmla="*/ 384 w 770"/>
                <a:gd name="T31" fmla="*/ 218 h 1506"/>
                <a:gd name="T32" fmla="*/ 334 w 770"/>
                <a:gd name="T33" fmla="*/ 224 h 1506"/>
                <a:gd name="T34" fmla="*/ 298 w 770"/>
                <a:gd name="T35" fmla="*/ 242 h 1506"/>
                <a:gd name="T36" fmla="*/ 272 w 770"/>
                <a:gd name="T37" fmla="*/ 270 h 1506"/>
                <a:gd name="T38" fmla="*/ 258 w 770"/>
                <a:gd name="T39" fmla="*/ 310 h 1506"/>
                <a:gd name="T40" fmla="*/ 250 w 770"/>
                <a:gd name="T41" fmla="*/ 1124 h 1506"/>
                <a:gd name="T42" fmla="*/ 0 w 770"/>
                <a:gd name="T43" fmla="*/ 336 h 1506"/>
                <a:gd name="T44" fmla="*/ 22 w 770"/>
                <a:gd name="T45" fmla="*/ 228 h 1506"/>
                <a:gd name="T46" fmla="*/ 70 w 770"/>
                <a:gd name="T47" fmla="*/ 136 h 1506"/>
                <a:gd name="T48" fmla="*/ 146 w 770"/>
                <a:gd name="T49" fmla="*/ 64 h 1506"/>
                <a:gd name="T50" fmla="*/ 252 w 770"/>
                <a:gd name="T51" fmla="*/ 16 h 1506"/>
                <a:gd name="T52" fmla="*/ 384 w 770"/>
                <a:gd name="T53" fmla="*/ 0 h 1506"/>
                <a:gd name="T54" fmla="*/ 478 w 770"/>
                <a:gd name="T55" fmla="*/ 6 h 1506"/>
                <a:gd name="T56" fmla="*/ 592 w 770"/>
                <a:gd name="T57" fmla="*/ 44 h 1506"/>
                <a:gd name="T58" fmla="*/ 676 w 770"/>
                <a:gd name="T59" fmla="*/ 110 h 1506"/>
                <a:gd name="T60" fmla="*/ 734 w 770"/>
                <a:gd name="T61" fmla="*/ 196 h 1506"/>
                <a:gd name="T62" fmla="*/ 764 w 770"/>
                <a:gd name="T63" fmla="*/ 300 h 1506"/>
                <a:gd name="T64" fmla="*/ 770 w 770"/>
                <a:gd name="T65" fmla="*/ 1130 h 1506"/>
                <a:gd name="T66" fmla="*/ 764 w 770"/>
                <a:gd name="T67" fmla="*/ 1206 h 1506"/>
                <a:gd name="T68" fmla="*/ 734 w 770"/>
                <a:gd name="T69" fmla="*/ 1308 h 1506"/>
                <a:gd name="T70" fmla="*/ 676 w 770"/>
                <a:gd name="T71" fmla="*/ 1396 h 1506"/>
                <a:gd name="T72" fmla="*/ 592 w 770"/>
                <a:gd name="T73" fmla="*/ 1460 h 1506"/>
                <a:gd name="T74" fmla="*/ 478 w 770"/>
                <a:gd name="T75" fmla="*/ 1498 h 1506"/>
                <a:gd name="T76" fmla="*/ 384 w 770"/>
                <a:gd name="T77" fmla="*/ 1506 h 1506"/>
                <a:gd name="T78" fmla="*/ 252 w 770"/>
                <a:gd name="T79" fmla="*/ 1488 h 1506"/>
                <a:gd name="T80" fmla="*/ 146 w 770"/>
                <a:gd name="T81" fmla="*/ 1442 h 1506"/>
                <a:gd name="T82" fmla="*/ 70 w 770"/>
                <a:gd name="T83" fmla="*/ 1368 h 1506"/>
                <a:gd name="T84" fmla="*/ 22 w 770"/>
                <a:gd name="T85" fmla="*/ 1276 h 1506"/>
                <a:gd name="T86" fmla="*/ 0 w 770"/>
                <a:gd name="T87" fmla="*/ 1168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0" h="1506">
                  <a:moveTo>
                    <a:pt x="250" y="1124"/>
                  </a:moveTo>
                  <a:lnTo>
                    <a:pt x="250" y="1124"/>
                  </a:lnTo>
                  <a:lnTo>
                    <a:pt x="252" y="1162"/>
                  </a:lnTo>
                  <a:lnTo>
                    <a:pt x="258" y="1196"/>
                  </a:lnTo>
                  <a:lnTo>
                    <a:pt x="262" y="1210"/>
                  </a:lnTo>
                  <a:lnTo>
                    <a:pt x="266" y="1224"/>
                  </a:lnTo>
                  <a:lnTo>
                    <a:pt x="272" y="1236"/>
                  </a:lnTo>
                  <a:lnTo>
                    <a:pt x="280" y="1246"/>
                  </a:lnTo>
                  <a:lnTo>
                    <a:pt x="288" y="1256"/>
                  </a:lnTo>
                  <a:lnTo>
                    <a:pt x="298" y="1264"/>
                  </a:lnTo>
                  <a:lnTo>
                    <a:pt x="308" y="1270"/>
                  </a:lnTo>
                  <a:lnTo>
                    <a:pt x="320" y="1276"/>
                  </a:lnTo>
                  <a:lnTo>
                    <a:pt x="334" y="1280"/>
                  </a:lnTo>
                  <a:lnTo>
                    <a:pt x="350" y="1284"/>
                  </a:lnTo>
                  <a:lnTo>
                    <a:pt x="366" y="1286"/>
                  </a:lnTo>
                  <a:lnTo>
                    <a:pt x="384" y="1286"/>
                  </a:lnTo>
                  <a:lnTo>
                    <a:pt x="384" y="1286"/>
                  </a:lnTo>
                  <a:lnTo>
                    <a:pt x="402" y="1286"/>
                  </a:lnTo>
                  <a:lnTo>
                    <a:pt x="420" y="1284"/>
                  </a:lnTo>
                  <a:lnTo>
                    <a:pt x="434" y="1280"/>
                  </a:lnTo>
                  <a:lnTo>
                    <a:pt x="448" y="1276"/>
                  </a:lnTo>
                  <a:lnTo>
                    <a:pt x="460" y="1270"/>
                  </a:lnTo>
                  <a:lnTo>
                    <a:pt x="472" y="1264"/>
                  </a:lnTo>
                  <a:lnTo>
                    <a:pt x="482" y="1256"/>
                  </a:lnTo>
                  <a:lnTo>
                    <a:pt x="490" y="1246"/>
                  </a:lnTo>
                  <a:lnTo>
                    <a:pt x="496" y="1236"/>
                  </a:lnTo>
                  <a:lnTo>
                    <a:pt x="504" y="1224"/>
                  </a:lnTo>
                  <a:lnTo>
                    <a:pt x="508" y="1210"/>
                  </a:lnTo>
                  <a:lnTo>
                    <a:pt x="512" y="1196"/>
                  </a:lnTo>
                  <a:lnTo>
                    <a:pt x="518" y="1162"/>
                  </a:lnTo>
                  <a:lnTo>
                    <a:pt x="518" y="1124"/>
                  </a:lnTo>
                  <a:lnTo>
                    <a:pt x="518" y="380"/>
                  </a:lnTo>
                  <a:lnTo>
                    <a:pt x="518" y="380"/>
                  </a:lnTo>
                  <a:lnTo>
                    <a:pt x="518" y="342"/>
                  </a:lnTo>
                  <a:lnTo>
                    <a:pt x="512" y="310"/>
                  </a:lnTo>
                  <a:lnTo>
                    <a:pt x="508" y="294"/>
                  </a:lnTo>
                  <a:lnTo>
                    <a:pt x="504" y="282"/>
                  </a:lnTo>
                  <a:lnTo>
                    <a:pt x="496" y="270"/>
                  </a:lnTo>
                  <a:lnTo>
                    <a:pt x="490" y="258"/>
                  </a:lnTo>
                  <a:lnTo>
                    <a:pt x="482" y="250"/>
                  </a:lnTo>
                  <a:lnTo>
                    <a:pt x="472" y="242"/>
                  </a:lnTo>
                  <a:lnTo>
                    <a:pt x="460" y="234"/>
                  </a:lnTo>
                  <a:lnTo>
                    <a:pt x="448" y="228"/>
                  </a:lnTo>
                  <a:lnTo>
                    <a:pt x="434" y="224"/>
                  </a:lnTo>
                  <a:lnTo>
                    <a:pt x="420" y="222"/>
                  </a:lnTo>
                  <a:lnTo>
                    <a:pt x="402" y="220"/>
                  </a:lnTo>
                  <a:lnTo>
                    <a:pt x="384" y="218"/>
                  </a:lnTo>
                  <a:lnTo>
                    <a:pt x="384" y="218"/>
                  </a:lnTo>
                  <a:lnTo>
                    <a:pt x="366" y="220"/>
                  </a:lnTo>
                  <a:lnTo>
                    <a:pt x="350" y="222"/>
                  </a:lnTo>
                  <a:lnTo>
                    <a:pt x="334" y="224"/>
                  </a:lnTo>
                  <a:lnTo>
                    <a:pt x="320" y="228"/>
                  </a:lnTo>
                  <a:lnTo>
                    <a:pt x="308" y="234"/>
                  </a:lnTo>
                  <a:lnTo>
                    <a:pt x="298" y="242"/>
                  </a:lnTo>
                  <a:lnTo>
                    <a:pt x="288" y="250"/>
                  </a:lnTo>
                  <a:lnTo>
                    <a:pt x="280" y="258"/>
                  </a:lnTo>
                  <a:lnTo>
                    <a:pt x="272" y="270"/>
                  </a:lnTo>
                  <a:lnTo>
                    <a:pt x="266" y="282"/>
                  </a:lnTo>
                  <a:lnTo>
                    <a:pt x="262" y="294"/>
                  </a:lnTo>
                  <a:lnTo>
                    <a:pt x="258" y="310"/>
                  </a:lnTo>
                  <a:lnTo>
                    <a:pt x="252" y="342"/>
                  </a:lnTo>
                  <a:lnTo>
                    <a:pt x="250" y="380"/>
                  </a:lnTo>
                  <a:lnTo>
                    <a:pt x="250" y="1124"/>
                  </a:lnTo>
                  <a:close/>
                  <a:moveTo>
                    <a:pt x="0" y="374"/>
                  </a:moveTo>
                  <a:lnTo>
                    <a:pt x="0" y="374"/>
                  </a:lnTo>
                  <a:lnTo>
                    <a:pt x="0" y="336"/>
                  </a:lnTo>
                  <a:lnTo>
                    <a:pt x="4" y="300"/>
                  </a:lnTo>
                  <a:lnTo>
                    <a:pt x="12" y="264"/>
                  </a:lnTo>
                  <a:lnTo>
                    <a:pt x="22" y="228"/>
                  </a:lnTo>
                  <a:lnTo>
                    <a:pt x="36" y="196"/>
                  </a:lnTo>
                  <a:lnTo>
                    <a:pt x="52" y="166"/>
                  </a:lnTo>
                  <a:lnTo>
                    <a:pt x="70" y="136"/>
                  </a:lnTo>
                  <a:lnTo>
                    <a:pt x="92" y="110"/>
                  </a:lnTo>
                  <a:lnTo>
                    <a:pt x="118" y="86"/>
                  </a:lnTo>
                  <a:lnTo>
                    <a:pt x="146" y="64"/>
                  </a:lnTo>
                  <a:lnTo>
                    <a:pt x="178" y="44"/>
                  </a:lnTo>
                  <a:lnTo>
                    <a:pt x="214" y="28"/>
                  </a:lnTo>
                  <a:lnTo>
                    <a:pt x="252" y="16"/>
                  </a:lnTo>
                  <a:lnTo>
                    <a:pt x="292" y="6"/>
                  </a:lnTo>
                  <a:lnTo>
                    <a:pt x="336" y="2"/>
                  </a:lnTo>
                  <a:lnTo>
                    <a:pt x="384" y="0"/>
                  </a:lnTo>
                  <a:lnTo>
                    <a:pt x="384" y="0"/>
                  </a:lnTo>
                  <a:lnTo>
                    <a:pt x="432" y="2"/>
                  </a:lnTo>
                  <a:lnTo>
                    <a:pt x="478" y="6"/>
                  </a:lnTo>
                  <a:lnTo>
                    <a:pt x="518" y="16"/>
                  </a:lnTo>
                  <a:lnTo>
                    <a:pt x="556" y="28"/>
                  </a:lnTo>
                  <a:lnTo>
                    <a:pt x="592" y="44"/>
                  </a:lnTo>
                  <a:lnTo>
                    <a:pt x="622" y="64"/>
                  </a:lnTo>
                  <a:lnTo>
                    <a:pt x="652" y="86"/>
                  </a:lnTo>
                  <a:lnTo>
                    <a:pt x="676" y="110"/>
                  </a:lnTo>
                  <a:lnTo>
                    <a:pt x="698" y="136"/>
                  </a:lnTo>
                  <a:lnTo>
                    <a:pt x="718" y="166"/>
                  </a:lnTo>
                  <a:lnTo>
                    <a:pt x="734" y="196"/>
                  </a:lnTo>
                  <a:lnTo>
                    <a:pt x="748" y="228"/>
                  </a:lnTo>
                  <a:lnTo>
                    <a:pt x="758" y="264"/>
                  </a:lnTo>
                  <a:lnTo>
                    <a:pt x="764" y="300"/>
                  </a:lnTo>
                  <a:lnTo>
                    <a:pt x="768" y="336"/>
                  </a:lnTo>
                  <a:lnTo>
                    <a:pt x="770" y="374"/>
                  </a:lnTo>
                  <a:lnTo>
                    <a:pt x="770" y="1130"/>
                  </a:lnTo>
                  <a:lnTo>
                    <a:pt x="770" y="1130"/>
                  </a:lnTo>
                  <a:lnTo>
                    <a:pt x="768" y="1168"/>
                  </a:lnTo>
                  <a:lnTo>
                    <a:pt x="764" y="1206"/>
                  </a:lnTo>
                  <a:lnTo>
                    <a:pt x="758" y="1242"/>
                  </a:lnTo>
                  <a:lnTo>
                    <a:pt x="748" y="1276"/>
                  </a:lnTo>
                  <a:lnTo>
                    <a:pt x="734" y="1308"/>
                  </a:lnTo>
                  <a:lnTo>
                    <a:pt x="718" y="1340"/>
                  </a:lnTo>
                  <a:lnTo>
                    <a:pt x="698" y="1368"/>
                  </a:lnTo>
                  <a:lnTo>
                    <a:pt x="676" y="1396"/>
                  </a:lnTo>
                  <a:lnTo>
                    <a:pt x="652" y="1420"/>
                  </a:lnTo>
                  <a:lnTo>
                    <a:pt x="622" y="1442"/>
                  </a:lnTo>
                  <a:lnTo>
                    <a:pt x="592" y="1460"/>
                  </a:lnTo>
                  <a:lnTo>
                    <a:pt x="556" y="1476"/>
                  </a:lnTo>
                  <a:lnTo>
                    <a:pt x="518" y="1488"/>
                  </a:lnTo>
                  <a:lnTo>
                    <a:pt x="478" y="1498"/>
                  </a:lnTo>
                  <a:lnTo>
                    <a:pt x="432" y="1504"/>
                  </a:lnTo>
                  <a:lnTo>
                    <a:pt x="384" y="1506"/>
                  </a:lnTo>
                  <a:lnTo>
                    <a:pt x="384" y="1506"/>
                  </a:lnTo>
                  <a:lnTo>
                    <a:pt x="336" y="1504"/>
                  </a:lnTo>
                  <a:lnTo>
                    <a:pt x="292" y="1498"/>
                  </a:lnTo>
                  <a:lnTo>
                    <a:pt x="252" y="1488"/>
                  </a:lnTo>
                  <a:lnTo>
                    <a:pt x="214" y="1476"/>
                  </a:lnTo>
                  <a:lnTo>
                    <a:pt x="178" y="1460"/>
                  </a:lnTo>
                  <a:lnTo>
                    <a:pt x="146" y="1442"/>
                  </a:lnTo>
                  <a:lnTo>
                    <a:pt x="118" y="1420"/>
                  </a:lnTo>
                  <a:lnTo>
                    <a:pt x="92" y="1396"/>
                  </a:lnTo>
                  <a:lnTo>
                    <a:pt x="70" y="1368"/>
                  </a:lnTo>
                  <a:lnTo>
                    <a:pt x="52" y="1340"/>
                  </a:lnTo>
                  <a:lnTo>
                    <a:pt x="36" y="1308"/>
                  </a:lnTo>
                  <a:lnTo>
                    <a:pt x="22" y="1276"/>
                  </a:lnTo>
                  <a:lnTo>
                    <a:pt x="12" y="1242"/>
                  </a:lnTo>
                  <a:lnTo>
                    <a:pt x="4" y="1206"/>
                  </a:lnTo>
                  <a:lnTo>
                    <a:pt x="0" y="1168"/>
                  </a:lnTo>
                  <a:lnTo>
                    <a:pt x="0" y="1130"/>
                  </a:lnTo>
                  <a:lnTo>
                    <a:pt x="0" y="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p:cNvSpPr>
              <a:spLocks noEditPoints="1"/>
            </p:cNvSpPr>
            <p:nvPr/>
          </p:nvSpPr>
          <p:spPr bwMode="auto">
            <a:xfrm>
              <a:off x="2724150" y="2579688"/>
              <a:ext cx="1103313" cy="2314575"/>
            </a:xfrm>
            <a:custGeom>
              <a:avLst/>
              <a:gdLst>
                <a:gd name="T0" fmla="*/ 228 w 695"/>
                <a:gd name="T1" fmla="*/ 890 h 1458"/>
                <a:gd name="T2" fmla="*/ 292 w 695"/>
                <a:gd name="T3" fmla="*/ 930 h 1458"/>
                <a:gd name="T4" fmla="*/ 324 w 695"/>
                <a:gd name="T5" fmla="*/ 942 h 1458"/>
                <a:gd name="T6" fmla="*/ 358 w 695"/>
                <a:gd name="T7" fmla="*/ 946 h 1458"/>
                <a:gd name="T8" fmla="*/ 380 w 695"/>
                <a:gd name="T9" fmla="*/ 946 h 1458"/>
                <a:gd name="T10" fmla="*/ 400 w 695"/>
                <a:gd name="T11" fmla="*/ 940 h 1458"/>
                <a:gd name="T12" fmla="*/ 420 w 695"/>
                <a:gd name="T13" fmla="*/ 928 h 1458"/>
                <a:gd name="T14" fmla="*/ 436 w 695"/>
                <a:gd name="T15" fmla="*/ 912 h 1458"/>
                <a:gd name="T16" fmla="*/ 448 w 695"/>
                <a:gd name="T17" fmla="*/ 890 h 1458"/>
                <a:gd name="T18" fmla="*/ 458 w 695"/>
                <a:gd name="T19" fmla="*/ 858 h 1458"/>
                <a:gd name="T20" fmla="*/ 466 w 695"/>
                <a:gd name="T21" fmla="*/ 820 h 1458"/>
                <a:gd name="T22" fmla="*/ 468 w 695"/>
                <a:gd name="T23" fmla="*/ 770 h 1458"/>
                <a:gd name="T24" fmla="*/ 468 w 695"/>
                <a:gd name="T25" fmla="*/ 364 h 1458"/>
                <a:gd name="T26" fmla="*/ 466 w 695"/>
                <a:gd name="T27" fmla="*/ 316 h 1458"/>
                <a:gd name="T28" fmla="*/ 458 w 695"/>
                <a:gd name="T29" fmla="*/ 276 h 1458"/>
                <a:gd name="T30" fmla="*/ 448 w 695"/>
                <a:gd name="T31" fmla="*/ 244 h 1458"/>
                <a:gd name="T32" fmla="*/ 436 w 695"/>
                <a:gd name="T33" fmla="*/ 222 h 1458"/>
                <a:gd name="T34" fmla="*/ 420 w 695"/>
                <a:gd name="T35" fmla="*/ 206 h 1458"/>
                <a:gd name="T36" fmla="*/ 400 w 695"/>
                <a:gd name="T37" fmla="*/ 194 h 1458"/>
                <a:gd name="T38" fmla="*/ 380 w 695"/>
                <a:gd name="T39" fmla="*/ 190 h 1458"/>
                <a:gd name="T40" fmla="*/ 358 w 695"/>
                <a:gd name="T41" fmla="*/ 188 h 1458"/>
                <a:gd name="T42" fmla="*/ 324 w 695"/>
                <a:gd name="T43" fmla="*/ 192 h 1458"/>
                <a:gd name="T44" fmla="*/ 292 w 695"/>
                <a:gd name="T45" fmla="*/ 204 h 1458"/>
                <a:gd name="T46" fmla="*/ 228 w 695"/>
                <a:gd name="T47" fmla="*/ 244 h 1458"/>
                <a:gd name="T48" fmla="*/ 228 w 695"/>
                <a:gd name="T49" fmla="*/ 890 h 1458"/>
                <a:gd name="T50" fmla="*/ 216 w 695"/>
                <a:gd name="T51" fmla="*/ 134 h 1458"/>
                <a:gd name="T52" fmla="*/ 220 w 695"/>
                <a:gd name="T53" fmla="*/ 134 h 1458"/>
                <a:gd name="T54" fmla="*/ 274 w 695"/>
                <a:gd name="T55" fmla="*/ 74 h 1458"/>
                <a:gd name="T56" fmla="*/ 328 w 695"/>
                <a:gd name="T57" fmla="*/ 32 h 1458"/>
                <a:gd name="T58" fmla="*/ 356 w 695"/>
                <a:gd name="T59" fmla="*/ 18 h 1458"/>
                <a:gd name="T60" fmla="*/ 388 w 695"/>
                <a:gd name="T61" fmla="*/ 8 h 1458"/>
                <a:gd name="T62" fmla="*/ 464 w 695"/>
                <a:gd name="T63" fmla="*/ 0 h 1458"/>
                <a:gd name="T64" fmla="*/ 490 w 695"/>
                <a:gd name="T65" fmla="*/ 2 h 1458"/>
                <a:gd name="T66" fmla="*/ 538 w 695"/>
                <a:gd name="T67" fmla="*/ 12 h 1458"/>
                <a:gd name="T68" fmla="*/ 580 w 695"/>
                <a:gd name="T69" fmla="*/ 32 h 1458"/>
                <a:gd name="T70" fmla="*/ 617 w 695"/>
                <a:gd name="T71" fmla="*/ 60 h 1458"/>
                <a:gd name="T72" fmla="*/ 647 w 695"/>
                <a:gd name="T73" fmla="*/ 98 h 1458"/>
                <a:gd name="T74" fmla="*/ 671 w 695"/>
                <a:gd name="T75" fmla="*/ 146 h 1458"/>
                <a:gd name="T76" fmla="*/ 687 w 695"/>
                <a:gd name="T77" fmla="*/ 204 h 1458"/>
                <a:gd name="T78" fmla="*/ 695 w 695"/>
                <a:gd name="T79" fmla="*/ 270 h 1458"/>
                <a:gd name="T80" fmla="*/ 695 w 695"/>
                <a:gd name="T81" fmla="*/ 830 h 1458"/>
                <a:gd name="T82" fmla="*/ 695 w 695"/>
                <a:gd name="T83" fmla="*/ 866 h 1458"/>
                <a:gd name="T84" fmla="*/ 687 w 695"/>
                <a:gd name="T85" fmla="*/ 932 h 1458"/>
                <a:gd name="T86" fmla="*/ 671 w 695"/>
                <a:gd name="T87" fmla="*/ 988 h 1458"/>
                <a:gd name="T88" fmla="*/ 647 w 695"/>
                <a:gd name="T89" fmla="*/ 1036 h 1458"/>
                <a:gd name="T90" fmla="*/ 617 w 695"/>
                <a:gd name="T91" fmla="*/ 1074 h 1458"/>
                <a:gd name="T92" fmla="*/ 580 w 695"/>
                <a:gd name="T93" fmla="*/ 1102 h 1458"/>
                <a:gd name="T94" fmla="*/ 538 w 695"/>
                <a:gd name="T95" fmla="*/ 1122 h 1458"/>
                <a:gd name="T96" fmla="*/ 490 w 695"/>
                <a:gd name="T97" fmla="*/ 1132 h 1458"/>
                <a:gd name="T98" fmla="*/ 464 w 695"/>
                <a:gd name="T99" fmla="*/ 1134 h 1458"/>
                <a:gd name="T100" fmla="*/ 398 w 695"/>
                <a:gd name="T101" fmla="*/ 1126 h 1458"/>
                <a:gd name="T102" fmla="*/ 342 w 695"/>
                <a:gd name="T103" fmla="*/ 1104 h 1458"/>
                <a:gd name="T104" fmla="*/ 288 w 695"/>
                <a:gd name="T105" fmla="*/ 1068 h 1458"/>
                <a:gd name="T106" fmla="*/ 228 w 695"/>
                <a:gd name="T107" fmla="*/ 1458 h 1458"/>
                <a:gd name="T108" fmla="*/ 0 w 695"/>
                <a:gd name="T109" fmla="*/ 22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5" h="1458">
                  <a:moveTo>
                    <a:pt x="228" y="890"/>
                  </a:moveTo>
                  <a:lnTo>
                    <a:pt x="228" y="890"/>
                  </a:lnTo>
                  <a:lnTo>
                    <a:pt x="260" y="912"/>
                  </a:lnTo>
                  <a:lnTo>
                    <a:pt x="292" y="930"/>
                  </a:lnTo>
                  <a:lnTo>
                    <a:pt x="308" y="938"/>
                  </a:lnTo>
                  <a:lnTo>
                    <a:pt x="324" y="942"/>
                  </a:lnTo>
                  <a:lnTo>
                    <a:pt x="342" y="946"/>
                  </a:lnTo>
                  <a:lnTo>
                    <a:pt x="358" y="946"/>
                  </a:lnTo>
                  <a:lnTo>
                    <a:pt x="358" y="946"/>
                  </a:lnTo>
                  <a:lnTo>
                    <a:pt x="380" y="946"/>
                  </a:lnTo>
                  <a:lnTo>
                    <a:pt x="390" y="942"/>
                  </a:lnTo>
                  <a:lnTo>
                    <a:pt x="400" y="940"/>
                  </a:lnTo>
                  <a:lnTo>
                    <a:pt x="410" y="934"/>
                  </a:lnTo>
                  <a:lnTo>
                    <a:pt x="420" y="928"/>
                  </a:lnTo>
                  <a:lnTo>
                    <a:pt x="428" y="922"/>
                  </a:lnTo>
                  <a:lnTo>
                    <a:pt x="436" y="912"/>
                  </a:lnTo>
                  <a:lnTo>
                    <a:pt x="442" y="902"/>
                  </a:lnTo>
                  <a:lnTo>
                    <a:pt x="448" y="890"/>
                  </a:lnTo>
                  <a:lnTo>
                    <a:pt x="454" y="874"/>
                  </a:lnTo>
                  <a:lnTo>
                    <a:pt x="458" y="858"/>
                  </a:lnTo>
                  <a:lnTo>
                    <a:pt x="462" y="840"/>
                  </a:lnTo>
                  <a:lnTo>
                    <a:pt x="466" y="820"/>
                  </a:lnTo>
                  <a:lnTo>
                    <a:pt x="466" y="796"/>
                  </a:lnTo>
                  <a:lnTo>
                    <a:pt x="468" y="770"/>
                  </a:lnTo>
                  <a:lnTo>
                    <a:pt x="468" y="364"/>
                  </a:lnTo>
                  <a:lnTo>
                    <a:pt x="468" y="364"/>
                  </a:lnTo>
                  <a:lnTo>
                    <a:pt x="466" y="338"/>
                  </a:lnTo>
                  <a:lnTo>
                    <a:pt x="466" y="316"/>
                  </a:lnTo>
                  <a:lnTo>
                    <a:pt x="462" y="294"/>
                  </a:lnTo>
                  <a:lnTo>
                    <a:pt x="458" y="276"/>
                  </a:lnTo>
                  <a:lnTo>
                    <a:pt x="454" y="260"/>
                  </a:lnTo>
                  <a:lnTo>
                    <a:pt x="448" y="244"/>
                  </a:lnTo>
                  <a:lnTo>
                    <a:pt x="442" y="232"/>
                  </a:lnTo>
                  <a:lnTo>
                    <a:pt x="436" y="222"/>
                  </a:lnTo>
                  <a:lnTo>
                    <a:pt x="428" y="212"/>
                  </a:lnTo>
                  <a:lnTo>
                    <a:pt x="420" y="206"/>
                  </a:lnTo>
                  <a:lnTo>
                    <a:pt x="410" y="200"/>
                  </a:lnTo>
                  <a:lnTo>
                    <a:pt x="400" y="194"/>
                  </a:lnTo>
                  <a:lnTo>
                    <a:pt x="390" y="192"/>
                  </a:lnTo>
                  <a:lnTo>
                    <a:pt x="380" y="190"/>
                  </a:lnTo>
                  <a:lnTo>
                    <a:pt x="358" y="188"/>
                  </a:lnTo>
                  <a:lnTo>
                    <a:pt x="358" y="188"/>
                  </a:lnTo>
                  <a:lnTo>
                    <a:pt x="342" y="188"/>
                  </a:lnTo>
                  <a:lnTo>
                    <a:pt x="324" y="192"/>
                  </a:lnTo>
                  <a:lnTo>
                    <a:pt x="308" y="196"/>
                  </a:lnTo>
                  <a:lnTo>
                    <a:pt x="292" y="204"/>
                  </a:lnTo>
                  <a:lnTo>
                    <a:pt x="260" y="222"/>
                  </a:lnTo>
                  <a:lnTo>
                    <a:pt x="228" y="244"/>
                  </a:lnTo>
                  <a:lnTo>
                    <a:pt x="228" y="890"/>
                  </a:lnTo>
                  <a:lnTo>
                    <a:pt x="228" y="890"/>
                  </a:lnTo>
                  <a:close/>
                  <a:moveTo>
                    <a:pt x="216" y="22"/>
                  </a:moveTo>
                  <a:lnTo>
                    <a:pt x="216" y="134"/>
                  </a:lnTo>
                  <a:lnTo>
                    <a:pt x="220" y="134"/>
                  </a:lnTo>
                  <a:lnTo>
                    <a:pt x="220" y="134"/>
                  </a:lnTo>
                  <a:lnTo>
                    <a:pt x="248" y="102"/>
                  </a:lnTo>
                  <a:lnTo>
                    <a:pt x="274" y="74"/>
                  </a:lnTo>
                  <a:lnTo>
                    <a:pt x="300" y="50"/>
                  </a:lnTo>
                  <a:lnTo>
                    <a:pt x="328" y="32"/>
                  </a:lnTo>
                  <a:lnTo>
                    <a:pt x="342" y="24"/>
                  </a:lnTo>
                  <a:lnTo>
                    <a:pt x="356" y="18"/>
                  </a:lnTo>
                  <a:lnTo>
                    <a:pt x="372" y="12"/>
                  </a:lnTo>
                  <a:lnTo>
                    <a:pt x="388" y="8"/>
                  </a:lnTo>
                  <a:lnTo>
                    <a:pt x="424" y="2"/>
                  </a:lnTo>
                  <a:lnTo>
                    <a:pt x="464" y="0"/>
                  </a:lnTo>
                  <a:lnTo>
                    <a:pt x="464" y="0"/>
                  </a:lnTo>
                  <a:lnTo>
                    <a:pt x="490" y="2"/>
                  </a:lnTo>
                  <a:lnTo>
                    <a:pt x="514" y="6"/>
                  </a:lnTo>
                  <a:lnTo>
                    <a:pt x="538" y="12"/>
                  </a:lnTo>
                  <a:lnTo>
                    <a:pt x="560" y="20"/>
                  </a:lnTo>
                  <a:lnTo>
                    <a:pt x="580" y="32"/>
                  </a:lnTo>
                  <a:lnTo>
                    <a:pt x="601" y="44"/>
                  </a:lnTo>
                  <a:lnTo>
                    <a:pt x="617" y="60"/>
                  </a:lnTo>
                  <a:lnTo>
                    <a:pt x="633" y="78"/>
                  </a:lnTo>
                  <a:lnTo>
                    <a:pt x="647" y="98"/>
                  </a:lnTo>
                  <a:lnTo>
                    <a:pt x="661" y="122"/>
                  </a:lnTo>
                  <a:lnTo>
                    <a:pt x="671" y="146"/>
                  </a:lnTo>
                  <a:lnTo>
                    <a:pt x="679" y="174"/>
                  </a:lnTo>
                  <a:lnTo>
                    <a:pt x="687" y="204"/>
                  </a:lnTo>
                  <a:lnTo>
                    <a:pt x="691" y="236"/>
                  </a:lnTo>
                  <a:lnTo>
                    <a:pt x="695" y="270"/>
                  </a:lnTo>
                  <a:lnTo>
                    <a:pt x="695" y="306"/>
                  </a:lnTo>
                  <a:lnTo>
                    <a:pt x="695" y="830"/>
                  </a:lnTo>
                  <a:lnTo>
                    <a:pt x="695" y="830"/>
                  </a:lnTo>
                  <a:lnTo>
                    <a:pt x="695" y="866"/>
                  </a:lnTo>
                  <a:lnTo>
                    <a:pt x="691" y="900"/>
                  </a:lnTo>
                  <a:lnTo>
                    <a:pt x="687" y="932"/>
                  </a:lnTo>
                  <a:lnTo>
                    <a:pt x="679" y="960"/>
                  </a:lnTo>
                  <a:lnTo>
                    <a:pt x="671" y="988"/>
                  </a:lnTo>
                  <a:lnTo>
                    <a:pt x="661" y="1012"/>
                  </a:lnTo>
                  <a:lnTo>
                    <a:pt x="647" y="1036"/>
                  </a:lnTo>
                  <a:lnTo>
                    <a:pt x="633" y="1056"/>
                  </a:lnTo>
                  <a:lnTo>
                    <a:pt x="617" y="1074"/>
                  </a:lnTo>
                  <a:lnTo>
                    <a:pt x="601" y="1090"/>
                  </a:lnTo>
                  <a:lnTo>
                    <a:pt x="580" y="1102"/>
                  </a:lnTo>
                  <a:lnTo>
                    <a:pt x="560" y="1114"/>
                  </a:lnTo>
                  <a:lnTo>
                    <a:pt x="538" y="1122"/>
                  </a:lnTo>
                  <a:lnTo>
                    <a:pt x="514" y="1128"/>
                  </a:lnTo>
                  <a:lnTo>
                    <a:pt x="490" y="1132"/>
                  </a:lnTo>
                  <a:lnTo>
                    <a:pt x="464" y="1134"/>
                  </a:lnTo>
                  <a:lnTo>
                    <a:pt x="464" y="1134"/>
                  </a:lnTo>
                  <a:lnTo>
                    <a:pt x="428" y="1132"/>
                  </a:lnTo>
                  <a:lnTo>
                    <a:pt x="398" y="1126"/>
                  </a:lnTo>
                  <a:lnTo>
                    <a:pt x="368" y="1116"/>
                  </a:lnTo>
                  <a:lnTo>
                    <a:pt x="342" y="1104"/>
                  </a:lnTo>
                  <a:lnTo>
                    <a:pt x="316" y="1088"/>
                  </a:lnTo>
                  <a:lnTo>
                    <a:pt x="288" y="1068"/>
                  </a:lnTo>
                  <a:lnTo>
                    <a:pt x="228" y="1020"/>
                  </a:lnTo>
                  <a:lnTo>
                    <a:pt x="228" y="1458"/>
                  </a:lnTo>
                  <a:lnTo>
                    <a:pt x="0" y="1458"/>
                  </a:lnTo>
                  <a:lnTo>
                    <a:pt x="0" y="22"/>
                  </a:lnTo>
                  <a:lnTo>
                    <a:pt x="21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1"/>
            <p:cNvSpPr>
              <a:spLocks noEditPoints="1"/>
            </p:cNvSpPr>
            <p:nvPr/>
          </p:nvSpPr>
          <p:spPr bwMode="auto">
            <a:xfrm>
              <a:off x="4075113" y="2579688"/>
              <a:ext cx="1120775" cy="1800225"/>
            </a:xfrm>
            <a:custGeom>
              <a:avLst/>
              <a:gdLst>
                <a:gd name="T0" fmla="*/ 480 w 706"/>
                <a:gd name="T1" fmla="*/ 366 h 1134"/>
                <a:gd name="T2" fmla="*/ 472 w 706"/>
                <a:gd name="T3" fmla="*/ 286 h 1134"/>
                <a:gd name="T4" fmla="*/ 454 w 706"/>
                <a:gd name="T5" fmla="*/ 242 h 1134"/>
                <a:gd name="T6" fmla="*/ 430 w 706"/>
                <a:gd name="T7" fmla="*/ 210 h 1134"/>
                <a:gd name="T8" fmla="*/ 396 w 706"/>
                <a:gd name="T9" fmla="*/ 194 h 1134"/>
                <a:gd name="T10" fmla="*/ 354 w 706"/>
                <a:gd name="T11" fmla="*/ 188 h 1134"/>
                <a:gd name="T12" fmla="*/ 326 w 706"/>
                <a:gd name="T13" fmla="*/ 190 h 1134"/>
                <a:gd name="T14" fmla="*/ 288 w 706"/>
                <a:gd name="T15" fmla="*/ 204 h 1134"/>
                <a:gd name="T16" fmla="*/ 260 w 706"/>
                <a:gd name="T17" fmla="*/ 230 h 1134"/>
                <a:gd name="T18" fmla="*/ 240 w 706"/>
                <a:gd name="T19" fmla="*/ 268 h 1134"/>
                <a:gd name="T20" fmla="*/ 230 w 706"/>
                <a:gd name="T21" fmla="*/ 322 h 1134"/>
                <a:gd name="T22" fmla="*/ 480 w 706"/>
                <a:gd name="T23" fmla="*/ 424 h 1134"/>
                <a:gd name="T24" fmla="*/ 228 w 706"/>
                <a:gd name="T25" fmla="*/ 768 h 1134"/>
                <a:gd name="T26" fmla="*/ 232 w 706"/>
                <a:gd name="T27" fmla="*/ 832 h 1134"/>
                <a:gd name="T28" fmla="*/ 246 w 706"/>
                <a:gd name="T29" fmla="*/ 880 h 1134"/>
                <a:gd name="T30" fmla="*/ 268 w 706"/>
                <a:gd name="T31" fmla="*/ 914 h 1134"/>
                <a:gd name="T32" fmla="*/ 300 w 706"/>
                <a:gd name="T33" fmla="*/ 936 h 1134"/>
                <a:gd name="T34" fmla="*/ 338 w 706"/>
                <a:gd name="T35" fmla="*/ 946 h 1134"/>
                <a:gd name="T36" fmla="*/ 368 w 706"/>
                <a:gd name="T37" fmla="*/ 946 h 1134"/>
                <a:gd name="T38" fmla="*/ 408 w 706"/>
                <a:gd name="T39" fmla="*/ 936 h 1134"/>
                <a:gd name="T40" fmla="*/ 438 w 706"/>
                <a:gd name="T41" fmla="*/ 914 h 1134"/>
                <a:gd name="T42" fmla="*/ 462 w 706"/>
                <a:gd name="T43" fmla="*/ 880 h 1134"/>
                <a:gd name="T44" fmla="*/ 474 w 706"/>
                <a:gd name="T45" fmla="*/ 832 h 1134"/>
                <a:gd name="T46" fmla="*/ 480 w 706"/>
                <a:gd name="T47" fmla="*/ 744 h 1134"/>
                <a:gd name="T48" fmla="*/ 706 w 706"/>
                <a:gd name="T49" fmla="*/ 786 h 1134"/>
                <a:gd name="T50" fmla="*/ 686 w 706"/>
                <a:gd name="T51" fmla="*/ 902 h 1134"/>
                <a:gd name="T52" fmla="*/ 644 w 706"/>
                <a:gd name="T53" fmla="*/ 998 h 1134"/>
                <a:gd name="T54" fmla="*/ 576 w 706"/>
                <a:gd name="T55" fmla="*/ 1072 h 1134"/>
                <a:gd name="T56" fmla="*/ 480 w 706"/>
                <a:gd name="T57" fmla="*/ 1118 h 1134"/>
                <a:gd name="T58" fmla="*/ 354 w 706"/>
                <a:gd name="T59" fmla="*/ 1134 h 1134"/>
                <a:gd name="T60" fmla="*/ 264 w 706"/>
                <a:gd name="T61" fmla="*/ 1126 h 1134"/>
                <a:gd name="T62" fmla="*/ 156 w 706"/>
                <a:gd name="T63" fmla="*/ 1088 h 1134"/>
                <a:gd name="T64" fmla="*/ 80 w 706"/>
                <a:gd name="T65" fmla="*/ 1020 h 1134"/>
                <a:gd name="T66" fmla="*/ 30 w 706"/>
                <a:gd name="T67" fmla="*/ 928 h 1134"/>
                <a:gd name="T68" fmla="*/ 6 w 706"/>
                <a:gd name="T69" fmla="*/ 814 h 1134"/>
                <a:gd name="T70" fmla="*/ 0 w 706"/>
                <a:gd name="T71" fmla="*/ 406 h 1134"/>
                <a:gd name="T72" fmla="*/ 6 w 706"/>
                <a:gd name="T73" fmla="*/ 320 h 1134"/>
                <a:gd name="T74" fmla="*/ 30 w 706"/>
                <a:gd name="T75" fmla="*/ 206 h 1134"/>
                <a:gd name="T76" fmla="*/ 80 w 706"/>
                <a:gd name="T77" fmla="*/ 114 h 1134"/>
                <a:gd name="T78" fmla="*/ 156 w 706"/>
                <a:gd name="T79" fmla="*/ 46 h 1134"/>
                <a:gd name="T80" fmla="*/ 264 w 706"/>
                <a:gd name="T81" fmla="*/ 8 h 1134"/>
                <a:gd name="T82" fmla="*/ 354 w 706"/>
                <a:gd name="T83" fmla="*/ 0 h 1134"/>
                <a:gd name="T84" fmla="*/ 482 w 706"/>
                <a:gd name="T85" fmla="*/ 18 h 1134"/>
                <a:gd name="T86" fmla="*/ 580 w 706"/>
                <a:gd name="T87" fmla="*/ 66 h 1134"/>
                <a:gd name="T88" fmla="*/ 648 w 706"/>
                <a:gd name="T89" fmla="*/ 142 h 1134"/>
                <a:gd name="T90" fmla="*/ 688 w 706"/>
                <a:gd name="T91" fmla="*/ 242 h 1134"/>
                <a:gd name="T92" fmla="*/ 706 w 706"/>
                <a:gd name="T93" fmla="*/ 36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6" h="1134">
                  <a:moveTo>
                    <a:pt x="480" y="424"/>
                  </a:moveTo>
                  <a:lnTo>
                    <a:pt x="480" y="366"/>
                  </a:lnTo>
                  <a:lnTo>
                    <a:pt x="480" y="366"/>
                  </a:lnTo>
                  <a:lnTo>
                    <a:pt x="478" y="322"/>
                  </a:lnTo>
                  <a:lnTo>
                    <a:pt x="474" y="302"/>
                  </a:lnTo>
                  <a:lnTo>
                    <a:pt x="472" y="286"/>
                  </a:lnTo>
                  <a:lnTo>
                    <a:pt x="466" y="268"/>
                  </a:lnTo>
                  <a:lnTo>
                    <a:pt x="462" y="254"/>
                  </a:lnTo>
                  <a:lnTo>
                    <a:pt x="454" y="242"/>
                  </a:lnTo>
                  <a:lnTo>
                    <a:pt x="448" y="230"/>
                  </a:lnTo>
                  <a:lnTo>
                    <a:pt x="438" y="220"/>
                  </a:lnTo>
                  <a:lnTo>
                    <a:pt x="430" y="210"/>
                  </a:lnTo>
                  <a:lnTo>
                    <a:pt x="418" y="204"/>
                  </a:lnTo>
                  <a:lnTo>
                    <a:pt x="408" y="198"/>
                  </a:lnTo>
                  <a:lnTo>
                    <a:pt x="396" y="194"/>
                  </a:lnTo>
                  <a:lnTo>
                    <a:pt x="382" y="190"/>
                  </a:lnTo>
                  <a:lnTo>
                    <a:pt x="368" y="188"/>
                  </a:lnTo>
                  <a:lnTo>
                    <a:pt x="354" y="188"/>
                  </a:lnTo>
                  <a:lnTo>
                    <a:pt x="354" y="188"/>
                  </a:lnTo>
                  <a:lnTo>
                    <a:pt x="338" y="188"/>
                  </a:lnTo>
                  <a:lnTo>
                    <a:pt x="326" y="190"/>
                  </a:lnTo>
                  <a:lnTo>
                    <a:pt x="312" y="194"/>
                  </a:lnTo>
                  <a:lnTo>
                    <a:pt x="300" y="198"/>
                  </a:lnTo>
                  <a:lnTo>
                    <a:pt x="288" y="204"/>
                  </a:lnTo>
                  <a:lnTo>
                    <a:pt x="278" y="210"/>
                  </a:lnTo>
                  <a:lnTo>
                    <a:pt x="268" y="220"/>
                  </a:lnTo>
                  <a:lnTo>
                    <a:pt x="260" y="230"/>
                  </a:lnTo>
                  <a:lnTo>
                    <a:pt x="252" y="242"/>
                  </a:lnTo>
                  <a:lnTo>
                    <a:pt x="246" y="254"/>
                  </a:lnTo>
                  <a:lnTo>
                    <a:pt x="240" y="268"/>
                  </a:lnTo>
                  <a:lnTo>
                    <a:pt x="236" y="286"/>
                  </a:lnTo>
                  <a:lnTo>
                    <a:pt x="232" y="302"/>
                  </a:lnTo>
                  <a:lnTo>
                    <a:pt x="230" y="322"/>
                  </a:lnTo>
                  <a:lnTo>
                    <a:pt x="228" y="366"/>
                  </a:lnTo>
                  <a:lnTo>
                    <a:pt x="228" y="424"/>
                  </a:lnTo>
                  <a:lnTo>
                    <a:pt x="480" y="424"/>
                  </a:lnTo>
                  <a:close/>
                  <a:moveTo>
                    <a:pt x="706" y="610"/>
                  </a:moveTo>
                  <a:lnTo>
                    <a:pt x="228" y="610"/>
                  </a:lnTo>
                  <a:lnTo>
                    <a:pt x="228" y="768"/>
                  </a:lnTo>
                  <a:lnTo>
                    <a:pt x="228" y="768"/>
                  </a:lnTo>
                  <a:lnTo>
                    <a:pt x="230" y="812"/>
                  </a:lnTo>
                  <a:lnTo>
                    <a:pt x="232" y="832"/>
                  </a:lnTo>
                  <a:lnTo>
                    <a:pt x="236" y="850"/>
                  </a:lnTo>
                  <a:lnTo>
                    <a:pt x="240" y="866"/>
                  </a:lnTo>
                  <a:lnTo>
                    <a:pt x="246" y="880"/>
                  </a:lnTo>
                  <a:lnTo>
                    <a:pt x="252" y="894"/>
                  </a:lnTo>
                  <a:lnTo>
                    <a:pt x="260" y="904"/>
                  </a:lnTo>
                  <a:lnTo>
                    <a:pt x="268" y="914"/>
                  </a:lnTo>
                  <a:lnTo>
                    <a:pt x="278" y="924"/>
                  </a:lnTo>
                  <a:lnTo>
                    <a:pt x="288" y="930"/>
                  </a:lnTo>
                  <a:lnTo>
                    <a:pt x="300" y="936"/>
                  </a:lnTo>
                  <a:lnTo>
                    <a:pt x="312" y="942"/>
                  </a:lnTo>
                  <a:lnTo>
                    <a:pt x="326" y="944"/>
                  </a:lnTo>
                  <a:lnTo>
                    <a:pt x="338" y="946"/>
                  </a:lnTo>
                  <a:lnTo>
                    <a:pt x="354" y="946"/>
                  </a:lnTo>
                  <a:lnTo>
                    <a:pt x="354" y="946"/>
                  </a:lnTo>
                  <a:lnTo>
                    <a:pt x="368" y="946"/>
                  </a:lnTo>
                  <a:lnTo>
                    <a:pt x="382" y="944"/>
                  </a:lnTo>
                  <a:lnTo>
                    <a:pt x="396" y="942"/>
                  </a:lnTo>
                  <a:lnTo>
                    <a:pt x="408" y="936"/>
                  </a:lnTo>
                  <a:lnTo>
                    <a:pt x="418" y="930"/>
                  </a:lnTo>
                  <a:lnTo>
                    <a:pt x="430" y="924"/>
                  </a:lnTo>
                  <a:lnTo>
                    <a:pt x="438" y="914"/>
                  </a:lnTo>
                  <a:lnTo>
                    <a:pt x="448" y="904"/>
                  </a:lnTo>
                  <a:lnTo>
                    <a:pt x="454" y="894"/>
                  </a:lnTo>
                  <a:lnTo>
                    <a:pt x="462" y="880"/>
                  </a:lnTo>
                  <a:lnTo>
                    <a:pt x="466" y="866"/>
                  </a:lnTo>
                  <a:lnTo>
                    <a:pt x="472" y="850"/>
                  </a:lnTo>
                  <a:lnTo>
                    <a:pt x="474" y="832"/>
                  </a:lnTo>
                  <a:lnTo>
                    <a:pt x="478" y="812"/>
                  </a:lnTo>
                  <a:lnTo>
                    <a:pt x="480" y="768"/>
                  </a:lnTo>
                  <a:lnTo>
                    <a:pt x="480" y="744"/>
                  </a:lnTo>
                  <a:lnTo>
                    <a:pt x="706" y="744"/>
                  </a:lnTo>
                  <a:lnTo>
                    <a:pt x="706" y="744"/>
                  </a:lnTo>
                  <a:lnTo>
                    <a:pt x="706" y="786"/>
                  </a:lnTo>
                  <a:lnTo>
                    <a:pt x="702" y="826"/>
                  </a:lnTo>
                  <a:lnTo>
                    <a:pt x="694" y="866"/>
                  </a:lnTo>
                  <a:lnTo>
                    <a:pt x="686" y="902"/>
                  </a:lnTo>
                  <a:lnTo>
                    <a:pt x="674" y="936"/>
                  </a:lnTo>
                  <a:lnTo>
                    <a:pt x="660" y="968"/>
                  </a:lnTo>
                  <a:lnTo>
                    <a:pt x="644" y="998"/>
                  </a:lnTo>
                  <a:lnTo>
                    <a:pt x="624" y="1026"/>
                  </a:lnTo>
                  <a:lnTo>
                    <a:pt x="602" y="1050"/>
                  </a:lnTo>
                  <a:lnTo>
                    <a:pt x="576" y="1072"/>
                  </a:lnTo>
                  <a:lnTo>
                    <a:pt x="548" y="1090"/>
                  </a:lnTo>
                  <a:lnTo>
                    <a:pt x="516" y="1106"/>
                  </a:lnTo>
                  <a:lnTo>
                    <a:pt x="480" y="1118"/>
                  </a:lnTo>
                  <a:lnTo>
                    <a:pt x="442" y="1126"/>
                  </a:lnTo>
                  <a:lnTo>
                    <a:pt x="400" y="1132"/>
                  </a:lnTo>
                  <a:lnTo>
                    <a:pt x="354" y="1134"/>
                  </a:lnTo>
                  <a:lnTo>
                    <a:pt x="354" y="1134"/>
                  </a:lnTo>
                  <a:lnTo>
                    <a:pt x="306" y="1132"/>
                  </a:lnTo>
                  <a:lnTo>
                    <a:pt x="264" y="1126"/>
                  </a:lnTo>
                  <a:lnTo>
                    <a:pt x="224" y="1116"/>
                  </a:lnTo>
                  <a:lnTo>
                    <a:pt x="188" y="1104"/>
                  </a:lnTo>
                  <a:lnTo>
                    <a:pt x="156" y="1088"/>
                  </a:lnTo>
                  <a:lnTo>
                    <a:pt x="128" y="1068"/>
                  </a:lnTo>
                  <a:lnTo>
                    <a:pt x="102" y="1046"/>
                  </a:lnTo>
                  <a:lnTo>
                    <a:pt x="80" y="1020"/>
                  </a:lnTo>
                  <a:lnTo>
                    <a:pt x="60" y="992"/>
                  </a:lnTo>
                  <a:lnTo>
                    <a:pt x="44" y="962"/>
                  </a:lnTo>
                  <a:lnTo>
                    <a:pt x="30" y="928"/>
                  </a:lnTo>
                  <a:lnTo>
                    <a:pt x="20" y="892"/>
                  </a:lnTo>
                  <a:lnTo>
                    <a:pt x="10" y="854"/>
                  </a:lnTo>
                  <a:lnTo>
                    <a:pt x="6" y="814"/>
                  </a:lnTo>
                  <a:lnTo>
                    <a:pt x="2" y="772"/>
                  </a:lnTo>
                  <a:lnTo>
                    <a:pt x="0" y="728"/>
                  </a:lnTo>
                  <a:lnTo>
                    <a:pt x="0" y="406"/>
                  </a:lnTo>
                  <a:lnTo>
                    <a:pt x="0" y="406"/>
                  </a:lnTo>
                  <a:lnTo>
                    <a:pt x="2" y="362"/>
                  </a:lnTo>
                  <a:lnTo>
                    <a:pt x="6" y="320"/>
                  </a:lnTo>
                  <a:lnTo>
                    <a:pt x="10" y="280"/>
                  </a:lnTo>
                  <a:lnTo>
                    <a:pt x="20" y="242"/>
                  </a:lnTo>
                  <a:lnTo>
                    <a:pt x="30" y="206"/>
                  </a:lnTo>
                  <a:lnTo>
                    <a:pt x="44" y="174"/>
                  </a:lnTo>
                  <a:lnTo>
                    <a:pt x="60" y="142"/>
                  </a:lnTo>
                  <a:lnTo>
                    <a:pt x="80" y="114"/>
                  </a:lnTo>
                  <a:lnTo>
                    <a:pt x="102" y="88"/>
                  </a:lnTo>
                  <a:lnTo>
                    <a:pt x="128" y="66"/>
                  </a:lnTo>
                  <a:lnTo>
                    <a:pt x="156" y="46"/>
                  </a:lnTo>
                  <a:lnTo>
                    <a:pt x="188" y="30"/>
                  </a:lnTo>
                  <a:lnTo>
                    <a:pt x="224" y="18"/>
                  </a:lnTo>
                  <a:lnTo>
                    <a:pt x="264" y="8"/>
                  </a:lnTo>
                  <a:lnTo>
                    <a:pt x="306" y="2"/>
                  </a:lnTo>
                  <a:lnTo>
                    <a:pt x="354" y="0"/>
                  </a:lnTo>
                  <a:lnTo>
                    <a:pt x="354" y="0"/>
                  </a:lnTo>
                  <a:lnTo>
                    <a:pt x="400" y="2"/>
                  </a:lnTo>
                  <a:lnTo>
                    <a:pt x="444" y="8"/>
                  </a:lnTo>
                  <a:lnTo>
                    <a:pt x="482" y="18"/>
                  </a:lnTo>
                  <a:lnTo>
                    <a:pt x="518" y="30"/>
                  </a:lnTo>
                  <a:lnTo>
                    <a:pt x="550" y="46"/>
                  </a:lnTo>
                  <a:lnTo>
                    <a:pt x="580" y="66"/>
                  </a:lnTo>
                  <a:lnTo>
                    <a:pt x="606" y="88"/>
                  </a:lnTo>
                  <a:lnTo>
                    <a:pt x="628" y="114"/>
                  </a:lnTo>
                  <a:lnTo>
                    <a:pt x="648" y="142"/>
                  </a:lnTo>
                  <a:lnTo>
                    <a:pt x="664" y="174"/>
                  </a:lnTo>
                  <a:lnTo>
                    <a:pt x="678" y="206"/>
                  </a:lnTo>
                  <a:lnTo>
                    <a:pt x="688" y="242"/>
                  </a:lnTo>
                  <a:lnTo>
                    <a:pt x="696" y="280"/>
                  </a:lnTo>
                  <a:lnTo>
                    <a:pt x="702" y="320"/>
                  </a:lnTo>
                  <a:lnTo>
                    <a:pt x="706" y="362"/>
                  </a:lnTo>
                  <a:lnTo>
                    <a:pt x="706" y="406"/>
                  </a:lnTo>
                  <a:lnTo>
                    <a:pt x="706"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p:cNvSpPr>
              <a:spLocks/>
            </p:cNvSpPr>
            <p:nvPr/>
          </p:nvSpPr>
          <p:spPr bwMode="auto">
            <a:xfrm>
              <a:off x="5427663" y="2579688"/>
              <a:ext cx="1082675" cy="1768475"/>
            </a:xfrm>
            <a:custGeom>
              <a:avLst/>
              <a:gdLst>
                <a:gd name="T0" fmla="*/ 0 w 682"/>
                <a:gd name="T1" fmla="*/ 1114 h 1114"/>
                <a:gd name="T2" fmla="*/ 0 w 682"/>
                <a:gd name="T3" fmla="*/ 22 h 1114"/>
                <a:gd name="T4" fmla="*/ 216 w 682"/>
                <a:gd name="T5" fmla="*/ 22 h 1114"/>
                <a:gd name="T6" fmla="*/ 216 w 682"/>
                <a:gd name="T7" fmla="*/ 130 h 1114"/>
                <a:gd name="T8" fmla="*/ 216 w 682"/>
                <a:gd name="T9" fmla="*/ 130 h 1114"/>
                <a:gd name="T10" fmla="*/ 280 w 682"/>
                <a:gd name="T11" fmla="*/ 76 h 1114"/>
                <a:gd name="T12" fmla="*/ 310 w 682"/>
                <a:gd name="T13" fmla="*/ 54 h 1114"/>
                <a:gd name="T14" fmla="*/ 340 w 682"/>
                <a:gd name="T15" fmla="*/ 36 h 1114"/>
                <a:gd name="T16" fmla="*/ 372 w 682"/>
                <a:gd name="T17" fmla="*/ 20 h 1114"/>
                <a:gd name="T18" fmla="*/ 388 w 682"/>
                <a:gd name="T19" fmla="*/ 14 h 1114"/>
                <a:gd name="T20" fmla="*/ 406 w 682"/>
                <a:gd name="T21" fmla="*/ 10 h 1114"/>
                <a:gd name="T22" fmla="*/ 426 w 682"/>
                <a:gd name="T23" fmla="*/ 6 h 1114"/>
                <a:gd name="T24" fmla="*/ 446 w 682"/>
                <a:gd name="T25" fmla="*/ 4 h 1114"/>
                <a:gd name="T26" fmla="*/ 468 w 682"/>
                <a:gd name="T27" fmla="*/ 2 h 1114"/>
                <a:gd name="T28" fmla="*/ 492 w 682"/>
                <a:gd name="T29" fmla="*/ 0 h 1114"/>
                <a:gd name="T30" fmla="*/ 492 w 682"/>
                <a:gd name="T31" fmla="*/ 0 h 1114"/>
                <a:gd name="T32" fmla="*/ 514 w 682"/>
                <a:gd name="T33" fmla="*/ 2 h 1114"/>
                <a:gd name="T34" fmla="*/ 534 w 682"/>
                <a:gd name="T35" fmla="*/ 4 h 1114"/>
                <a:gd name="T36" fmla="*/ 554 w 682"/>
                <a:gd name="T37" fmla="*/ 10 h 1114"/>
                <a:gd name="T38" fmla="*/ 572 w 682"/>
                <a:gd name="T39" fmla="*/ 16 h 1114"/>
                <a:gd name="T40" fmla="*/ 588 w 682"/>
                <a:gd name="T41" fmla="*/ 26 h 1114"/>
                <a:gd name="T42" fmla="*/ 604 w 682"/>
                <a:gd name="T43" fmla="*/ 36 h 1114"/>
                <a:gd name="T44" fmla="*/ 618 w 682"/>
                <a:gd name="T45" fmla="*/ 48 h 1114"/>
                <a:gd name="T46" fmla="*/ 632 w 682"/>
                <a:gd name="T47" fmla="*/ 62 h 1114"/>
                <a:gd name="T48" fmla="*/ 644 w 682"/>
                <a:gd name="T49" fmla="*/ 78 h 1114"/>
                <a:gd name="T50" fmla="*/ 654 w 682"/>
                <a:gd name="T51" fmla="*/ 96 h 1114"/>
                <a:gd name="T52" fmla="*/ 662 w 682"/>
                <a:gd name="T53" fmla="*/ 114 h 1114"/>
                <a:gd name="T54" fmla="*/ 670 w 682"/>
                <a:gd name="T55" fmla="*/ 134 h 1114"/>
                <a:gd name="T56" fmla="*/ 676 w 682"/>
                <a:gd name="T57" fmla="*/ 156 h 1114"/>
                <a:gd name="T58" fmla="*/ 680 w 682"/>
                <a:gd name="T59" fmla="*/ 180 h 1114"/>
                <a:gd name="T60" fmla="*/ 682 w 682"/>
                <a:gd name="T61" fmla="*/ 204 h 1114"/>
                <a:gd name="T62" fmla="*/ 682 w 682"/>
                <a:gd name="T63" fmla="*/ 230 h 1114"/>
                <a:gd name="T64" fmla="*/ 682 w 682"/>
                <a:gd name="T65" fmla="*/ 1114 h 1114"/>
                <a:gd name="T66" fmla="*/ 456 w 682"/>
                <a:gd name="T67" fmla="*/ 1114 h 1114"/>
                <a:gd name="T68" fmla="*/ 456 w 682"/>
                <a:gd name="T69" fmla="*/ 266 h 1114"/>
                <a:gd name="T70" fmla="*/ 456 w 682"/>
                <a:gd name="T71" fmla="*/ 266 h 1114"/>
                <a:gd name="T72" fmla="*/ 454 w 682"/>
                <a:gd name="T73" fmla="*/ 248 h 1114"/>
                <a:gd name="T74" fmla="*/ 450 w 682"/>
                <a:gd name="T75" fmla="*/ 232 h 1114"/>
                <a:gd name="T76" fmla="*/ 442 w 682"/>
                <a:gd name="T77" fmla="*/ 218 h 1114"/>
                <a:gd name="T78" fmla="*/ 432 w 682"/>
                <a:gd name="T79" fmla="*/ 206 h 1114"/>
                <a:gd name="T80" fmla="*/ 420 w 682"/>
                <a:gd name="T81" fmla="*/ 198 h 1114"/>
                <a:gd name="T82" fmla="*/ 408 w 682"/>
                <a:gd name="T83" fmla="*/ 192 h 1114"/>
                <a:gd name="T84" fmla="*/ 392 w 682"/>
                <a:gd name="T85" fmla="*/ 188 h 1114"/>
                <a:gd name="T86" fmla="*/ 374 w 682"/>
                <a:gd name="T87" fmla="*/ 188 h 1114"/>
                <a:gd name="T88" fmla="*/ 374 w 682"/>
                <a:gd name="T89" fmla="*/ 188 h 1114"/>
                <a:gd name="T90" fmla="*/ 356 w 682"/>
                <a:gd name="T91" fmla="*/ 188 h 1114"/>
                <a:gd name="T92" fmla="*/ 338 w 682"/>
                <a:gd name="T93" fmla="*/ 192 h 1114"/>
                <a:gd name="T94" fmla="*/ 320 w 682"/>
                <a:gd name="T95" fmla="*/ 200 h 1114"/>
                <a:gd name="T96" fmla="*/ 302 w 682"/>
                <a:gd name="T97" fmla="*/ 208 h 1114"/>
                <a:gd name="T98" fmla="*/ 284 w 682"/>
                <a:gd name="T99" fmla="*/ 218 h 1114"/>
                <a:gd name="T100" fmla="*/ 266 w 682"/>
                <a:gd name="T101" fmla="*/ 230 h 1114"/>
                <a:gd name="T102" fmla="*/ 228 w 682"/>
                <a:gd name="T103" fmla="*/ 256 h 1114"/>
                <a:gd name="T104" fmla="*/ 228 w 682"/>
                <a:gd name="T105" fmla="*/ 1114 h 1114"/>
                <a:gd name="T106" fmla="*/ 0 w 682"/>
                <a:gd name="T107" fmla="*/ 111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2" h="1114">
                  <a:moveTo>
                    <a:pt x="0" y="1114"/>
                  </a:moveTo>
                  <a:lnTo>
                    <a:pt x="0" y="22"/>
                  </a:lnTo>
                  <a:lnTo>
                    <a:pt x="216" y="22"/>
                  </a:lnTo>
                  <a:lnTo>
                    <a:pt x="216" y="130"/>
                  </a:lnTo>
                  <a:lnTo>
                    <a:pt x="216" y="130"/>
                  </a:lnTo>
                  <a:lnTo>
                    <a:pt x="280" y="76"/>
                  </a:lnTo>
                  <a:lnTo>
                    <a:pt x="310" y="54"/>
                  </a:lnTo>
                  <a:lnTo>
                    <a:pt x="340" y="36"/>
                  </a:lnTo>
                  <a:lnTo>
                    <a:pt x="372" y="20"/>
                  </a:lnTo>
                  <a:lnTo>
                    <a:pt x="388" y="14"/>
                  </a:lnTo>
                  <a:lnTo>
                    <a:pt x="406" y="10"/>
                  </a:lnTo>
                  <a:lnTo>
                    <a:pt x="426" y="6"/>
                  </a:lnTo>
                  <a:lnTo>
                    <a:pt x="446" y="4"/>
                  </a:lnTo>
                  <a:lnTo>
                    <a:pt x="468" y="2"/>
                  </a:lnTo>
                  <a:lnTo>
                    <a:pt x="492" y="0"/>
                  </a:lnTo>
                  <a:lnTo>
                    <a:pt x="492" y="0"/>
                  </a:lnTo>
                  <a:lnTo>
                    <a:pt x="514" y="2"/>
                  </a:lnTo>
                  <a:lnTo>
                    <a:pt x="534" y="4"/>
                  </a:lnTo>
                  <a:lnTo>
                    <a:pt x="554" y="10"/>
                  </a:lnTo>
                  <a:lnTo>
                    <a:pt x="572" y="16"/>
                  </a:lnTo>
                  <a:lnTo>
                    <a:pt x="588" y="26"/>
                  </a:lnTo>
                  <a:lnTo>
                    <a:pt x="604" y="36"/>
                  </a:lnTo>
                  <a:lnTo>
                    <a:pt x="618" y="48"/>
                  </a:lnTo>
                  <a:lnTo>
                    <a:pt x="632" y="62"/>
                  </a:lnTo>
                  <a:lnTo>
                    <a:pt x="644" y="78"/>
                  </a:lnTo>
                  <a:lnTo>
                    <a:pt x="654" y="96"/>
                  </a:lnTo>
                  <a:lnTo>
                    <a:pt x="662" y="114"/>
                  </a:lnTo>
                  <a:lnTo>
                    <a:pt x="670" y="134"/>
                  </a:lnTo>
                  <a:lnTo>
                    <a:pt x="676" y="156"/>
                  </a:lnTo>
                  <a:lnTo>
                    <a:pt x="680" y="180"/>
                  </a:lnTo>
                  <a:lnTo>
                    <a:pt x="682" y="204"/>
                  </a:lnTo>
                  <a:lnTo>
                    <a:pt x="682" y="230"/>
                  </a:lnTo>
                  <a:lnTo>
                    <a:pt x="682" y="1114"/>
                  </a:lnTo>
                  <a:lnTo>
                    <a:pt x="456" y="1114"/>
                  </a:lnTo>
                  <a:lnTo>
                    <a:pt x="456" y="266"/>
                  </a:lnTo>
                  <a:lnTo>
                    <a:pt x="456" y="266"/>
                  </a:lnTo>
                  <a:lnTo>
                    <a:pt x="454" y="248"/>
                  </a:lnTo>
                  <a:lnTo>
                    <a:pt x="450" y="232"/>
                  </a:lnTo>
                  <a:lnTo>
                    <a:pt x="442" y="218"/>
                  </a:lnTo>
                  <a:lnTo>
                    <a:pt x="432" y="206"/>
                  </a:lnTo>
                  <a:lnTo>
                    <a:pt x="420" y="198"/>
                  </a:lnTo>
                  <a:lnTo>
                    <a:pt x="408" y="192"/>
                  </a:lnTo>
                  <a:lnTo>
                    <a:pt x="392" y="188"/>
                  </a:lnTo>
                  <a:lnTo>
                    <a:pt x="374" y="188"/>
                  </a:lnTo>
                  <a:lnTo>
                    <a:pt x="374" y="188"/>
                  </a:lnTo>
                  <a:lnTo>
                    <a:pt x="356" y="188"/>
                  </a:lnTo>
                  <a:lnTo>
                    <a:pt x="338" y="192"/>
                  </a:lnTo>
                  <a:lnTo>
                    <a:pt x="320" y="200"/>
                  </a:lnTo>
                  <a:lnTo>
                    <a:pt x="302" y="208"/>
                  </a:lnTo>
                  <a:lnTo>
                    <a:pt x="284" y="218"/>
                  </a:lnTo>
                  <a:lnTo>
                    <a:pt x="266" y="230"/>
                  </a:lnTo>
                  <a:lnTo>
                    <a:pt x="228" y="256"/>
                  </a:lnTo>
                  <a:lnTo>
                    <a:pt x="228" y="1114"/>
                  </a:lnTo>
                  <a:lnTo>
                    <a:pt x="0" y="1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noEditPoints="1"/>
            </p:cNvSpPr>
            <p:nvPr/>
          </p:nvSpPr>
          <p:spPr bwMode="auto">
            <a:xfrm>
              <a:off x="6780213" y="2020888"/>
              <a:ext cx="1225550" cy="2327275"/>
            </a:xfrm>
            <a:custGeom>
              <a:avLst/>
              <a:gdLst>
                <a:gd name="T0" fmla="*/ 340 w 772"/>
                <a:gd name="T1" fmla="*/ 1258 h 1466"/>
                <a:gd name="T2" fmla="*/ 364 w 772"/>
                <a:gd name="T3" fmla="*/ 1258 h 1466"/>
                <a:gd name="T4" fmla="*/ 406 w 772"/>
                <a:gd name="T5" fmla="*/ 1252 h 1466"/>
                <a:gd name="T6" fmla="*/ 440 w 772"/>
                <a:gd name="T7" fmla="*/ 1242 h 1466"/>
                <a:gd name="T8" fmla="*/ 468 w 772"/>
                <a:gd name="T9" fmla="*/ 1224 h 1466"/>
                <a:gd name="T10" fmla="*/ 490 w 772"/>
                <a:gd name="T11" fmla="*/ 1200 h 1466"/>
                <a:gd name="T12" fmla="*/ 504 w 772"/>
                <a:gd name="T13" fmla="*/ 1170 h 1466"/>
                <a:gd name="T14" fmla="*/ 514 w 772"/>
                <a:gd name="T15" fmla="*/ 1130 h 1466"/>
                <a:gd name="T16" fmla="*/ 520 w 772"/>
                <a:gd name="T17" fmla="*/ 1080 h 1466"/>
                <a:gd name="T18" fmla="*/ 520 w 772"/>
                <a:gd name="T19" fmla="*/ 412 h 1466"/>
                <a:gd name="T20" fmla="*/ 520 w 772"/>
                <a:gd name="T21" fmla="*/ 384 h 1466"/>
                <a:gd name="T22" fmla="*/ 514 w 772"/>
                <a:gd name="T23" fmla="*/ 336 h 1466"/>
                <a:gd name="T24" fmla="*/ 504 w 772"/>
                <a:gd name="T25" fmla="*/ 296 h 1466"/>
                <a:gd name="T26" fmla="*/ 490 w 772"/>
                <a:gd name="T27" fmla="*/ 264 h 1466"/>
                <a:gd name="T28" fmla="*/ 468 w 772"/>
                <a:gd name="T29" fmla="*/ 240 h 1466"/>
                <a:gd name="T30" fmla="*/ 440 w 772"/>
                <a:gd name="T31" fmla="*/ 224 h 1466"/>
                <a:gd name="T32" fmla="*/ 406 w 772"/>
                <a:gd name="T33" fmla="*/ 212 h 1466"/>
                <a:gd name="T34" fmla="*/ 364 w 772"/>
                <a:gd name="T35" fmla="*/ 208 h 1466"/>
                <a:gd name="T36" fmla="*/ 252 w 772"/>
                <a:gd name="T37" fmla="*/ 206 h 1466"/>
                <a:gd name="T38" fmla="*/ 0 w 772"/>
                <a:gd name="T39" fmla="*/ 0 h 1466"/>
                <a:gd name="T40" fmla="*/ 374 w 772"/>
                <a:gd name="T41" fmla="*/ 0 h 1466"/>
                <a:gd name="T42" fmla="*/ 466 w 772"/>
                <a:gd name="T43" fmla="*/ 6 h 1466"/>
                <a:gd name="T44" fmla="*/ 546 w 772"/>
                <a:gd name="T45" fmla="*/ 26 h 1466"/>
                <a:gd name="T46" fmla="*/ 614 w 772"/>
                <a:gd name="T47" fmla="*/ 60 h 1466"/>
                <a:gd name="T48" fmla="*/ 670 w 772"/>
                <a:gd name="T49" fmla="*/ 108 h 1466"/>
                <a:gd name="T50" fmla="*/ 714 w 772"/>
                <a:gd name="T51" fmla="*/ 170 h 1466"/>
                <a:gd name="T52" fmla="*/ 746 w 772"/>
                <a:gd name="T53" fmla="*/ 246 h 1466"/>
                <a:gd name="T54" fmla="*/ 766 w 772"/>
                <a:gd name="T55" fmla="*/ 336 h 1466"/>
                <a:gd name="T56" fmla="*/ 772 w 772"/>
                <a:gd name="T57" fmla="*/ 442 h 1466"/>
                <a:gd name="T58" fmla="*/ 772 w 772"/>
                <a:gd name="T59" fmla="*/ 1022 h 1466"/>
                <a:gd name="T60" fmla="*/ 766 w 772"/>
                <a:gd name="T61" fmla="*/ 1128 h 1466"/>
                <a:gd name="T62" fmla="*/ 746 w 772"/>
                <a:gd name="T63" fmla="*/ 1218 h 1466"/>
                <a:gd name="T64" fmla="*/ 714 w 772"/>
                <a:gd name="T65" fmla="*/ 1294 h 1466"/>
                <a:gd name="T66" fmla="*/ 670 w 772"/>
                <a:gd name="T67" fmla="*/ 1356 h 1466"/>
                <a:gd name="T68" fmla="*/ 614 w 772"/>
                <a:gd name="T69" fmla="*/ 1404 h 1466"/>
                <a:gd name="T70" fmla="*/ 546 w 772"/>
                <a:gd name="T71" fmla="*/ 1438 h 1466"/>
                <a:gd name="T72" fmla="*/ 466 w 772"/>
                <a:gd name="T73" fmla="*/ 1458 h 1466"/>
                <a:gd name="T74" fmla="*/ 374 w 772"/>
                <a:gd name="T75" fmla="*/ 1466 h 1466"/>
                <a:gd name="T76" fmla="*/ 0 w 772"/>
                <a:gd name="T7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2" h="1466">
                  <a:moveTo>
                    <a:pt x="252" y="1258"/>
                  </a:moveTo>
                  <a:lnTo>
                    <a:pt x="340" y="1258"/>
                  </a:lnTo>
                  <a:lnTo>
                    <a:pt x="340" y="1258"/>
                  </a:lnTo>
                  <a:lnTo>
                    <a:pt x="364" y="1258"/>
                  </a:lnTo>
                  <a:lnTo>
                    <a:pt x="386" y="1256"/>
                  </a:lnTo>
                  <a:lnTo>
                    <a:pt x="406" y="1252"/>
                  </a:lnTo>
                  <a:lnTo>
                    <a:pt x="424" y="1248"/>
                  </a:lnTo>
                  <a:lnTo>
                    <a:pt x="440" y="1242"/>
                  </a:lnTo>
                  <a:lnTo>
                    <a:pt x="456" y="1234"/>
                  </a:lnTo>
                  <a:lnTo>
                    <a:pt x="468" y="1224"/>
                  </a:lnTo>
                  <a:lnTo>
                    <a:pt x="480" y="1214"/>
                  </a:lnTo>
                  <a:lnTo>
                    <a:pt x="490" y="1200"/>
                  </a:lnTo>
                  <a:lnTo>
                    <a:pt x="498" y="1186"/>
                  </a:lnTo>
                  <a:lnTo>
                    <a:pt x="504" y="1170"/>
                  </a:lnTo>
                  <a:lnTo>
                    <a:pt x="510" y="1150"/>
                  </a:lnTo>
                  <a:lnTo>
                    <a:pt x="514" y="1130"/>
                  </a:lnTo>
                  <a:lnTo>
                    <a:pt x="518" y="1106"/>
                  </a:lnTo>
                  <a:lnTo>
                    <a:pt x="520" y="1080"/>
                  </a:lnTo>
                  <a:lnTo>
                    <a:pt x="520" y="1054"/>
                  </a:lnTo>
                  <a:lnTo>
                    <a:pt x="520" y="412"/>
                  </a:lnTo>
                  <a:lnTo>
                    <a:pt x="520" y="412"/>
                  </a:lnTo>
                  <a:lnTo>
                    <a:pt x="520" y="384"/>
                  </a:lnTo>
                  <a:lnTo>
                    <a:pt x="518" y="358"/>
                  </a:lnTo>
                  <a:lnTo>
                    <a:pt x="514" y="336"/>
                  </a:lnTo>
                  <a:lnTo>
                    <a:pt x="510" y="314"/>
                  </a:lnTo>
                  <a:lnTo>
                    <a:pt x="504" y="296"/>
                  </a:lnTo>
                  <a:lnTo>
                    <a:pt x="498" y="278"/>
                  </a:lnTo>
                  <a:lnTo>
                    <a:pt x="490" y="264"/>
                  </a:lnTo>
                  <a:lnTo>
                    <a:pt x="480" y="252"/>
                  </a:lnTo>
                  <a:lnTo>
                    <a:pt x="468" y="240"/>
                  </a:lnTo>
                  <a:lnTo>
                    <a:pt x="456" y="230"/>
                  </a:lnTo>
                  <a:lnTo>
                    <a:pt x="440" y="224"/>
                  </a:lnTo>
                  <a:lnTo>
                    <a:pt x="424" y="216"/>
                  </a:lnTo>
                  <a:lnTo>
                    <a:pt x="406" y="212"/>
                  </a:lnTo>
                  <a:lnTo>
                    <a:pt x="386" y="210"/>
                  </a:lnTo>
                  <a:lnTo>
                    <a:pt x="364" y="208"/>
                  </a:lnTo>
                  <a:lnTo>
                    <a:pt x="340" y="206"/>
                  </a:lnTo>
                  <a:lnTo>
                    <a:pt x="252" y="206"/>
                  </a:lnTo>
                  <a:lnTo>
                    <a:pt x="252" y="1258"/>
                  </a:lnTo>
                  <a:close/>
                  <a:moveTo>
                    <a:pt x="0" y="0"/>
                  </a:moveTo>
                  <a:lnTo>
                    <a:pt x="374" y="0"/>
                  </a:lnTo>
                  <a:lnTo>
                    <a:pt x="374" y="0"/>
                  </a:lnTo>
                  <a:lnTo>
                    <a:pt x="420" y="2"/>
                  </a:lnTo>
                  <a:lnTo>
                    <a:pt x="466" y="6"/>
                  </a:lnTo>
                  <a:lnTo>
                    <a:pt x="506" y="14"/>
                  </a:lnTo>
                  <a:lnTo>
                    <a:pt x="546" y="26"/>
                  </a:lnTo>
                  <a:lnTo>
                    <a:pt x="582" y="42"/>
                  </a:lnTo>
                  <a:lnTo>
                    <a:pt x="614" y="60"/>
                  </a:lnTo>
                  <a:lnTo>
                    <a:pt x="644" y="82"/>
                  </a:lnTo>
                  <a:lnTo>
                    <a:pt x="670" y="108"/>
                  </a:lnTo>
                  <a:lnTo>
                    <a:pt x="694" y="138"/>
                  </a:lnTo>
                  <a:lnTo>
                    <a:pt x="714" y="170"/>
                  </a:lnTo>
                  <a:lnTo>
                    <a:pt x="732" y="206"/>
                  </a:lnTo>
                  <a:lnTo>
                    <a:pt x="746" y="246"/>
                  </a:lnTo>
                  <a:lnTo>
                    <a:pt x="758" y="290"/>
                  </a:lnTo>
                  <a:lnTo>
                    <a:pt x="766" y="336"/>
                  </a:lnTo>
                  <a:lnTo>
                    <a:pt x="770" y="388"/>
                  </a:lnTo>
                  <a:lnTo>
                    <a:pt x="772" y="442"/>
                  </a:lnTo>
                  <a:lnTo>
                    <a:pt x="772" y="1022"/>
                  </a:lnTo>
                  <a:lnTo>
                    <a:pt x="772" y="1022"/>
                  </a:lnTo>
                  <a:lnTo>
                    <a:pt x="770" y="1078"/>
                  </a:lnTo>
                  <a:lnTo>
                    <a:pt x="766" y="1128"/>
                  </a:lnTo>
                  <a:lnTo>
                    <a:pt x="758" y="1176"/>
                  </a:lnTo>
                  <a:lnTo>
                    <a:pt x="746" y="1218"/>
                  </a:lnTo>
                  <a:lnTo>
                    <a:pt x="732" y="1258"/>
                  </a:lnTo>
                  <a:lnTo>
                    <a:pt x="714" y="1294"/>
                  </a:lnTo>
                  <a:lnTo>
                    <a:pt x="694" y="1328"/>
                  </a:lnTo>
                  <a:lnTo>
                    <a:pt x="670" y="1356"/>
                  </a:lnTo>
                  <a:lnTo>
                    <a:pt x="644" y="1382"/>
                  </a:lnTo>
                  <a:lnTo>
                    <a:pt x="614" y="1404"/>
                  </a:lnTo>
                  <a:lnTo>
                    <a:pt x="582" y="1424"/>
                  </a:lnTo>
                  <a:lnTo>
                    <a:pt x="546" y="1438"/>
                  </a:lnTo>
                  <a:lnTo>
                    <a:pt x="506" y="1450"/>
                  </a:lnTo>
                  <a:lnTo>
                    <a:pt x="466" y="1458"/>
                  </a:lnTo>
                  <a:lnTo>
                    <a:pt x="420" y="1464"/>
                  </a:lnTo>
                  <a:lnTo>
                    <a:pt x="374" y="1466"/>
                  </a:lnTo>
                  <a:lnTo>
                    <a:pt x="0" y="146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8266113" y="2020888"/>
              <a:ext cx="1223963" cy="2327275"/>
            </a:xfrm>
            <a:custGeom>
              <a:avLst/>
              <a:gdLst>
                <a:gd name="T0" fmla="*/ 0 w 771"/>
                <a:gd name="T1" fmla="*/ 1466 h 1466"/>
                <a:gd name="T2" fmla="*/ 0 w 771"/>
                <a:gd name="T3" fmla="*/ 0 h 1466"/>
                <a:gd name="T4" fmla="*/ 233 w 771"/>
                <a:gd name="T5" fmla="*/ 0 h 1466"/>
                <a:gd name="T6" fmla="*/ 541 w 771"/>
                <a:gd name="T7" fmla="*/ 838 h 1466"/>
                <a:gd name="T8" fmla="*/ 545 w 771"/>
                <a:gd name="T9" fmla="*/ 838 h 1466"/>
                <a:gd name="T10" fmla="*/ 545 w 771"/>
                <a:gd name="T11" fmla="*/ 0 h 1466"/>
                <a:gd name="T12" fmla="*/ 771 w 771"/>
                <a:gd name="T13" fmla="*/ 0 h 1466"/>
                <a:gd name="T14" fmla="*/ 771 w 771"/>
                <a:gd name="T15" fmla="*/ 1466 h 1466"/>
                <a:gd name="T16" fmla="*/ 553 w 771"/>
                <a:gd name="T17" fmla="*/ 1466 h 1466"/>
                <a:gd name="T18" fmla="*/ 231 w 771"/>
                <a:gd name="T19" fmla="*/ 550 h 1466"/>
                <a:gd name="T20" fmla="*/ 227 w 771"/>
                <a:gd name="T21" fmla="*/ 550 h 1466"/>
                <a:gd name="T22" fmla="*/ 227 w 771"/>
                <a:gd name="T23" fmla="*/ 1466 h 1466"/>
                <a:gd name="T24" fmla="*/ 0 w 771"/>
                <a:gd name="T25" fmla="*/ 146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1" h="1466">
                  <a:moveTo>
                    <a:pt x="0" y="1466"/>
                  </a:moveTo>
                  <a:lnTo>
                    <a:pt x="0" y="0"/>
                  </a:lnTo>
                  <a:lnTo>
                    <a:pt x="233" y="0"/>
                  </a:lnTo>
                  <a:lnTo>
                    <a:pt x="541" y="838"/>
                  </a:lnTo>
                  <a:lnTo>
                    <a:pt x="545" y="838"/>
                  </a:lnTo>
                  <a:lnTo>
                    <a:pt x="545" y="0"/>
                  </a:lnTo>
                  <a:lnTo>
                    <a:pt x="771" y="0"/>
                  </a:lnTo>
                  <a:lnTo>
                    <a:pt x="771" y="1466"/>
                  </a:lnTo>
                  <a:lnTo>
                    <a:pt x="553" y="1466"/>
                  </a:lnTo>
                  <a:lnTo>
                    <a:pt x="231" y="550"/>
                  </a:lnTo>
                  <a:lnTo>
                    <a:pt x="227" y="550"/>
                  </a:lnTo>
                  <a:lnTo>
                    <a:pt x="227" y="1466"/>
                  </a:lnTo>
                  <a:lnTo>
                    <a:pt x="0" y="1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9718675" y="1963738"/>
              <a:ext cx="1231900" cy="2390775"/>
            </a:xfrm>
            <a:custGeom>
              <a:avLst/>
              <a:gdLst>
                <a:gd name="T0" fmla="*/ 522 w 776"/>
                <a:gd name="T1" fmla="*/ 360 h 1506"/>
                <a:gd name="T2" fmla="*/ 508 w 776"/>
                <a:gd name="T3" fmla="*/ 304 h 1506"/>
                <a:gd name="T4" fmla="*/ 484 w 776"/>
                <a:gd name="T5" fmla="*/ 264 h 1506"/>
                <a:gd name="T6" fmla="*/ 456 w 776"/>
                <a:gd name="T7" fmla="*/ 238 h 1506"/>
                <a:gd name="T8" fmla="*/ 412 w 776"/>
                <a:gd name="T9" fmla="*/ 222 h 1506"/>
                <a:gd name="T10" fmla="*/ 376 w 776"/>
                <a:gd name="T11" fmla="*/ 220 h 1506"/>
                <a:gd name="T12" fmla="*/ 336 w 776"/>
                <a:gd name="T13" fmla="*/ 230 h 1506"/>
                <a:gd name="T14" fmla="*/ 306 w 776"/>
                <a:gd name="T15" fmla="*/ 248 h 1506"/>
                <a:gd name="T16" fmla="*/ 282 w 776"/>
                <a:gd name="T17" fmla="*/ 278 h 1506"/>
                <a:gd name="T18" fmla="*/ 266 w 776"/>
                <a:gd name="T19" fmla="*/ 332 h 1506"/>
                <a:gd name="T20" fmla="*/ 266 w 776"/>
                <a:gd name="T21" fmla="*/ 386 h 1506"/>
                <a:gd name="T22" fmla="*/ 286 w 776"/>
                <a:gd name="T23" fmla="*/ 452 h 1506"/>
                <a:gd name="T24" fmla="*/ 328 w 776"/>
                <a:gd name="T25" fmla="*/ 514 h 1506"/>
                <a:gd name="T26" fmla="*/ 426 w 776"/>
                <a:gd name="T27" fmla="*/ 612 h 1506"/>
                <a:gd name="T28" fmla="*/ 614 w 776"/>
                <a:gd name="T29" fmla="*/ 780 h 1506"/>
                <a:gd name="T30" fmla="*/ 678 w 776"/>
                <a:gd name="T31" fmla="*/ 852 h 1506"/>
                <a:gd name="T32" fmla="*/ 728 w 776"/>
                <a:gd name="T33" fmla="*/ 934 h 1506"/>
                <a:gd name="T34" fmla="*/ 764 w 776"/>
                <a:gd name="T35" fmla="*/ 1026 h 1506"/>
                <a:gd name="T36" fmla="*/ 776 w 776"/>
                <a:gd name="T37" fmla="*/ 1130 h 1506"/>
                <a:gd name="T38" fmla="*/ 768 w 776"/>
                <a:gd name="T39" fmla="*/ 1216 h 1506"/>
                <a:gd name="T40" fmla="*/ 732 w 776"/>
                <a:gd name="T41" fmla="*/ 1326 h 1506"/>
                <a:gd name="T42" fmla="*/ 666 w 776"/>
                <a:gd name="T43" fmla="*/ 1410 h 1506"/>
                <a:gd name="T44" fmla="*/ 574 w 776"/>
                <a:gd name="T45" fmla="*/ 1468 h 1506"/>
                <a:gd name="T46" fmla="*/ 462 w 776"/>
                <a:gd name="T47" fmla="*/ 1500 h 1506"/>
                <a:gd name="T48" fmla="*/ 378 w 776"/>
                <a:gd name="T49" fmla="*/ 1506 h 1506"/>
                <a:gd name="T50" fmla="*/ 258 w 776"/>
                <a:gd name="T51" fmla="*/ 1488 h 1506"/>
                <a:gd name="T52" fmla="*/ 158 w 776"/>
                <a:gd name="T53" fmla="*/ 1436 h 1506"/>
                <a:gd name="T54" fmla="*/ 84 w 776"/>
                <a:gd name="T55" fmla="*/ 1356 h 1506"/>
                <a:gd name="T56" fmla="*/ 32 w 776"/>
                <a:gd name="T57" fmla="*/ 1256 h 1506"/>
                <a:gd name="T58" fmla="*/ 4 w 776"/>
                <a:gd name="T59" fmla="*/ 1142 h 1506"/>
                <a:gd name="T60" fmla="*/ 240 w 776"/>
                <a:gd name="T61" fmla="*/ 1066 h 1506"/>
                <a:gd name="T62" fmla="*/ 250 w 776"/>
                <a:gd name="T63" fmla="*/ 1142 h 1506"/>
                <a:gd name="T64" fmla="*/ 270 w 776"/>
                <a:gd name="T65" fmla="*/ 1202 h 1506"/>
                <a:gd name="T66" fmla="*/ 298 w 776"/>
                <a:gd name="T67" fmla="*/ 1246 h 1506"/>
                <a:gd name="T68" fmla="*/ 334 w 776"/>
                <a:gd name="T69" fmla="*/ 1274 h 1506"/>
                <a:gd name="T70" fmla="*/ 376 w 776"/>
                <a:gd name="T71" fmla="*/ 1286 h 1506"/>
                <a:gd name="T72" fmla="*/ 422 w 776"/>
                <a:gd name="T73" fmla="*/ 1286 h 1506"/>
                <a:gd name="T74" fmla="*/ 464 w 776"/>
                <a:gd name="T75" fmla="*/ 1274 h 1506"/>
                <a:gd name="T76" fmla="*/ 496 w 776"/>
                <a:gd name="T77" fmla="*/ 1254 h 1506"/>
                <a:gd name="T78" fmla="*/ 520 w 776"/>
                <a:gd name="T79" fmla="*/ 1224 h 1506"/>
                <a:gd name="T80" fmla="*/ 534 w 776"/>
                <a:gd name="T81" fmla="*/ 1184 h 1506"/>
                <a:gd name="T82" fmla="*/ 536 w 776"/>
                <a:gd name="T83" fmla="*/ 1154 h 1506"/>
                <a:gd name="T84" fmla="*/ 524 w 776"/>
                <a:gd name="T85" fmla="*/ 1076 h 1506"/>
                <a:gd name="T86" fmla="*/ 490 w 776"/>
                <a:gd name="T87" fmla="*/ 1008 h 1506"/>
                <a:gd name="T88" fmla="*/ 438 w 776"/>
                <a:gd name="T89" fmla="*/ 946 h 1506"/>
                <a:gd name="T90" fmla="*/ 280 w 776"/>
                <a:gd name="T91" fmla="*/ 808 h 1506"/>
                <a:gd name="T92" fmla="*/ 164 w 776"/>
                <a:gd name="T93" fmla="*/ 700 h 1506"/>
                <a:gd name="T94" fmla="*/ 104 w 776"/>
                <a:gd name="T95" fmla="*/ 626 h 1506"/>
                <a:gd name="T96" fmla="*/ 58 w 776"/>
                <a:gd name="T97" fmla="*/ 540 h 1506"/>
                <a:gd name="T98" fmla="*/ 30 w 776"/>
                <a:gd name="T99" fmla="*/ 440 h 1506"/>
                <a:gd name="T100" fmla="*/ 24 w 776"/>
                <a:gd name="T101" fmla="*/ 366 h 1506"/>
                <a:gd name="T102" fmla="*/ 40 w 776"/>
                <a:gd name="T103" fmla="*/ 246 h 1506"/>
                <a:gd name="T104" fmla="*/ 84 w 776"/>
                <a:gd name="T105" fmla="*/ 148 h 1506"/>
                <a:gd name="T106" fmla="*/ 154 w 776"/>
                <a:gd name="T107" fmla="*/ 74 h 1506"/>
                <a:gd name="T108" fmla="*/ 250 w 776"/>
                <a:gd name="T109" fmla="*/ 24 h 1506"/>
                <a:gd name="T110" fmla="*/ 370 w 776"/>
                <a:gd name="T111" fmla="*/ 2 h 1506"/>
                <a:gd name="T112" fmla="*/ 452 w 776"/>
                <a:gd name="T113" fmla="*/ 2 h 1506"/>
                <a:gd name="T114" fmla="*/ 552 w 776"/>
                <a:gd name="T115" fmla="*/ 26 h 1506"/>
                <a:gd name="T116" fmla="*/ 634 w 776"/>
                <a:gd name="T117" fmla="*/ 78 h 1506"/>
                <a:gd name="T118" fmla="*/ 698 w 776"/>
                <a:gd name="T119" fmla="*/ 152 h 1506"/>
                <a:gd name="T120" fmla="*/ 742 w 776"/>
                <a:gd name="T121" fmla="*/ 246 h 1506"/>
                <a:gd name="T122" fmla="*/ 764 w 776"/>
                <a:gd name="T123" fmla="*/ 35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6" h="1506">
                  <a:moveTo>
                    <a:pt x="524" y="382"/>
                  </a:moveTo>
                  <a:lnTo>
                    <a:pt x="524" y="382"/>
                  </a:lnTo>
                  <a:lnTo>
                    <a:pt x="522" y="360"/>
                  </a:lnTo>
                  <a:lnTo>
                    <a:pt x="518" y="338"/>
                  </a:lnTo>
                  <a:lnTo>
                    <a:pt x="514" y="320"/>
                  </a:lnTo>
                  <a:lnTo>
                    <a:pt x="508" y="304"/>
                  </a:lnTo>
                  <a:lnTo>
                    <a:pt x="500" y="288"/>
                  </a:lnTo>
                  <a:lnTo>
                    <a:pt x="492" y="276"/>
                  </a:lnTo>
                  <a:lnTo>
                    <a:pt x="484" y="264"/>
                  </a:lnTo>
                  <a:lnTo>
                    <a:pt x="474" y="254"/>
                  </a:lnTo>
                  <a:lnTo>
                    <a:pt x="466" y="244"/>
                  </a:lnTo>
                  <a:lnTo>
                    <a:pt x="456" y="238"/>
                  </a:lnTo>
                  <a:lnTo>
                    <a:pt x="444" y="232"/>
                  </a:lnTo>
                  <a:lnTo>
                    <a:pt x="434" y="228"/>
                  </a:lnTo>
                  <a:lnTo>
                    <a:pt x="412" y="222"/>
                  </a:lnTo>
                  <a:lnTo>
                    <a:pt x="390" y="220"/>
                  </a:lnTo>
                  <a:lnTo>
                    <a:pt x="390" y="220"/>
                  </a:lnTo>
                  <a:lnTo>
                    <a:pt x="376" y="220"/>
                  </a:lnTo>
                  <a:lnTo>
                    <a:pt x="362" y="222"/>
                  </a:lnTo>
                  <a:lnTo>
                    <a:pt x="348" y="224"/>
                  </a:lnTo>
                  <a:lnTo>
                    <a:pt x="336" y="230"/>
                  </a:lnTo>
                  <a:lnTo>
                    <a:pt x="326" y="234"/>
                  </a:lnTo>
                  <a:lnTo>
                    <a:pt x="314" y="242"/>
                  </a:lnTo>
                  <a:lnTo>
                    <a:pt x="306" y="248"/>
                  </a:lnTo>
                  <a:lnTo>
                    <a:pt x="298" y="258"/>
                  </a:lnTo>
                  <a:lnTo>
                    <a:pt x="290" y="268"/>
                  </a:lnTo>
                  <a:lnTo>
                    <a:pt x="282" y="278"/>
                  </a:lnTo>
                  <a:lnTo>
                    <a:pt x="278" y="290"/>
                  </a:lnTo>
                  <a:lnTo>
                    <a:pt x="272" y="302"/>
                  </a:lnTo>
                  <a:lnTo>
                    <a:pt x="266" y="332"/>
                  </a:lnTo>
                  <a:lnTo>
                    <a:pt x="264" y="364"/>
                  </a:lnTo>
                  <a:lnTo>
                    <a:pt x="264" y="364"/>
                  </a:lnTo>
                  <a:lnTo>
                    <a:pt x="266" y="386"/>
                  </a:lnTo>
                  <a:lnTo>
                    <a:pt x="270" y="410"/>
                  </a:lnTo>
                  <a:lnTo>
                    <a:pt x="278" y="430"/>
                  </a:lnTo>
                  <a:lnTo>
                    <a:pt x="286" y="452"/>
                  </a:lnTo>
                  <a:lnTo>
                    <a:pt x="298" y="472"/>
                  </a:lnTo>
                  <a:lnTo>
                    <a:pt x="312" y="494"/>
                  </a:lnTo>
                  <a:lnTo>
                    <a:pt x="328" y="514"/>
                  </a:lnTo>
                  <a:lnTo>
                    <a:pt x="344" y="532"/>
                  </a:lnTo>
                  <a:lnTo>
                    <a:pt x="384" y="572"/>
                  </a:lnTo>
                  <a:lnTo>
                    <a:pt x="426" y="612"/>
                  </a:lnTo>
                  <a:lnTo>
                    <a:pt x="520" y="692"/>
                  </a:lnTo>
                  <a:lnTo>
                    <a:pt x="568" y="734"/>
                  </a:lnTo>
                  <a:lnTo>
                    <a:pt x="614" y="780"/>
                  </a:lnTo>
                  <a:lnTo>
                    <a:pt x="636" y="802"/>
                  </a:lnTo>
                  <a:lnTo>
                    <a:pt x="658" y="826"/>
                  </a:lnTo>
                  <a:lnTo>
                    <a:pt x="678" y="852"/>
                  </a:lnTo>
                  <a:lnTo>
                    <a:pt x="696" y="878"/>
                  </a:lnTo>
                  <a:lnTo>
                    <a:pt x="714" y="906"/>
                  </a:lnTo>
                  <a:lnTo>
                    <a:pt x="728" y="934"/>
                  </a:lnTo>
                  <a:lnTo>
                    <a:pt x="742" y="964"/>
                  </a:lnTo>
                  <a:lnTo>
                    <a:pt x="754" y="994"/>
                  </a:lnTo>
                  <a:lnTo>
                    <a:pt x="764" y="1026"/>
                  </a:lnTo>
                  <a:lnTo>
                    <a:pt x="770" y="1060"/>
                  </a:lnTo>
                  <a:lnTo>
                    <a:pt x="774" y="1094"/>
                  </a:lnTo>
                  <a:lnTo>
                    <a:pt x="776" y="1130"/>
                  </a:lnTo>
                  <a:lnTo>
                    <a:pt x="776" y="1130"/>
                  </a:lnTo>
                  <a:lnTo>
                    <a:pt x="774" y="1174"/>
                  </a:lnTo>
                  <a:lnTo>
                    <a:pt x="768" y="1216"/>
                  </a:lnTo>
                  <a:lnTo>
                    <a:pt x="760" y="1256"/>
                  </a:lnTo>
                  <a:lnTo>
                    <a:pt x="748" y="1292"/>
                  </a:lnTo>
                  <a:lnTo>
                    <a:pt x="732" y="1326"/>
                  </a:lnTo>
                  <a:lnTo>
                    <a:pt x="712" y="1356"/>
                  </a:lnTo>
                  <a:lnTo>
                    <a:pt x="690" y="1384"/>
                  </a:lnTo>
                  <a:lnTo>
                    <a:pt x="666" y="1410"/>
                  </a:lnTo>
                  <a:lnTo>
                    <a:pt x="638" y="1432"/>
                  </a:lnTo>
                  <a:lnTo>
                    <a:pt x="608" y="1452"/>
                  </a:lnTo>
                  <a:lnTo>
                    <a:pt x="574" y="1468"/>
                  </a:lnTo>
                  <a:lnTo>
                    <a:pt x="540" y="1482"/>
                  </a:lnTo>
                  <a:lnTo>
                    <a:pt x="502" y="1492"/>
                  </a:lnTo>
                  <a:lnTo>
                    <a:pt x="462" y="1500"/>
                  </a:lnTo>
                  <a:lnTo>
                    <a:pt x="422" y="1504"/>
                  </a:lnTo>
                  <a:lnTo>
                    <a:pt x="378" y="1506"/>
                  </a:lnTo>
                  <a:lnTo>
                    <a:pt x="378" y="1506"/>
                  </a:lnTo>
                  <a:lnTo>
                    <a:pt x="336" y="1504"/>
                  </a:lnTo>
                  <a:lnTo>
                    <a:pt x="296" y="1498"/>
                  </a:lnTo>
                  <a:lnTo>
                    <a:pt x="258" y="1488"/>
                  </a:lnTo>
                  <a:lnTo>
                    <a:pt x="222" y="1474"/>
                  </a:lnTo>
                  <a:lnTo>
                    <a:pt x="190" y="1456"/>
                  </a:lnTo>
                  <a:lnTo>
                    <a:pt x="158" y="1436"/>
                  </a:lnTo>
                  <a:lnTo>
                    <a:pt x="130" y="1412"/>
                  </a:lnTo>
                  <a:lnTo>
                    <a:pt x="106" y="1386"/>
                  </a:lnTo>
                  <a:lnTo>
                    <a:pt x="84" y="1356"/>
                  </a:lnTo>
                  <a:lnTo>
                    <a:pt x="64" y="1326"/>
                  </a:lnTo>
                  <a:lnTo>
                    <a:pt x="46" y="1292"/>
                  </a:lnTo>
                  <a:lnTo>
                    <a:pt x="32" y="1256"/>
                  </a:lnTo>
                  <a:lnTo>
                    <a:pt x="20" y="1220"/>
                  </a:lnTo>
                  <a:lnTo>
                    <a:pt x="10" y="1180"/>
                  </a:lnTo>
                  <a:lnTo>
                    <a:pt x="4" y="1142"/>
                  </a:lnTo>
                  <a:lnTo>
                    <a:pt x="0" y="1100"/>
                  </a:lnTo>
                  <a:lnTo>
                    <a:pt x="240" y="1066"/>
                  </a:lnTo>
                  <a:lnTo>
                    <a:pt x="240" y="1066"/>
                  </a:lnTo>
                  <a:lnTo>
                    <a:pt x="242" y="1092"/>
                  </a:lnTo>
                  <a:lnTo>
                    <a:pt x="246" y="1118"/>
                  </a:lnTo>
                  <a:lnTo>
                    <a:pt x="250" y="1142"/>
                  </a:lnTo>
                  <a:lnTo>
                    <a:pt x="256" y="1164"/>
                  </a:lnTo>
                  <a:lnTo>
                    <a:pt x="264" y="1182"/>
                  </a:lnTo>
                  <a:lnTo>
                    <a:pt x="270" y="1202"/>
                  </a:lnTo>
                  <a:lnTo>
                    <a:pt x="280" y="1218"/>
                  </a:lnTo>
                  <a:lnTo>
                    <a:pt x="288" y="1232"/>
                  </a:lnTo>
                  <a:lnTo>
                    <a:pt x="298" y="1246"/>
                  </a:lnTo>
                  <a:lnTo>
                    <a:pt x="310" y="1256"/>
                  </a:lnTo>
                  <a:lnTo>
                    <a:pt x="322" y="1266"/>
                  </a:lnTo>
                  <a:lnTo>
                    <a:pt x="334" y="1274"/>
                  </a:lnTo>
                  <a:lnTo>
                    <a:pt x="348" y="1280"/>
                  </a:lnTo>
                  <a:lnTo>
                    <a:pt x="362" y="1284"/>
                  </a:lnTo>
                  <a:lnTo>
                    <a:pt x="376" y="1286"/>
                  </a:lnTo>
                  <a:lnTo>
                    <a:pt x="390" y="1288"/>
                  </a:lnTo>
                  <a:lnTo>
                    <a:pt x="390" y="1288"/>
                  </a:lnTo>
                  <a:lnTo>
                    <a:pt x="422" y="1286"/>
                  </a:lnTo>
                  <a:lnTo>
                    <a:pt x="436" y="1282"/>
                  </a:lnTo>
                  <a:lnTo>
                    <a:pt x="450" y="1278"/>
                  </a:lnTo>
                  <a:lnTo>
                    <a:pt x="464" y="1274"/>
                  </a:lnTo>
                  <a:lnTo>
                    <a:pt x="476" y="1268"/>
                  </a:lnTo>
                  <a:lnTo>
                    <a:pt x="486" y="1260"/>
                  </a:lnTo>
                  <a:lnTo>
                    <a:pt x="496" y="1254"/>
                  </a:lnTo>
                  <a:lnTo>
                    <a:pt x="506" y="1244"/>
                  </a:lnTo>
                  <a:lnTo>
                    <a:pt x="514" y="1234"/>
                  </a:lnTo>
                  <a:lnTo>
                    <a:pt x="520" y="1224"/>
                  </a:lnTo>
                  <a:lnTo>
                    <a:pt x="526" y="1212"/>
                  </a:lnTo>
                  <a:lnTo>
                    <a:pt x="530" y="1198"/>
                  </a:lnTo>
                  <a:lnTo>
                    <a:pt x="534" y="1184"/>
                  </a:lnTo>
                  <a:lnTo>
                    <a:pt x="536" y="1170"/>
                  </a:lnTo>
                  <a:lnTo>
                    <a:pt x="536" y="1154"/>
                  </a:lnTo>
                  <a:lnTo>
                    <a:pt x="536" y="1154"/>
                  </a:lnTo>
                  <a:lnTo>
                    <a:pt x="536" y="1126"/>
                  </a:lnTo>
                  <a:lnTo>
                    <a:pt x="530" y="1102"/>
                  </a:lnTo>
                  <a:lnTo>
                    <a:pt x="524" y="1076"/>
                  </a:lnTo>
                  <a:lnTo>
                    <a:pt x="514" y="1054"/>
                  </a:lnTo>
                  <a:lnTo>
                    <a:pt x="504" y="1030"/>
                  </a:lnTo>
                  <a:lnTo>
                    <a:pt x="490" y="1008"/>
                  </a:lnTo>
                  <a:lnTo>
                    <a:pt x="474" y="988"/>
                  </a:lnTo>
                  <a:lnTo>
                    <a:pt x="456" y="966"/>
                  </a:lnTo>
                  <a:lnTo>
                    <a:pt x="438" y="946"/>
                  </a:lnTo>
                  <a:lnTo>
                    <a:pt x="418" y="926"/>
                  </a:lnTo>
                  <a:lnTo>
                    <a:pt x="374" y="888"/>
                  </a:lnTo>
                  <a:lnTo>
                    <a:pt x="280" y="808"/>
                  </a:lnTo>
                  <a:lnTo>
                    <a:pt x="234" y="766"/>
                  </a:lnTo>
                  <a:lnTo>
                    <a:pt x="186" y="722"/>
                  </a:lnTo>
                  <a:lnTo>
                    <a:pt x="164" y="700"/>
                  </a:lnTo>
                  <a:lnTo>
                    <a:pt x="144" y="676"/>
                  </a:lnTo>
                  <a:lnTo>
                    <a:pt x="124" y="652"/>
                  </a:lnTo>
                  <a:lnTo>
                    <a:pt x="104" y="626"/>
                  </a:lnTo>
                  <a:lnTo>
                    <a:pt x="88" y="598"/>
                  </a:lnTo>
                  <a:lnTo>
                    <a:pt x="72" y="570"/>
                  </a:lnTo>
                  <a:lnTo>
                    <a:pt x="58" y="540"/>
                  </a:lnTo>
                  <a:lnTo>
                    <a:pt x="46" y="508"/>
                  </a:lnTo>
                  <a:lnTo>
                    <a:pt x="38" y="476"/>
                  </a:lnTo>
                  <a:lnTo>
                    <a:pt x="30" y="440"/>
                  </a:lnTo>
                  <a:lnTo>
                    <a:pt x="26" y="404"/>
                  </a:lnTo>
                  <a:lnTo>
                    <a:pt x="24" y="366"/>
                  </a:lnTo>
                  <a:lnTo>
                    <a:pt x="24" y="366"/>
                  </a:lnTo>
                  <a:lnTo>
                    <a:pt x="26" y="324"/>
                  </a:lnTo>
                  <a:lnTo>
                    <a:pt x="32" y="282"/>
                  </a:lnTo>
                  <a:lnTo>
                    <a:pt x="40" y="246"/>
                  </a:lnTo>
                  <a:lnTo>
                    <a:pt x="52" y="210"/>
                  </a:lnTo>
                  <a:lnTo>
                    <a:pt x="66" y="178"/>
                  </a:lnTo>
                  <a:lnTo>
                    <a:pt x="84" y="148"/>
                  </a:lnTo>
                  <a:lnTo>
                    <a:pt x="104" y="120"/>
                  </a:lnTo>
                  <a:lnTo>
                    <a:pt x="128" y="96"/>
                  </a:lnTo>
                  <a:lnTo>
                    <a:pt x="154" y="74"/>
                  </a:lnTo>
                  <a:lnTo>
                    <a:pt x="182" y="54"/>
                  </a:lnTo>
                  <a:lnTo>
                    <a:pt x="214" y="38"/>
                  </a:lnTo>
                  <a:lnTo>
                    <a:pt x="250" y="24"/>
                  </a:lnTo>
                  <a:lnTo>
                    <a:pt x="286" y="14"/>
                  </a:lnTo>
                  <a:lnTo>
                    <a:pt x="326" y="6"/>
                  </a:lnTo>
                  <a:lnTo>
                    <a:pt x="370" y="2"/>
                  </a:lnTo>
                  <a:lnTo>
                    <a:pt x="414" y="0"/>
                  </a:lnTo>
                  <a:lnTo>
                    <a:pt x="414" y="0"/>
                  </a:lnTo>
                  <a:lnTo>
                    <a:pt x="452" y="2"/>
                  </a:lnTo>
                  <a:lnTo>
                    <a:pt x="488" y="8"/>
                  </a:lnTo>
                  <a:lnTo>
                    <a:pt x="522" y="16"/>
                  </a:lnTo>
                  <a:lnTo>
                    <a:pt x="552" y="26"/>
                  </a:lnTo>
                  <a:lnTo>
                    <a:pt x="582" y="40"/>
                  </a:lnTo>
                  <a:lnTo>
                    <a:pt x="610" y="58"/>
                  </a:lnTo>
                  <a:lnTo>
                    <a:pt x="634" y="78"/>
                  </a:lnTo>
                  <a:lnTo>
                    <a:pt x="658" y="100"/>
                  </a:lnTo>
                  <a:lnTo>
                    <a:pt x="678" y="126"/>
                  </a:lnTo>
                  <a:lnTo>
                    <a:pt x="698" y="152"/>
                  </a:lnTo>
                  <a:lnTo>
                    <a:pt x="714" y="182"/>
                  </a:lnTo>
                  <a:lnTo>
                    <a:pt x="728" y="212"/>
                  </a:lnTo>
                  <a:lnTo>
                    <a:pt x="742" y="246"/>
                  </a:lnTo>
                  <a:lnTo>
                    <a:pt x="750" y="280"/>
                  </a:lnTo>
                  <a:lnTo>
                    <a:pt x="758" y="318"/>
                  </a:lnTo>
                  <a:lnTo>
                    <a:pt x="764" y="356"/>
                  </a:lnTo>
                  <a:lnTo>
                    <a:pt x="524"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p:nvPr/>
        </p:nvGrpSpPr>
        <p:grpSpPr>
          <a:xfrm>
            <a:off x="1955065" y="3649060"/>
            <a:ext cx="1946456" cy="903608"/>
            <a:chOff x="3439642" y="4495801"/>
            <a:chExt cx="3291043" cy="1378982"/>
          </a:xfrm>
        </p:grpSpPr>
        <p:sp>
          <p:nvSpPr>
            <p:cNvPr id="27" name="Freeform 26"/>
            <p:cNvSpPr>
              <a:spLocks/>
            </p:cNvSpPr>
            <p:nvPr/>
          </p:nvSpPr>
          <p:spPr bwMode="auto">
            <a:xfrm>
              <a:off x="3439642" y="4495801"/>
              <a:ext cx="3291043" cy="1024260"/>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rgbClr val="142854">
                <a:lumMod val="75000"/>
              </a:srgbClr>
            </a:solidFill>
            <a:ln>
              <a:noFill/>
            </a:ln>
          </p:spPr>
          <p:txBody>
            <a:bodyPr vert="horz" wrap="square" lIns="91440" tIns="45720" rIns="91440" bIns="45720" numCol="1" anchor="t" anchorCtr="0" compatLnSpc="1">
              <a:prstTxWarp prst="textNoShape">
                <a:avLst/>
              </a:prstTxWarp>
              <a:noAutofit/>
            </a:bodyPr>
            <a:lstStyle/>
            <a:p>
              <a:pPr defTabSz="342900">
                <a:defRPr/>
              </a:pPr>
              <a:endParaRPr lang="en-US" kern="0">
                <a:solidFill>
                  <a:srgbClr val="676767"/>
                </a:solidFill>
                <a:latin typeface="+mj-lt"/>
                <a:ea typeface="ＭＳ Ｐゴシック" charset="0"/>
              </a:endParaRPr>
            </a:p>
          </p:txBody>
        </p:sp>
        <p:grpSp>
          <p:nvGrpSpPr>
            <p:cNvPr id="28" name="Group 27"/>
            <p:cNvGrpSpPr/>
            <p:nvPr/>
          </p:nvGrpSpPr>
          <p:grpSpPr>
            <a:xfrm>
              <a:off x="5688373" y="4546059"/>
              <a:ext cx="976775" cy="703137"/>
              <a:chOff x="8120710" y="1078757"/>
              <a:chExt cx="2713192" cy="1974768"/>
            </a:xfrm>
          </p:grpSpPr>
          <p:sp>
            <p:nvSpPr>
              <p:cNvPr id="212" name="Rectangle 561"/>
              <p:cNvSpPr/>
              <p:nvPr/>
            </p:nvSpPr>
            <p:spPr>
              <a:xfrm>
                <a:off x="8120710" y="1078757"/>
                <a:ext cx="2713192" cy="1974768"/>
              </a:xfrm>
              <a:custGeom>
                <a:avLst/>
                <a:gdLst>
                  <a:gd name="connsiteX0" fmla="*/ 0 w 794608"/>
                  <a:gd name="connsiteY0" fmla="*/ 0 h 534457"/>
                  <a:gd name="connsiteX1" fmla="*/ 794608 w 794608"/>
                  <a:gd name="connsiteY1" fmla="*/ 0 h 534457"/>
                  <a:gd name="connsiteX2" fmla="*/ 794608 w 794608"/>
                  <a:gd name="connsiteY2" fmla="*/ 534457 h 534457"/>
                  <a:gd name="connsiteX3" fmla="*/ 0 w 794608"/>
                  <a:gd name="connsiteY3" fmla="*/ 534457 h 534457"/>
                  <a:gd name="connsiteX4" fmla="*/ 0 w 794608"/>
                  <a:gd name="connsiteY4" fmla="*/ 0 h 534457"/>
                  <a:gd name="connsiteX0" fmla="*/ 0 w 798418"/>
                  <a:gd name="connsiteY0" fmla="*/ 41910 h 576367"/>
                  <a:gd name="connsiteX1" fmla="*/ 798418 w 798418"/>
                  <a:gd name="connsiteY1" fmla="*/ 0 h 576367"/>
                  <a:gd name="connsiteX2" fmla="*/ 794608 w 798418"/>
                  <a:gd name="connsiteY2" fmla="*/ 576367 h 576367"/>
                  <a:gd name="connsiteX3" fmla="*/ 0 w 798418"/>
                  <a:gd name="connsiteY3" fmla="*/ 576367 h 576367"/>
                  <a:gd name="connsiteX4" fmla="*/ 0 w 798418"/>
                  <a:gd name="connsiteY4" fmla="*/ 41910 h 576367"/>
                  <a:gd name="connsiteX0" fmla="*/ 0 w 798418"/>
                  <a:gd name="connsiteY0" fmla="*/ 41910 h 639232"/>
                  <a:gd name="connsiteX1" fmla="*/ 798418 w 798418"/>
                  <a:gd name="connsiteY1" fmla="*/ 0 h 639232"/>
                  <a:gd name="connsiteX2" fmla="*/ 792703 w 798418"/>
                  <a:gd name="connsiteY2" fmla="*/ 639232 h 639232"/>
                  <a:gd name="connsiteX3" fmla="*/ 0 w 798418"/>
                  <a:gd name="connsiteY3" fmla="*/ 576367 h 639232"/>
                  <a:gd name="connsiteX4" fmla="*/ 0 w 798418"/>
                  <a:gd name="connsiteY4" fmla="*/ 41910 h 639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418" h="639232">
                    <a:moveTo>
                      <a:pt x="0" y="41910"/>
                    </a:moveTo>
                    <a:lnTo>
                      <a:pt x="798418" y="0"/>
                    </a:lnTo>
                    <a:lnTo>
                      <a:pt x="792703" y="639232"/>
                    </a:lnTo>
                    <a:lnTo>
                      <a:pt x="0" y="576367"/>
                    </a:lnTo>
                    <a:lnTo>
                      <a:pt x="0" y="41910"/>
                    </a:lnTo>
                    <a:close/>
                  </a:path>
                </a:pathLst>
              </a:custGeom>
              <a:solidFill>
                <a:srgbClr val="FFFFFF"/>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13" name="Freeform 212"/>
              <p:cNvSpPr>
                <a:spLocks noEditPoints="1"/>
              </p:cNvSpPr>
              <p:nvPr/>
            </p:nvSpPr>
            <p:spPr bwMode="auto">
              <a:xfrm rot="212959">
                <a:off x="8204711" y="2413436"/>
                <a:ext cx="462112" cy="366043"/>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D71F13"/>
              </a:solidFill>
              <a:ln>
                <a:noFill/>
              </a:ln>
              <a:scene3d>
                <a:camera prst="orthographicFront">
                  <a:rot lat="0" lon="18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214" name="Freeform 18"/>
              <p:cNvSpPr>
                <a:spLocks noEditPoints="1"/>
              </p:cNvSpPr>
              <p:nvPr/>
            </p:nvSpPr>
            <p:spPr bwMode="auto">
              <a:xfrm>
                <a:off x="8212892" y="1524701"/>
                <a:ext cx="2461155" cy="1282153"/>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cxnSp>
            <p:nvCxnSpPr>
              <p:cNvPr id="215" name="Elbow Connector 214"/>
              <p:cNvCxnSpPr/>
              <p:nvPr/>
            </p:nvCxnSpPr>
            <p:spPr>
              <a:xfrm flipV="1">
                <a:off x="8868275" y="1953089"/>
                <a:ext cx="332123" cy="260199"/>
              </a:xfrm>
              <a:prstGeom prst="bentConnector3">
                <a:avLst>
                  <a:gd name="adj1" fmla="val 99145"/>
                </a:avLst>
              </a:prstGeom>
              <a:noFill/>
              <a:ln w="9525" cap="flat" cmpd="sng" algn="ctr">
                <a:solidFill>
                  <a:srgbClr val="D71F13"/>
                </a:solidFill>
                <a:prstDash val="solid"/>
              </a:ln>
              <a:effectLst/>
            </p:spPr>
          </p:cxnSp>
          <p:sp>
            <p:nvSpPr>
              <p:cNvPr id="216" name="Freeform 215"/>
              <p:cNvSpPr>
                <a:spLocks noEditPoints="1"/>
              </p:cNvSpPr>
              <p:nvPr/>
            </p:nvSpPr>
            <p:spPr bwMode="auto">
              <a:xfrm>
                <a:off x="9115727" y="1824121"/>
                <a:ext cx="169344" cy="134139"/>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D71F13"/>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217" name="Oval 216"/>
              <p:cNvSpPr/>
              <p:nvPr/>
            </p:nvSpPr>
            <p:spPr>
              <a:xfrm>
                <a:off x="8729103" y="2162396"/>
                <a:ext cx="107487" cy="107486"/>
              </a:xfrm>
              <a:prstGeom prst="ellipse">
                <a:avLst/>
              </a:prstGeom>
              <a:solidFill>
                <a:srgbClr val="FFFFFF"/>
              </a:solidFill>
              <a:ln w="9525" cap="flat" cmpd="sng" algn="ctr">
                <a:solidFill>
                  <a:srgbClr val="D71F13"/>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18" name="Freeform 217"/>
              <p:cNvSpPr/>
              <p:nvPr/>
            </p:nvSpPr>
            <p:spPr>
              <a:xfrm>
                <a:off x="8120710" y="1078757"/>
                <a:ext cx="2713192" cy="323995"/>
              </a:xfrm>
              <a:custGeom>
                <a:avLst/>
                <a:gdLst>
                  <a:gd name="connsiteX0" fmla="*/ 1176706 w 1176706"/>
                  <a:gd name="connsiteY0" fmla="*/ 0 h 140516"/>
                  <a:gd name="connsiteX1" fmla="*/ 1175876 w 1176706"/>
                  <a:gd name="connsiteY1" fmla="*/ 84404 h 140516"/>
                  <a:gd name="connsiteX2" fmla="*/ 0 w 1176706"/>
                  <a:gd name="connsiteY2" fmla="*/ 140516 h 140516"/>
                  <a:gd name="connsiteX3" fmla="*/ 0 w 1176706"/>
                  <a:gd name="connsiteY3" fmla="*/ 56152 h 140516"/>
                  <a:gd name="connsiteX4" fmla="*/ 1176706 w 1176706"/>
                  <a:gd name="connsiteY4" fmla="*/ 0 h 14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706" h="140516">
                    <a:moveTo>
                      <a:pt x="1176706" y="0"/>
                    </a:moveTo>
                    <a:lnTo>
                      <a:pt x="1175876" y="84404"/>
                    </a:lnTo>
                    <a:lnTo>
                      <a:pt x="0" y="140516"/>
                    </a:lnTo>
                    <a:lnTo>
                      <a:pt x="0" y="56152"/>
                    </a:lnTo>
                    <a:lnTo>
                      <a:pt x="1176706" y="0"/>
                    </a:lnTo>
                    <a:close/>
                  </a:path>
                </a:pathLst>
              </a:custGeom>
              <a:solidFill>
                <a:srgbClr val="D71F13"/>
              </a:solidFill>
              <a:ln w="25400" cap="flat" cmpd="sng" algn="ctr">
                <a:noFill/>
                <a:prstDash val="solid"/>
              </a:ln>
              <a:effectLst/>
            </p:spPr>
            <p:txBody>
              <a:bodyPr wrap="square" rtlCol="0" anchor="ctr">
                <a:noAutofit/>
              </a:bodyPr>
              <a:lstStyle/>
              <a:p>
                <a:pPr algn="ctr" defTabSz="685800" fontAlgn="auto">
                  <a:spcBef>
                    <a:spcPts val="0"/>
                  </a:spcBef>
                  <a:spcAft>
                    <a:spcPts val="0"/>
                  </a:spcAft>
                  <a:defRPr/>
                </a:pPr>
                <a:endParaRPr lang="en-US" sz="1400" kern="0" dirty="0">
                  <a:solidFill>
                    <a:srgbClr val="FFFFFF"/>
                  </a:solidFill>
                  <a:latin typeface="+mj-lt"/>
                </a:endParaRPr>
              </a:p>
            </p:txBody>
          </p:sp>
          <p:sp>
            <p:nvSpPr>
              <p:cNvPr id="219" name="Rectangle 218"/>
              <p:cNvSpPr/>
              <p:nvPr/>
            </p:nvSpPr>
            <p:spPr>
              <a:xfrm>
                <a:off x="9661337" y="2532658"/>
                <a:ext cx="296314"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20" name="Rectangle 219"/>
              <p:cNvSpPr/>
              <p:nvPr/>
            </p:nvSpPr>
            <p:spPr>
              <a:xfrm>
                <a:off x="9661337" y="2603737"/>
                <a:ext cx="272780"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21" name="Rectangle 220"/>
              <p:cNvSpPr/>
              <p:nvPr/>
            </p:nvSpPr>
            <p:spPr>
              <a:xfrm>
                <a:off x="9661337" y="2674819"/>
                <a:ext cx="115152"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22" name="Rectangle 221"/>
              <p:cNvSpPr/>
              <p:nvPr/>
            </p:nvSpPr>
            <p:spPr>
              <a:xfrm>
                <a:off x="9661337" y="2745898"/>
                <a:ext cx="160745"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grpSp>
        <p:grpSp>
          <p:nvGrpSpPr>
            <p:cNvPr id="29" name="Group 28"/>
            <p:cNvGrpSpPr/>
            <p:nvPr/>
          </p:nvGrpSpPr>
          <p:grpSpPr>
            <a:xfrm>
              <a:off x="4616473" y="4595965"/>
              <a:ext cx="935013" cy="560475"/>
              <a:chOff x="4786870" y="1169894"/>
              <a:chExt cx="2700245" cy="1651089"/>
            </a:xfrm>
          </p:grpSpPr>
          <p:sp>
            <p:nvSpPr>
              <p:cNvPr id="125" name="Rectangle 124"/>
              <p:cNvSpPr/>
              <p:nvPr/>
            </p:nvSpPr>
            <p:spPr>
              <a:xfrm>
                <a:off x="4786870" y="1169894"/>
                <a:ext cx="2700245" cy="1651089"/>
              </a:xfrm>
              <a:prstGeom prst="rect">
                <a:avLst/>
              </a:prstGeom>
              <a:solidFill>
                <a:srgbClr val="FFFFFF"/>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26" name="Rectangle 125"/>
              <p:cNvSpPr/>
              <p:nvPr/>
            </p:nvSpPr>
            <p:spPr>
              <a:xfrm>
                <a:off x="6005171" y="1291688"/>
                <a:ext cx="1375530" cy="1158066"/>
              </a:xfrm>
              <a:prstGeom prst="rect">
                <a:avLst/>
              </a:prstGeom>
              <a:solidFill>
                <a:srgbClr val="FFFFFF"/>
              </a:solidFill>
              <a:ln w="12700" cap="flat" cmpd="sng" algn="ctr">
                <a:solidFill>
                  <a:srgbClr val="FFC000"/>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27" name="Rectangle 126"/>
              <p:cNvSpPr/>
              <p:nvPr/>
            </p:nvSpPr>
            <p:spPr>
              <a:xfrm>
                <a:off x="4786870" y="1169894"/>
                <a:ext cx="1122910" cy="1651089"/>
              </a:xfrm>
              <a:prstGeom prst="rect">
                <a:avLst/>
              </a:prstGeom>
              <a:solidFill>
                <a:srgbClr val="FFFFFF">
                  <a:lumMod val="9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grpSp>
            <p:nvGrpSpPr>
              <p:cNvPr id="128" name="Group 127"/>
              <p:cNvGrpSpPr/>
              <p:nvPr/>
            </p:nvGrpSpPr>
            <p:grpSpPr>
              <a:xfrm>
                <a:off x="4861961" y="1271395"/>
                <a:ext cx="271449" cy="283084"/>
                <a:chOff x="2699362" y="419773"/>
                <a:chExt cx="1310784" cy="1503649"/>
              </a:xfrm>
              <a:solidFill>
                <a:srgbClr val="FFFFFF">
                  <a:lumMod val="65000"/>
                </a:srgbClr>
              </a:solidFill>
            </p:grpSpPr>
            <p:grpSp>
              <p:nvGrpSpPr>
                <p:cNvPr id="203" name="Group 202"/>
                <p:cNvGrpSpPr/>
                <p:nvPr/>
              </p:nvGrpSpPr>
              <p:grpSpPr>
                <a:xfrm>
                  <a:off x="2699362" y="419773"/>
                  <a:ext cx="1310784" cy="1503649"/>
                  <a:chOff x="2699358" y="419774"/>
                  <a:chExt cx="1310782" cy="1503648"/>
                </a:xfrm>
                <a:grpFill/>
              </p:grpSpPr>
              <p:sp>
                <p:nvSpPr>
                  <p:cNvPr id="209"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210" name="Rectangle 20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211" name="Rectangle 21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204" name="Rectangle 203"/>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05" name="Rectangle 204"/>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06" name="Rectangle 205"/>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07" name="Rectangle 206"/>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20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grpSp>
            <p:nvGrpSpPr>
              <p:cNvPr id="129" name="Group 128"/>
              <p:cNvGrpSpPr/>
              <p:nvPr/>
            </p:nvGrpSpPr>
            <p:grpSpPr>
              <a:xfrm>
                <a:off x="5181983" y="1271395"/>
                <a:ext cx="271449" cy="283084"/>
                <a:chOff x="2699362" y="419773"/>
                <a:chExt cx="1310784" cy="1503649"/>
              </a:xfrm>
              <a:solidFill>
                <a:srgbClr val="FFFFFF">
                  <a:lumMod val="65000"/>
                </a:srgbClr>
              </a:solidFill>
            </p:grpSpPr>
            <p:grpSp>
              <p:nvGrpSpPr>
                <p:cNvPr id="194" name="Group 193"/>
                <p:cNvGrpSpPr/>
                <p:nvPr/>
              </p:nvGrpSpPr>
              <p:grpSpPr>
                <a:xfrm>
                  <a:off x="2699362" y="419773"/>
                  <a:ext cx="1310784" cy="1503649"/>
                  <a:chOff x="2699358" y="419774"/>
                  <a:chExt cx="1310782" cy="1503648"/>
                </a:xfrm>
                <a:grpFill/>
              </p:grpSpPr>
              <p:sp>
                <p:nvSpPr>
                  <p:cNvPr id="20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201" name="Rectangle 20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202" name="Rectangle 20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95" name="Rectangle 194"/>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96" name="Rectangle 195"/>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97" name="Rectangle 196"/>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98" name="Rectangle 197"/>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9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grpSp>
            <p:nvGrpSpPr>
              <p:cNvPr id="130" name="Group 129"/>
              <p:cNvGrpSpPr/>
              <p:nvPr/>
            </p:nvGrpSpPr>
            <p:grpSpPr>
              <a:xfrm>
                <a:off x="5508282" y="1271395"/>
                <a:ext cx="271449" cy="283084"/>
                <a:chOff x="2699362" y="419773"/>
                <a:chExt cx="1310784" cy="1503649"/>
              </a:xfrm>
              <a:solidFill>
                <a:srgbClr val="FFC000"/>
              </a:solidFill>
            </p:grpSpPr>
            <p:grpSp>
              <p:nvGrpSpPr>
                <p:cNvPr id="185" name="Group 184"/>
                <p:cNvGrpSpPr/>
                <p:nvPr/>
              </p:nvGrpSpPr>
              <p:grpSpPr>
                <a:xfrm>
                  <a:off x="2699362" y="419773"/>
                  <a:ext cx="1310784" cy="1503649"/>
                  <a:chOff x="2699358" y="419774"/>
                  <a:chExt cx="1310782" cy="1503648"/>
                </a:xfrm>
                <a:grpFill/>
              </p:grpSpPr>
              <p:sp>
                <p:nvSpPr>
                  <p:cNvPr id="19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92" name="Rectangle 19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193" name="Rectangle 19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86" name="Rectangle 185"/>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87" name="Rectangle 186"/>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88" name="Rectangle 187"/>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89" name="Rectangle 188"/>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9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grpSp>
            <p:nvGrpSpPr>
              <p:cNvPr id="131" name="Group 130"/>
              <p:cNvGrpSpPr/>
              <p:nvPr/>
            </p:nvGrpSpPr>
            <p:grpSpPr>
              <a:xfrm>
                <a:off x="4861961" y="1597694"/>
                <a:ext cx="271449" cy="283084"/>
                <a:chOff x="2699362" y="419773"/>
                <a:chExt cx="1310784" cy="1503649"/>
              </a:xfrm>
              <a:solidFill>
                <a:srgbClr val="FFFFFF">
                  <a:lumMod val="65000"/>
                </a:srgbClr>
              </a:solidFill>
            </p:grpSpPr>
            <p:grpSp>
              <p:nvGrpSpPr>
                <p:cNvPr id="176" name="Group 175"/>
                <p:cNvGrpSpPr/>
                <p:nvPr/>
              </p:nvGrpSpPr>
              <p:grpSpPr>
                <a:xfrm>
                  <a:off x="2699362" y="419773"/>
                  <a:ext cx="1310784" cy="1503649"/>
                  <a:chOff x="2699358" y="419774"/>
                  <a:chExt cx="1310782" cy="1503648"/>
                </a:xfrm>
                <a:grpFill/>
              </p:grpSpPr>
              <p:sp>
                <p:nvSpPr>
                  <p:cNvPr id="18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83" name="Rectangle 18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184" name="Rectangle 18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77" name="Rectangle 176"/>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78" name="Rectangle 177"/>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79" name="Rectangle 178"/>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80" name="Rectangle 179"/>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8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grpSp>
            <p:nvGrpSpPr>
              <p:cNvPr id="132" name="Group 131"/>
              <p:cNvGrpSpPr/>
              <p:nvPr/>
            </p:nvGrpSpPr>
            <p:grpSpPr>
              <a:xfrm>
                <a:off x="5181983" y="1597694"/>
                <a:ext cx="271449" cy="283084"/>
                <a:chOff x="2699362" y="419773"/>
                <a:chExt cx="1310784" cy="1503649"/>
              </a:xfrm>
              <a:solidFill>
                <a:srgbClr val="FFFFFF">
                  <a:lumMod val="65000"/>
                </a:srgbClr>
              </a:solidFill>
            </p:grpSpPr>
            <p:grpSp>
              <p:nvGrpSpPr>
                <p:cNvPr id="167" name="Group 166"/>
                <p:cNvGrpSpPr/>
                <p:nvPr/>
              </p:nvGrpSpPr>
              <p:grpSpPr>
                <a:xfrm>
                  <a:off x="2699362" y="419773"/>
                  <a:ext cx="1310784" cy="1503649"/>
                  <a:chOff x="2699358" y="419774"/>
                  <a:chExt cx="1310782" cy="1503648"/>
                </a:xfrm>
                <a:grpFill/>
              </p:grpSpPr>
              <p:sp>
                <p:nvSpPr>
                  <p:cNvPr id="17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74" name="Rectangle 17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175" name="Rectangle 17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68" name="Rectangle 167"/>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69" name="Rectangle 168"/>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70" name="Rectangle 169"/>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71" name="Rectangle 170"/>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7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grpSp>
            <p:nvGrpSpPr>
              <p:cNvPr id="133" name="Group 132"/>
              <p:cNvGrpSpPr/>
              <p:nvPr/>
            </p:nvGrpSpPr>
            <p:grpSpPr>
              <a:xfrm>
                <a:off x="5508282" y="1597694"/>
                <a:ext cx="271449" cy="283084"/>
                <a:chOff x="2699362" y="419773"/>
                <a:chExt cx="1310784" cy="1503649"/>
              </a:xfrm>
              <a:solidFill>
                <a:srgbClr val="FFFFFF">
                  <a:lumMod val="65000"/>
                </a:srgbClr>
              </a:solidFill>
            </p:grpSpPr>
            <p:grpSp>
              <p:nvGrpSpPr>
                <p:cNvPr id="158" name="Group 157"/>
                <p:cNvGrpSpPr/>
                <p:nvPr/>
              </p:nvGrpSpPr>
              <p:grpSpPr>
                <a:xfrm>
                  <a:off x="2699362" y="419773"/>
                  <a:ext cx="1310784" cy="1503649"/>
                  <a:chOff x="2699358" y="419774"/>
                  <a:chExt cx="1310782" cy="1503648"/>
                </a:xfrm>
                <a:grpFill/>
              </p:grpSpPr>
              <p:sp>
                <p:nvSpPr>
                  <p:cNvPr id="164"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65" name="Rectangle 16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166" name="Rectangle 16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59" name="Rectangle 158"/>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60" name="Rectangle 159"/>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61" name="Rectangle 160"/>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62" name="Rectangle 161"/>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6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sp>
            <p:nvSpPr>
              <p:cNvPr id="134" name="Rectangle 133"/>
              <p:cNvSpPr/>
              <p:nvPr/>
            </p:nvSpPr>
            <p:spPr>
              <a:xfrm>
                <a:off x="4865717" y="1967345"/>
                <a:ext cx="546038"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35" name="Rectangle 134"/>
              <p:cNvSpPr/>
              <p:nvPr/>
            </p:nvSpPr>
            <p:spPr>
              <a:xfrm>
                <a:off x="4865717" y="2098132"/>
                <a:ext cx="663337"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36" name="Rectangle 135"/>
              <p:cNvSpPr/>
              <p:nvPr/>
            </p:nvSpPr>
            <p:spPr>
              <a:xfrm>
                <a:off x="4865717" y="2228919"/>
                <a:ext cx="455398"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37" name="Rectangle 136"/>
              <p:cNvSpPr/>
              <p:nvPr/>
            </p:nvSpPr>
            <p:spPr>
              <a:xfrm>
                <a:off x="4865717" y="2359706"/>
                <a:ext cx="759309"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38" name="Rectangle 137"/>
              <p:cNvSpPr/>
              <p:nvPr/>
            </p:nvSpPr>
            <p:spPr>
              <a:xfrm>
                <a:off x="4865717" y="2490493"/>
                <a:ext cx="207470"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39" name="Rectangle 138"/>
              <p:cNvSpPr/>
              <p:nvPr/>
            </p:nvSpPr>
            <p:spPr>
              <a:xfrm>
                <a:off x="4865717" y="2621279"/>
                <a:ext cx="668669" cy="66502"/>
              </a:xfrm>
              <a:prstGeom prst="rect">
                <a:avLst/>
              </a:prstGeom>
              <a:solidFill>
                <a:srgbClr val="FFC00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0" name="Rectangle 139"/>
              <p:cNvSpPr/>
              <p:nvPr/>
            </p:nvSpPr>
            <p:spPr>
              <a:xfrm>
                <a:off x="5388232" y="2228919"/>
                <a:ext cx="303441"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1" name="Rectangle 140"/>
              <p:cNvSpPr/>
              <p:nvPr/>
            </p:nvSpPr>
            <p:spPr>
              <a:xfrm>
                <a:off x="5137638" y="2490493"/>
                <a:ext cx="207470"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grpSp>
            <p:nvGrpSpPr>
              <p:cNvPr id="142" name="Group 141"/>
              <p:cNvGrpSpPr/>
              <p:nvPr/>
            </p:nvGrpSpPr>
            <p:grpSpPr>
              <a:xfrm>
                <a:off x="6096000" y="1376197"/>
                <a:ext cx="406365" cy="423783"/>
                <a:chOff x="2699358" y="419774"/>
                <a:chExt cx="1310781" cy="1503648"/>
              </a:xfrm>
              <a:solidFill>
                <a:srgbClr val="FFC000"/>
              </a:solidFill>
            </p:grpSpPr>
            <p:grpSp>
              <p:nvGrpSpPr>
                <p:cNvPr id="149" name="Group 148"/>
                <p:cNvGrpSpPr/>
                <p:nvPr/>
              </p:nvGrpSpPr>
              <p:grpSpPr>
                <a:xfrm>
                  <a:off x="2699358" y="419774"/>
                  <a:ext cx="1310781" cy="1503648"/>
                  <a:chOff x="2699358" y="419774"/>
                  <a:chExt cx="1310782" cy="1503648"/>
                </a:xfrm>
                <a:grpFill/>
              </p:grpSpPr>
              <p:sp>
                <p:nvSpPr>
                  <p:cNvPr id="15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56" name="Rectangle 15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157" name="Rectangle 15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grpSp>
            <p:sp>
              <p:nvSpPr>
                <p:cNvPr id="150" name="Rectangle 149"/>
                <p:cNvSpPr/>
                <p:nvPr/>
              </p:nvSpPr>
              <p:spPr>
                <a:xfrm>
                  <a:off x="2878158" y="665015"/>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51" name="Rectangle 150"/>
                <p:cNvSpPr/>
                <p:nvPr/>
              </p:nvSpPr>
              <p:spPr>
                <a:xfrm>
                  <a:off x="2878155" y="806732"/>
                  <a:ext cx="494414"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52" name="Rectangle 151"/>
                <p:cNvSpPr/>
                <p:nvPr/>
              </p:nvSpPr>
              <p:spPr>
                <a:xfrm>
                  <a:off x="2878155" y="948449"/>
                  <a:ext cx="208714" cy="67606"/>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53" name="Rectangle 152"/>
                <p:cNvSpPr/>
                <p:nvPr/>
              </p:nvSpPr>
              <p:spPr>
                <a:xfrm>
                  <a:off x="2878151" y="1090166"/>
                  <a:ext cx="291351"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54" name="Freeform 19"/>
                <p:cNvSpPr>
                  <a:spLocks noChangeAspect="1" noEditPoints="1"/>
                </p:cNvSpPr>
                <p:nvPr/>
              </p:nvSpPr>
              <p:spPr bwMode="auto">
                <a:xfrm>
                  <a:off x="2870197" y="1362075"/>
                  <a:ext cx="322859" cy="414882"/>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mj-lt"/>
                  </a:endParaRPr>
                </a:p>
              </p:txBody>
            </p:sp>
          </p:grpSp>
          <p:sp>
            <p:nvSpPr>
              <p:cNvPr id="143" name="Rounded Rectangle 142"/>
              <p:cNvSpPr/>
              <p:nvPr/>
            </p:nvSpPr>
            <p:spPr>
              <a:xfrm>
                <a:off x="6866964" y="2545976"/>
                <a:ext cx="525930" cy="185271"/>
              </a:xfrm>
              <a:prstGeom prst="roundRect">
                <a:avLst/>
              </a:prstGeom>
              <a:solidFill>
                <a:srgbClr val="92D05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4" name="Rectangle 143"/>
              <p:cNvSpPr/>
              <p:nvPr/>
            </p:nvSpPr>
            <p:spPr>
              <a:xfrm>
                <a:off x="6573725" y="1412211"/>
                <a:ext cx="571172"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5" name="Rectangle 144"/>
              <p:cNvSpPr/>
              <p:nvPr/>
            </p:nvSpPr>
            <p:spPr>
              <a:xfrm>
                <a:off x="6573725" y="1549764"/>
                <a:ext cx="385148"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6" name="Rectangle 145"/>
              <p:cNvSpPr/>
              <p:nvPr/>
            </p:nvSpPr>
            <p:spPr>
              <a:xfrm>
                <a:off x="6573724" y="1687317"/>
                <a:ext cx="521391"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7" name="Rectangle 146"/>
              <p:cNvSpPr/>
              <p:nvPr/>
            </p:nvSpPr>
            <p:spPr>
              <a:xfrm>
                <a:off x="6573724" y="1824870"/>
                <a:ext cx="605233"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148" name="Rectangle 147"/>
              <p:cNvSpPr/>
              <p:nvPr/>
            </p:nvSpPr>
            <p:spPr>
              <a:xfrm>
                <a:off x="6573725" y="1962424"/>
                <a:ext cx="382528"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grpSp>
        <p:sp>
          <p:nvSpPr>
            <p:cNvPr id="30" name="Freeform 88"/>
            <p:cNvSpPr>
              <a:spLocks/>
            </p:cNvSpPr>
            <p:nvPr/>
          </p:nvSpPr>
          <p:spPr bwMode="auto">
            <a:xfrm>
              <a:off x="3514409" y="4536267"/>
              <a:ext cx="970528" cy="731900"/>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Lst>
              <a:ahLst/>
              <a:cxnLst>
                <a:cxn ang="0">
                  <a:pos x="T0" y="T1"/>
                </a:cxn>
                <a:cxn ang="0">
                  <a:pos x="T2" y="T3"/>
                </a:cxn>
                <a:cxn ang="0">
                  <a:pos x="T4" y="T5"/>
                </a:cxn>
                <a:cxn ang="0">
                  <a:pos x="T6" y="T7"/>
                </a:cxn>
                <a:cxn ang="0">
                  <a:pos x="T8" y="T9"/>
                </a:cxn>
              </a:cxnLst>
              <a:rect l="0" t="0" r="r" b="b"/>
              <a:pathLst>
                <a:path w="349" h="252">
                  <a:moveTo>
                    <a:pt x="349" y="222"/>
                  </a:moveTo>
                  <a:lnTo>
                    <a:pt x="0" y="252"/>
                  </a:lnTo>
                  <a:lnTo>
                    <a:pt x="0" y="0"/>
                  </a:lnTo>
                  <a:lnTo>
                    <a:pt x="349" y="19"/>
                  </a:lnTo>
                  <a:lnTo>
                    <a:pt x="349" y="222"/>
                  </a:lnTo>
                  <a:close/>
                </a:path>
              </a:pathLst>
            </a:custGeom>
            <a:solidFill>
              <a:srgbClr val="676767"/>
            </a:solidFill>
            <a:ln>
              <a:noFill/>
            </a:ln>
          </p:spPr>
          <p:txBody>
            <a:bodyPr vert="horz" wrap="square" lIns="91440" tIns="45720" rIns="91440" bIns="45720" numCol="1" anchor="t" anchorCtr="0" compatLnSpc="1">
              <a:prstTxWarp prst="textNoShape">
                <a:avLst/>
              </a:prstTxWarp>
            </a:bodyPr>
            <a:lstStyle/>
            <a:p>
              <a:pPr defTabSz="342900">
                <a:defRPr/>
              </a:pPr>
              <a:endParaRPr lang="en-US" kern="0">
                <a:solidFill>
                  <a:srgbClr val="676767"/>
                </a:solidFill>
                <a:latin typeface="+mj-lt"/>
                <a:ea typeface="ＭＳ Ｐゴシック" charset="0"/>
              </a:endParaRPr>
            </a:p>
          </p:txBody>
        </p:sp>
        <p:grpSp>
          <p:nvGrpSpPr>
            <p:cNvPr id="31" name="Group 30"/>
            <p:cNvGrpSpPr/>
            <p:nvPr/>
          </p:nvGrpSpPr>
          <p:grpSpPr>
            <a:xfrm>
              <a:off x="3507843" y="4535491"/>
              <a:ext cx="978701" cy="735512"/>
              <a:chOff x="1123963" y="4031464"/>
              <a:chExt cx="1268502" cy="923266"/>
            </a:xfrm>
          </p:grpSpPr>
          <p:sp>
            <p:nvSpPr>
              <p:cNvPr id="33" name="Rectangle 561"/>
              <p:cNvSpPr/>
              <p:nvPr/>
            </p:nvSpPr>
            <p:spPr>
              <a:xfrm flipH="1">
                <a:off x="1123963" y="4031464"/>
                <a:ext cx="1268502" cy="923266"/>
              </a:xfrm>
              <a:custGeom>
                <a:avLst/>
                <a:gdLst>
                  <a:gd name="connsiteX0" fmla="*/ 0 w 794608"/>
                  <a:gd name="connsiteY0" fmla="*/ 0 h 534457"/>
                  <a:gd name="connsiteX1" fmla="*/ 794608 w 794608"/>
                  <a:gd name="connsiteY1" fmla="*/ 0 h 534457"/>
                  <a:gd name="connsiteX2" fmla="*/ 794608 w 794608"/>
                  <a:gd name="connsiteY2" fmla="*/ 534457 h 534457"/>
                  <a:gd name="connsiteX3" fmla="*/ 0 w 794608"/>
                  <a:gd name="connsiteY3" fmla="*/ 534457 h 534457"/>
                  <a:gd name="connsiteX4" fmla="*/ 0 w 794608"/>
                  <a:gd name="connsiteY4" fmla="*/ 0 h 534457"/>
                  <a:gd name="connsiteX0" fmla="*/ 0 w 798418"/>
                  <a:gd name="connsiteY0" fmla="*/ 41910 h 576367"/>
                  <a:gd name="connsiteX1" fmla="*/ 798418 w 798418"/>
                  <a:gd name="connsiteY1" fmla="*/ 0 h 576367"/>
                  <a:gd name="connsiteX2" fmla="*/ 794608 w 798418"/>
                  <a:gd name="connsiteY2" fmla="*/ 576367 h 576367"/>
                  <a:gd name="connsiteX3" fmla="*/ 0 w 798418"/>
                  <a:gd name="connsiteY3" fmla="*/ 576367 h 576367"/>
                  <a:gd name="connsiteX4" fmla="*/ 0 w 798418"/>
                  <a:gd name="connsiteY4" fmla="*/ 41910 h 576367"/>
                  <a:gd name="connsiteX0" fmla="*/ 0 w 798418"/>
                  <a:gd name="connsiteY0" fmla="*/ 41910 h 639232"/>
                  <a:gd name="connsiteX1" fmla="*/ 798418 w 798418"/>
                  <a:gd name="connsiteY1" fmla="*/ 0 h 639232"/>
                  <a:gd name="connsiteX2" fmla="*/ 792703 w 798418"/>
                  <a:gd name="connsiteY2" fmla="*/ 639232 h 639232"/>
                  <a:gd name="connsiteX3" fmla="*/ 0 w 798418"/>
                  <a:gd name="connsiteY3" fmla="*/ 576367 h 639232"/>
                  <a:gd name="connsiteX4" fmla="*/ 0 w 798418"/>
                  <a:gd name="connsiteY4" fmla="*/ 41910 h 639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418" h="639232">
                    <a:moveTo>
                      <a:pt x="0" y="41910"/>
                    </a:moveTo>
                    <a:lnTo>
                      <a:pt x="798418" y="0"/>
                    </a:lnTo>
                    <a:lnTo>
                      <a:pt x="792703" y="639232"/>
                    </a:lnTo>
                    <a:lnTo>
                      <a:pt x="0" y="576367"/>
                    </a:lnTo>
                    <a:lnTo>
                      <a:pt x="0" y="41910"/>
                    </a:lnTo>
                    <a:close/>
                  </a:path>
                </a:pathLst>
              </a:custGeom>
              <a:solidFill>
                <a:srgbClr val="FFFFFF">
                  <a:lumMod val="8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sp>
            <p:nvSpPr>
              <p:cNvPr id="34" name="Freeform 33"/>
              <p:cNvSpPr/>
              <p:nvPr/>
            </p:nvSpPr>
            <p:spPr>
              <a:xfrm flipH="1">
                <a:off x="1123963" y="4031464"/>
                <a:ext cx="524371" cy="923266"/>
              </a:xfrm>
              <a:custGeom>
                <a:avLst/>
                <a:gdLst>
                  <a:gd name="connsiteX0" fmla="*/ 1121575 w 1121575"/>
                  <a:gd name="connsiteY0" fmla="*/ 0 h 1974768"/>
                  <a:gd name="connsiteX1" fmla="*/ 18121 w 1121575"/>
                  <a:gd name="connsiteY1" fmla="*/ 52656 h 1974768"/>
                  <a:gd name="connsiteX2" fmla="*/ 0 w 1121575"/>
                  <a:gd name="connsiteY2" fmla="*/ 1895308 h 1974768"/>
                  <a:gd name="connsiteX3" fmla="*/ 1102154 w 1121575"/>
                  <a:gd name="connsiteY3" fmla="*/ 1974768 h 1974768"/>
                </a:gdLst>
                <a:ahLst/>
                <a:cxnLst>
                  <a:cxn ang="0">
                    <a:pos x="connsiteX0" y="connsiteY0"/>
                  </a:cxn>
                  <a:cxn ang="0">
                    <a:pos x="connsiteX1" y="connsiteY1"/>
                  </a:cxn>
                  <a:cxn ang="0">
                    <a:pos x="connsiteX2" y="connsiteY2"/>
                  </a:cxn>
                  <a:cxn ang="0">
                    <a:pos x="connsiteX3" y="connsiteY3"/>
                  </a:cxn>
                </a:cxnLst>
                <a:rect l="l" t="t" r="r" b="b"/>
                <a:pathLst>
                  <a:path w="1121575" h="1974768">
                    <a:moveTo>
                      <a:pt x="1121575" y="0"/>
                    </a:moveTo>
                    <a:lnTo>
                      <a:pt x="18121" y="52656"/>
                    </a:lnTo>
                    <a:lnTo>
                      <a:pt x="0" y="1895308"/>
                    </a:lnTo>
                    <a:lnTo>
                      <a:pt x="1102154" y="1974768"/>
                    </a:lnTo>
                    <a:close/>
                  </a:path>
                </a:pathLst>
              </a:custGeom>
              <a:solidFill>
                <a:srgbClr val="FFFFFF"/>
              </a:solidFill>
              <a:ln w="25400" cap="flat" cmpd="sng" algn="ctr">
                <a:noFill/>
                <a:prstDash val="solid"/>
              </a:ln>
              <a:effectLst/>
            </p:spPr>
            <p:txBody>
              <a:bodyPr wrap="square" rtlCol="0" anchor="ctr">
                <a:noAutofit/>
              </a:bodyPr>
              <a:lstStyle/>
              <a:p>
                <a:pPr algn="ctr" defTabSz="685800" fontAlgn="auto">
                  <a:spcBef>
                    <a:spcPts val="0"/>
                  </a:spcBef>
                  <a:spcAft>
                    <a:spcPts val="0"/>
                  </a:spcAft>
                  <a:defRPr/>
                </a:pPr>
                <a:endParaRPr lang="en-US" sz="1400" kern="0" dirty="0">
                  <a:solidFill>
                    <a:srgbClr val="FFFFFF"/>
                  </a:solidFill>
                  <a:latin typeface="+mj-lt"/>
                </a:endParaRPr>
              </a:p>
            </p:txBody>
          </p:sp>
          <p:sp>
            <p:nvSpPr>
              <p:cNvPr id="35" name="Freeform 34"/>
              <p:cNvSpPr>
                <a:spLocks/>
              </p:cNvSpPr>
              <p:nvPr/>
            </p:nvSpPr>
            <p:spPr bwMode="auto">
              <a:xfrm>
                <a:off x="1233628" y="4807937"/>
                <a:ext cx="335535" cy="57520"/>
              </a:xfrm>
              <a:custGeom>
                <a:avLst/>
                <a:gdLst>
                  <a:gd name="T0" fmla="*/ 0 w 1683"/>
                  <a:gd name="T1" fmla="*/ 292 h 292"/>
                  <a:gd name="T2" fmla="*/ 1683 w 1683"/>
                  <a:gd name="T3" fmla="*/ 181 h 292"/>
                  <a:gd name="T4" fmla="*/ 1683 w 1683"/>
                  <a:gd name="T5" fmla="*/ 0 h 292"/>
                  <a:gd name="T6" fmla="*/ 0 w 1683"/>
                  <a:gd name="T7" fmla="*/ 95 h 292"/>
                  <a:gd name="T8" fmla="*/ 0 w 1683"/>
                  <a:gd name="T9" fmla="*/ 292 h 292"/>
                </a:gdLst>
                <a:ahLst/>
                <a:cxnLst>
                  <a:cxn ang="0">
                    <a:pos x="T0" y="T1"/>
                  </a:cxn>
                  <a:cxn ang="0">
                    <a:pos x="T2" y="T3"/>
                  </a:cxn>
                  <a:cxn ang="0">
                    <a:pos x="T4" y="T5"/>
                  </a:cxn>
                  <a:cxn ang="0">
                    <a:pos x="T6" y="T7"/>
                  </a:cxn>
                  <a:cxn ang="0">
                    <a:pos x="T8" y="T9"/>
                  </a:cxn>
                </a:cxnLst>
                <a:rect l="0" t="0" r="r" b="b"/>
                <a:pathLst>
                  <a:path w="1683" h="292">
                    <a:moveTo>
                      <a:pt x="0" y="292"/>
                    </a:moveTo>
                    <a:lnTo>
                      <a:pt x="1683" y="181"/>
                    </a:lnTo>
                    <a:lnTo>
                      <a:pt x="1683" y="0"/>
                    </a:lnTo>
                    <a:lnTo>
                      <a:pt x="0" y="95"/>
                    </a:lnTo>
                    <a:lnTo>
                      <a:pt x="0" y="292"/>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36" name="Freeform 35"/>
              <p:cNvSpPr>
                <a:spLocks/>
              </p:cNvSpPr>
              <p:nvPr/>
            </p:nvSpPr>
            <p:spPr bwMode="auto">
              <a:xfrm>
                <a:off x="1233628" y="4745624"/>
                <a:ext cx="251652" cy="50331"/>
              </a:xfrm>
              <a:custGeom>
                <a:avLst/>
                <a:gdLst>
                  <a:gd name="T0" fmla="*/ 1263 w 1263"/>
                  <a:gd name="T1" fmla="*/ 0 h 248"/>
                  <a:gd name="T2" fmla="*/ 0 w 1263"/>
                  <a:gd name="T3" fmla="*/ 52 h 248"/>
                  <a:gd name="T4" fmla="*/ 0 w 1263"/>
                  <a:gd name="T5" fmla="*/ 248 h 248"/>
                  <a:gd name="T6" fmla="*/ 1263 w 1263"/>
                  <a:gd name="T7" fmla="*/ 185 h 248"/>
                  <a:gd name="T8" fmla="*/ 1263 w 1263"/>
                  <a:gd name="T9" fmla="*/ 0 h 248"/>
                </a:gdLst>
                <a:ahLst/>
                <a:cxnLst>
                  <a:cxn ang="0">
                    <a:pos x="T0" y="T1"/>
                  </a:cxn>
                  <a:cxn ang="0">
                    <a:pos x="T2" y="T3"/>
                  </a:cxn>
                  <a:cxn ang="0">
                    <a:pos x="T4" y="T5"/>
                  </a:cxn>
                  <a:cxn ang="0">
                    <a:pos x="T6" y="T7"/>
                  </a:cxn>
                  <a:cxn ang="0">
                    <a:pos x="T8" y="T9"/>
                  </a:cxn>
                </a:cxnLst>
                <a:rect l="0" t="0" r="r" b="b"/>
                <a:pathLst>
                  <a:path w="1263" h="248">
                    <a:moveTo>
                      <a:pt x="1263" y="0"/>
                    </a:moveTo>
                    <a:lnTo>
                      <a:pt x="0" y="52"/>
                    </a:lnTo>
                    <a:lnTo>
                      <a:pt x="0" y="248"/>
                    </a:lnTo>
                    <a:lnTo>
                      <a:pt x="1263" y="185"/>
                    </a:lnTo>
                    <a:lnTo>
                      <a:pt x="1263" y="0"/>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37" name="Freeform 12"/>
              <p:cNvSpPr>
                <a:spLocks/>
              </p:cNvSpPr>
              <p:nvPr/>
            </p:nvSpPr>
            <p:spPr bwMode="auto">
              <a:xfrm>
                <a:off x="1233628" y="4686818"/>
                <a:ext cx="335535" cy="47934"/>
              </a:xfrm>
              <a:custGeom>
                <a:avLst/>
                <a:gdLst>
                  <a:gd name="T0" fmla="*/ 0 w 1683"/>
                  <a:gd name="T1" fmla="*/ 241 h 241"/>
                  <a:gd name="T2" fmla="*/ 1683 w 1683"/>
                  <a:gd name="T3" fmla="*/ 181 h 241"/>
                  <a:gd name="T4" fmla="*/ 1683 w 1683"/>
                  <a:gd name="T5" fmla="*/ 0 h 241"/>
                  <a:gd name="T6" fmla="*/ 0 w 1683"/>
                  <a:gd name="T7" fmla="*/ 44 h 241"/>
                  <a:gd name="T8" fmla="*/ 0 w 1683"/>
                  <a:gd name="T9" fmla="*/ 241 h 241"/>
                </a:gdLst>
                <a:ahLst/>
                <a:cxnLst>
                  <a:cxn ang="0">
                    <a:pos x="T0" y="T1"/>
                  </a:cxn>
                  <a:cxn ang="0">
                    <a:pos x="T2" y="T3"/>
                  </a:cxn>
                  <a:cxn ang="0">
                    <a:pos x="T4" y="T5"/>
                  </a:cxn>
                  <a:cxn ang="0">
                    <a:pos x="T6" y="T7"/>
                  </a:cxn>
                  <a:cxn ang="0">
                    <a:pos x="T8" y="T9"/>
                  </a:cxn>
                </a:cxnLst>
                <a:rect l="0" t="0" r="r" b="b"/>
                <a:pathLst>
                  <a:path w="1683" h="241">
                    <a:moveTo>
                      <a:pt x="0" y="241"/>
                    </a:moveTo>
                    <a:lnTo>
                      <a:pt x="1683" y="181"/>
                    </a:lnTo>
                    <a:lnTo>
                      <a:pt x="1683" y="0"/>
                    </a:lnTo>
                    <a:lnTo>
                      <a:pt x="0" y="44"/>
                    </a:lnTo>
                    <a:lnTo>
                      <a:pt x="0" y="241"/>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38" name="Freeform 13"/>
              <p:cNvSpPr>
                <a:spLocks/>
              </p:cNvSpPr>
              <p:nvPr/>
            </p:nvSpPr>
            <p:spPr bwMode="auto">
              <a:xfrm>
                <a:off x="1233628" y="4624504"/>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39" name="Freeform 18"/>
              <p:cNvSpPr>
                <a:spLocks noEditPoints="1"/>
              </p:cNvSpPr>
              <p:nvPr/>
            </p:nvSpPr>
            <p:spPr bwMode="auto">
              <a:xfrm>
                <a:off x="1189922" y="4348504"/>
                <a:ext cx="390259" cy="203307"/>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0" name="Oval 39"/>
              <p:cNvSpPr/>
              <p:nvPr/>
            </p:nvSpPr>
            <p:spPr>
              <a:xfrm>
                <a:off x="1203542" y="4109790"/>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1" name="Oval 40"/>
              <p:cNvSpPr/>
              <p:nvPr/>
            </p:nvSpPr>
            <p:spPr>
              <a:xfrm>
                <a:off x="1302049" y="4114462"/>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2" name="Oval 41"/>
              <p:cNvSpPr/>
              <p:nvPr/>
            </p:nvSpPr>
            <p:spPr>
              <a:xfrm>
                <a:off x="1400555" y="411913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3" name="Oval 42"/>
              <p:cNvSpPr/>
              <p:nvPr/>
            </p:nvSpPr>
            <p:spPr>
              <a:xfrm>
                <a:off x="1499062" y="4123807"/>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4" name="Oval 43"/>
              <p:cNvSpPr/>
              <p:nvPr/>
            </p:nvSpPr>
            <p:spPr>
              <a:xfrm>
                <a:off x="1203542" y="420323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5" name="Oval 44"/>
              <p:cNvSpPr/>
              <p:nvPr/>
            </p:nvSpPr>
            <p:spPr>
              <a:xfrm>
                <a:off x="1302049" y="4206738"/>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6" name="Oval 45"/>
              <p:cNvSpPr/>
              <p:nvPr/>
            </p:nvSpPr>
            <p:spPr>
              <a:xfrm>
                <a:off x="1400555" y="420907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mj-lt"/>
                </a:endParaRPr>
              </a:p>
            </p:txBody>
          </p:sp>
          <p:sp>
            <p:nvSpPr>
              <p:cNvPr id="47" name="Oval 46"/>
              <p:cNvSpPr/>
              <p:nvPr/>
            </p:nvSpPr>
            <p:spPr>
              <a:xfrm>
                <a:off x="1499062" y="4212579"/>
                <a:ext cx="60816" cy="60816"/>
              </a:xfrm>
              <a:prstGeom prst="ellipse">
                <a:avLst/>
              </a:prstGeom>
              <a:solidFill>
                <a:srgbClr val="D71F13"/>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mj-lt"/>
                </a:endParaRPr>
              </a:p>
            </p:txBody>
          </p:sp>
          <p:grpSp>
            <p:nvGrpSpPr>
              <p:cNvPr id="48" name="Group 47"/>
              <p:cNvGrpSpPr/>
              <p:nvPr/>
            </p:nvGrpSpPr>
            <p:grpSpPr>
              <a:xfrm>
                <a:off x="1687202" y="4688757"/>
                <a:ext cx="121315" cy="104370"/>
                <a:chOff x="3195041" y="1965278"/>
                <a:chExt cx="956216" cy="822660"/>
              </a:xfrm>
            </p:grpSpPr>
            <p:sp>
              <p:nvSpPr>
                <p:cNvPr id="119" name="Freeform 6"/>
                <p:cNvSpPr>
                  <a:spLocks/>
                </p:cNvSpPr>
                <p:nvPr/>
              </p:nvSpPr>
              <p:spPr bwMode="auto">
                <a:xfrm>
                  <a:off x="3924701" y="2486958"/>
                  <a:ext cx="105383" cy="142192"/>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20" name="Freeform 119"/>
                <p:cNvSpPr>
                  <a:spLocks/>
                </p:cNvSpPr>
                <p:nvPr/>
              </p:nvSpPr>
              <p:spPr bwMode="auto">
                <a:xfrm>
                  <a:off x="3588809" y="2229380"/>
                  <a:ext cx="108483" cy="414757"/>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21" name="Freeform 120"/>
                <p:cNvSpPr>
                  <a:spLocks/>
                </p:cNvSpPr>
                <p:nvPr/>
              </p:nvSpPr>
              <p:spPr bwMode="auto">
                <a:xfrm>
                  <a:off x="3249816" y="2053309"/>
                  <a:ext cx="108483" cy="603319"/>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22" name="Freeform 121"/>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23" name="Freeform 6"/>
                <p:cNvSpPr>
                  <a:spLocks/>
                </p:cNvSpPr>
                <p:nvPr/>
              </p:nvSpPr>
              <p:spPr bwMode="auto">
                <a:xfrm>
                  <a:off x="3758305" y="1965278"/>
                  <a:ext cx="105383" cy="671367"/>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24" name="Freeform 123"/>
                <p:cNvSpPr>
                  <a:spLocks/>
                </p:cNvSpPr>
                <p:nvPr/>
              </p:nvSpPr>
              <p:spPr bwMode="auto">
                <a:xfrm>
                  <a:off x="3419313" y="2405448"/>
                  <a:ext cx="108483" cy="246184"/>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grpSp>
            <p:nvGrpSpPr>
              <p:cNvPr id="49" name="Group 48"/>
              <p:cNvGrpSpPr/>
              <p:nvPr/>
            </p:nvGrpSpPr>
            <p:grpSpPr>
              <a:xfrm>
                <a:off x="1687202" y="4515847"/>
                <a:ext cx="121315" cy="97915"/>
                <a:chOff x="3195041" y="2016161"/>
                <a:chExt cx="956216" cy="771777"/>
              </a:xfrm>
            </p:grpSpPr>
            <p:sp>
              <p:nvSpPr>
                <p:cNvPr id="113" name="Freeform 6"/>
                <p:cNvSpPr>
                  <a:spLocks/>
                </p:cNvSpPr>
                <p:nvPr/>
              </p:nvSpPr>
              <p:spPr bwMode="auto">
                <a:xfrm>
                  <a:off x="3924702" y="2362581"/>
                  <a:ext cx="105382" cy="266570"/>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4" name="Freeform 113"/>
                <p:cNvSpPr>
                  <a:spLocks/>
                </p:cNvSpPr>
                <p:nvPr/>
              </p:nvSpPr>
              <p:spPr bwMode="auto">
                <a:xfrm>
                  <a:off x="3588809" y="2130232"/>
                  <a:ext cx="108482" cy="513905"/>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5" name="Freeform 114"/>
                <p:cNvSpPr>
                  <a:spLocks/>
                </p:cNvSpPr>
                <p:nvPr/>
              </p:nvSpPr>
              <p:spPr bwMode="auto">
                <a:xfrm>
                  <a:off x="3249816" y="2162882"/>
                  <a:ext cx="108483" cy="493747"/>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6" name="Freeform 115"/>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7" name="Freeform 6"/>
                <p:cNvSpPr>
                  <a:spLocks/>
                </p:cNvSpPr>
                <p:nvPr/>
              </p:nvSpPr>
              <p:spPr bwMode="auto">
                <a:xfrm>
                  <a:off x="3758305" y="2016161"/>
                  <a:ext cx="105383" cy="620485"/>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8" name="Freeform 117"/>
                <p:cNvSpPr>
                  <a:spLocks/>
                </p:cNvSpPr>
                <p:nvPr/>
              </p:nvSpPr>
              <p:spPr bwMode="auto">
                <a:xfrm>
                  <a:off x="3419313" y="2332429"/>
                  <a:ext cx="108483" cy="319202"/>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grpSp>
            <p:nvGrpSpPr>
              <p:cNvPr id="50" name="Group 49"/>
              <p:cNvGrpSpPr/>
              <p:nvPr/>
            </p:nvGrpSpPr>
            <p:grpSpPr>
              <a:xfrm>
                <a:off x="1687202" y="4350798"/>
                <a:ext cx="121315" cy="91546"/>
                <a:chOff x="3195041" y="2066358"/>
                <a:chExt cx="956216" cy="721580"/>
              </a:xfrm>
            </p:grpSpPr>
            <p:sp>
              <p:nvSpPr>
                <p:cNvPr id="107" name="Freeform 6"/>
                <p:cNvSpPr>
                  <a:spLocks/>
                </p:cNvSpPr>
                <p:nvPr/>
              </p:nvSpPr>
              <p:spPr bwMode="auto">
                <a:xfrm>
                  <a:off x="3924702" y="2362581"/>
                  <a:ext cx="105382" cy="266570"/>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08" name="Freeform 107"/>
                <p:cNvSpPr>
                  <a:spLocks/>
                </p:cNvSpPr>
                <p:nvPr/>
              </p:nvSpPr>
              <p:spPr bwMode="auto">
                <a:xfrm>
                  <a:off x="3588809" y="2379368"/>
                  <a:ext cx="108483" cy="264769"/>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09" name="Freeform 108"/>
                <p:cNvSpPr>
                  <a:spLocks/>
                </p:cNvSpPr>
                <p:nvPr/>
              </p:nvSpPr>
              <p:spPr bwMode="auto">
                <a:xfrm>
                  <a:off x="3249816" y="2066358"/>
                  <a:ext cx="108483" cy="590270"/>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0" name="Freeform 109"/>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1" name="Freeform 6"/>
                <p:cNvSpPr>
                  <a:spLocks/>
                </p:cNvSpPr>
                <p:nvPr/>
              </p:nvSpPr>
              <p:spPr bwMode="auto">
                <a:xfrm>
                  <a:off x="3758305" y="2513051"/>
                  <a:ext cx="105383" cy="123594"/>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112" name="Freeform 111"/>
                <p:cNvSpPr>
                  <a:spLocks/>
                </p:cNvSpPr>
                <p:nvPr/>
              </p:nvSpPr>
              <p:spPr bwMode="auto">
                <a:xfrm>
                  <a:off x="3419313" y="2222672"/>
                  <a:ext cx="108482" cy="428960"/>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sp>
            <p:nvSpPr>
              <p:cNvPr id="51" name="Freeform 50"/>
              <p:cNvSpPr>
                <a:spLocks/>
              </p:cNvSpPr>
              <p:nvPr/>
            </p:nvSpPr>
            <p:spPr bwMode="auto">
              <a:xfrm>
                <a:off x="1912455" y="4729279"/>
                <a:ext cx="335535" cy="57520"/>
              </a:xfrm>
              <a:custGeom>
                <a:avLst/>
                <a:gdLst>
                  <a:gd name="T0" fmla="*/ 0 w 1683"/>
                  <a:gd name="T1" fmla="*/ 292 h 292"/>
                  <a:gd name="T2" fmla="*/ 1683 w 1683"/>
                  <a:gd name="T3" fmla="*/ 181 h 292"/>
                  <a:gd name="T4" fmla="*/ 1683 w 1683"/>
                  <a:gd name="T5" fmla="*/ 0 h 292"/>
                  <a:gd name="T6" fmla="*/ 0 w 1683"/>
                  <a:gd name="T7" fmla="*/ 95 h 292"/>
                  <a:gd name="T8" fmla="*/ 0 w 1683"/>
                  <a:gd name="T9" fmla="*/ 292 h 292"/>
                </a:gdLst>
                <a:ahLst/>
                <a:cxnLst>
                  <a:cxn ang="0">
                    <a:pos x="T0" y="T1"/>
                  </a:cxn>
                  <a:cxn ang="0">
                    <a:pos x="T2" y="T3"/>
                  </a:cxn>
                  <a:cxn ang="0">
                    <a:pos x="T4" y="T5"/>
                  </a:cxn>
                  <a:cxn ang="0">
                    <a:pos x="T6" y="T7"/>
                  </a:cxn>
                  <a:cxn ang="0">
                    <a:pos x="T8" y="T9"/>
                  </a:cxn>
                </a:cxnLst>
                <a:rect l="0" t="0" r="r" b="b"/>
                <a:pathLst>
                  <a:path w="1683" h="292">
                    <a:moveTo>
                      <a:pt x="0" y="292"/>
                    </a:moveTo>
                    <a:lnTo>
                      <a:pt x="1683" y="181"/>
                    </a:lnTo>
                    <a:lnTo>
                      <a:pt x="1683" y="0"/>
                    </a:lnTo>
                    <a:lnTo>
                      <a:pt x="0" y="95"/>
                    </a:lnTo>
                    <a:lnTo>
                      <a:pt x="0" y="292"/>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52" name="Freeform 51"/>
              <p:cNvSpPr>
                <a:spLocks/>
              </p:cNvSpPr>
              <p:nvPr/>
            </p:nvSpPr>
            <p:spPr bwMode="auto">
              <a:xfrm>
                <a:off x="1912455" y="4666966"/>
                <a:ext cx="251652" cy="50331"/>
              </a:xfrm>
              <a:custGeom>
                <a:avLst/>
                <a:gdLst>
                  <a:gd name="T0" fmla="*/ 1263 w 1263"/>
                  <a:gd name="T1" fmla="*/ 0 h 248"/>
                  <a:gd name="T2" fmla="*/ 0 w 1263"/>
                  <a:gd name="T3" fmla="*/ 52 h 248"/>
                  <a:gd name="T4" fmla="*/ 0 w 1263"/>
                  <a:gd name="T5" fmla="*/ 248 h 248"/>
                  <a:gd name="T6" fmla="*/ 1263 w 1263"/>
                  <a:gd name="T7" fmla="*/ 185 h 248"/>
                  <a:gd name="T8" fmla="*/ 1263 w 1263"/>
                  <a:gd name="T9" fmla="*/ 0 h 248"/>
                </a:gdLst>
                <a:ahLst/>
                <a:cxnLst>
                  <a:cxn ang="0">
                    <a:pos x="T0" y="T1"/>
                  </a:cxn>
                  <a:cxn ang="0">
                    <a:pos x="T2" y="T3"/>
                  </a:cxn>
                  <a:cxn ang="0">
                    <a:pos x="T4" y="T5"/>
                  </a:cxn>
                  <a:cxn ang="0">
                    <a:pos x="T6" y="T7"/>
                  </a:cxn>
                  <a:cxn ang="0">
                    <a:pos x="T8" y="T9"/>
                  </a:cxn>
                </a:cxnLst>
                <a:rect l="0" t="0" r="r" b="b"/>
                <a:pathLst>
                  <a:path w="1263" h="248">
                    <a:moveTo>
                      <a:pt x="1263" y="0"/>
                    </a:moveTo>
                    <a:lnTo>
                      <a:pt x="0" y="52"/>
                    </a:lnTo>
                    <a:lnTo>
                      <a:pt x="0" y="248"/>
                    </a:lnTo>
                    <a:lnTo>
                      <a:pt x="1263" y="185"/>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53" name="Freeform 12"/>
              <p:cNvSpPr>
                <a:spLocks/>
              </p:cNvSpPr>
              <p:nvPr/>
            </p:nvSpPr>
            <p:spPr bwMode="auto">
              <a:xfrm>
                <a:off x="1912455" y="4599859"/>
                <a:ext cx="335535" cy="47934"/>
              </a:xfrm>
              <a:custGeom>
                <a:avLst/>
                <a:gdLst>
                  <a:gd name="T0" fmla="*/ 0 w 1683"/>
                  <a:gd name="T1" fmla="*/ 241 h 241"/>
                  <a:gd name="T2" fmla="*/ 1683 w 1683"/>
                  <a:gd name="T3" fmla="*/ 181 h 241"/>
                  <a:gd name="T4" fmla="*/ 1683 w 1683"/>
                  <a:gd name="T5" fmla="*/ 0 h 241"/>
                  <a:gd name="T6" fmla="*/ 0 w 1683"/>
                  <a:gd name="T7" fmla="*/ 44 h 241"/>
                  <a:gd name="T8" fmla="*/ 0 w 1683"/>
                  <a:gd name="T9" fmla="*/ 241 h 241"/>
                </a:gdLst>
                <a:ahLst/>
                <a:cxnLst>
                  <a:cxn ang="0">
                    <a:pos x="T0" y="T1"/>
                  </a:cxn>
                  <a:cxn ang="0">
                    <a:pos x="T2" y="T3"/>
                  </a:cxn>
                  <a:cxn ang="0">
                    <a:pos x="T4" y="T5"/>
                  </a:cxn>
                  <a:cxn ang="0">
                    <a:pos x="T6" y="T7"/>
                  </a:cxn>
                  <a:cxn ang="0">
                    <a:pos x="T8" y="T9"/>
                  </a:cxn>
                </a:cxnLst>
                <a:rect l="0" t="0" r="r" b="b"/>
                <a:pathLst>
                  <a:path w="1683" h="241">
                    <a:moveTo>
                      <a:pt x="0" y="241"/>
                    </a:moveTo>
                    <a:lnTo>
                      <a:pt x="1683" y="181"/>
                    </a:lnTo>
                    <a:lnTo>
                      <a:pt x="1683" y="0"/>
                    </a:lnTo>
                    <a:lnTo>
                      <a:pt x="0" y="44"/>
                    </a:lnTo>
                    <a:lnTo>
                      <a:pt x="0" y="24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54" name="Freeform 13"/>
              <p:cNvSpPr>
                <a:spLocks/>
              </p:cNvSpPr>
              <p:nvPr/>
            </p:nvSpPr>
            <p:spPr bwMode="auto">
              <a:xfrm>
                <a:off x="1912455" y="4537545"/>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nvGrpSpPr>
              <p:cNvPr id="55" name="Group 54"/>
              <p:cNvGrpSpPr/>
              <p:nvPr/>
            </p:nvGrpSpPr>
            <p:grpSpPr>
              <a:xfrm>
                <a:off x="1914903" y="4264312"/>
                <a:ext cx="117181" cy="75219"/>
                <a:chOff x="5507616" y="3765871"/>
                <a:chExt cx="158033" cy="101441"/>
              </a:xfrm>
            </p:grpSpPr>
            <p:sp>
              <p:nvSpPr>
                <p:cNvPr id="98" name="Rounded Rectangle 97"/>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nvGrpSpPr>
                <p:cNvPr id="99" name="Group 98"/>
                <p:cNvGrpSpPr/>
                <p:nvPr/>
              </p:nvGrpSpPr>
              <p:grpSpPr>
                <a:xfrm>
                  <a:off x="5632540" y="3783487"/>
                  <a:ext cx="19127" cy="66209"/>
                  <a:chOff x="11067363" y="2740173"/>
                  <a:chExt cx="100323" cy="315694"/>
                </a:xfrm>
              </p:grpSpPr>
              <p:sp>
                <p:nvSpPr>
                  <p:cNvPr id="103" name="Oval 102"/>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4" name="Oval 103"/>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5" name="Isosceles Triangle 104"/>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sp>
                <p:nvSpPr>
                  <p:cNvPr id="106" name="Isosceles Triangle 105"/>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sp>
              <p:nvSpPr>
                <p:cNvPr id="100" name="Rounded Rectangle 99"/>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1" name="Rounded Rectangle 100"/>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02" name="Rounded Rectangle 101"/>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6" name="Group 55"/>
              <p:cNvGrpSpPr/>
              <p:nvPr/>
            </p:nvGrpSpPr>
            <p:grpSpPr>
              <a:xfrm>
                <a:off x="1687202" y="4178234"/>
                <a:ext cx="121315" cy="104370"/>
                <a:chOff x="3195041" y="1965278"/>
                <a:chExt cx="956216" cy="822660"/>
              </a:xfrm>
            </p:grpSpPr>
            <p:sp>
              <p:nvSpPr>
                <p:cNvPr id="92" name="Freeform 6"/>
                <p:cNvSpPr>
                  <a:spLocks/>
                </p:cNvSpPr>
                <p:nvPr/>
              </p:nvSpPr>
              <p:spPr bwMode="auto">
                <a:xfrm>
                  <a:off x="3924701" y="2486958"/>
                  <a:ext cx="105383" cy="142192"/>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93" name="Freeform 92"/>
                <p:cNvSpPr>
                  <a:spLocks/>
                </p:cNvSpPr>
                <p:nvPr/>
              </p:nvSpPr>
              <p:spPr bwMode="auto">
                <a:xfrm>
                  <a:off x="3588809" y="2229380"/>
                  <a:ext cx="108483" cy="414757"/>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94" name="Freeform 93"/>
                <p:cNvSpPr>
                  <a:spLocks/>
                </p:cNvSpPr>
                <p:nvPr/>
              </p:nvSpPr>
              <p:spPr bwMode="auto">
                <a:xfrm>
                  <a:off x="3249816" y="2053309"/>
                  <a:ext cx="108483" cy="603319"/>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95" name="Freeform 94"/>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96" name="Freeform 6"/>
                <p:cNvSpPr>
                  <a:spLocks/>
                </p:cNvSpPr>
                <p:nvPr/>
              </p:nvSpPr>
              <p:spPr bwMode="auto">
                <a:xfrm>
                  <a:off x="3758305" y="1965278"/>
                  <a:ext cx="105383" cy="671367"/>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sp>
              <p:nvSpPr>
                <p:cNvPr id="97" name="Freeform 96"/>
                <p:cNvSpPr>
                  <a:spLocks/>
                </p:cNvSpPr>
                <p:nvPr/>
              </p:nvSpPr>
              <p:spPr bwMode="auto">
                <a:xfrm>
                  <a:off x="3419313" y="2405448"/>
                  <a:ext cx="108483" cy="246184"/>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grpSp>
            <p:nvGrpSpPr>
              <p:cNvPr id="57" name="Group 56"/>
              <p:cNvGrpSpPr/>
              <p:nvPr/>
            </p:nvGrpSpPr>
            <p:grpSpPr>
              <a:xfrm>
                <a:off x="2068474" y="4264312"/>
                <a:ext cx="117181" cy="75219"/>
                <a:chOff x="5507616" y="3765871"/>
                <a:chExt cx="158033" cy="101441"/>
              </a:xfrm>
            </p:grpSpPr>
            <p:sp>
              <p:nvSpPr>
                <p:cNvPr id="83" name="Rounded Rectangle 82"/>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nvGrpSpPr>
                <p:cNvPr id="84" name="Group 83"/>
                <p:cNvGrpSpPr/>
                <p:nvPr/>
              </p:nvGrpSpPr>
              <p:grpSpPr>
                <a:xfrm>
                  <a:off x="5632540" y="3783487"/>
                  <a:ext cx="19127" cy="66209"/>
                  <a:chOff x="11067363" y="2740173"/>
                  <a:chExt cx="100323" cy="315694"/>
                </a:xfrm>
              </p:grpSpPr>
              <p:sp>
                <p:nvSpPr>
                  <p:cNvPr id="88" name="Oval 87"/>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9" name="Oval 88"/>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90" name="Isosceles Triangle 89"/>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sp>
                <p:nvSpPr>
                  <p:cNvPr id="91" name="Isosceles Triangle 90"/>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sp>
              <p:nvSpPr>
                <p:cNvPr id="85" name="Rounded Rectangle 84"/>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6" name="Rounded Rectangle 85"/>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7" name="Rounded Rectangle 86"/>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8" name="Group 57"/>
              <p:cNvGrpSpPr/>
              <p:nvPr/>
            </p:nvGrpSpPr>
            <p:grpSpPr>
              <a:xfrm>
                <a:off x="2222045" y="4264312"/>
                <a:ext cx="117181" cy="75219"/>
                <a:chOff x="5507616" y="3765871"/>
                <a:chExt cx="158033" cy="101441"/>
              </a:xfrm>
            </p:grpSpPr>
            <p:sp>
              <p:nvSpPr>
                <p:cNvPr id="74" name="Rounded Rectangle 73"/>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nvGrpSpPr>
                <p:cNvPr id="75" name="Group 74"/>
                <p:cNvGrpSpPr/>
                <p:nvPr/>
              </p:nvGrpSpPr>
              <p:grpSpPr>
                <a:xfrm>
                  <a:off x="5632540" y="3783487"/>
                  <a:ext cx="19127" cy="66209"/>
                  <a:chOff x="11067363" y="2740173"/>
                  <a:chExt cx="100323" cy="315694"/>
                </a:xfrm>
              </p:grpSpPr>
              <p:sp>
                <p:nvSpPr>
                  <p:cNvPr id="79" name="Oval 78"/>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0" name="Oval 79"/>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81" name="Isosceles Triangle 80"/>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sp>
                <p:nvSpPr>
                  <p:cNvPr id="82" name="Isosceles Triangle 81"/>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mj-lt"/>
                    </a:endParaRPr>
                  </a:p>
                </p:txBody>
              </p:sp>
            </p:grpSp>
            <p:sp>
              <p:nvSpPr>
                <p:cNvPr id="76" name="Rounded Rectangle 75"/>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7" name="Rounded Rectangle 76"/>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78" name="Rounded Rectangle 77"/>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59" name="Group 58"/>
              <p:cNvGrpSpPr/>
              <p:nvPr/>
            </p:nvGrpSpPr>
            <p:grpSpPr>
              <a:xfrm flipH="1">
                <a:off x="1220167" y="4582796"/>
                <a:ext cx="402064" cy="289486"/>
                <a:chOff x="5693055" y="5228887"/>
                <a:chExt cx="815695" cy="587300"/>
              </a:xfrm>
            </p:grpSpPr>
            <p:sp>
              <p:nvSpPr>
                <p:cNvPr id="61" name="Freeform 482"/>
                <p:cNvSpPr>
                  <a:spLocks/>
                </p:cNvSpPr>
                <p:nvPr/>
              </p:nvSpPr>
              <p:spPr bwMode="auto">
                <a:xfrm>
                  <a:off x="5693055" y="5228887"/>
                  <a:ext cx="815695" cy="587300"/>
                </a:xfrm>
                <a:custGeom>
                  <a:avLst/>
                  <a:gdLst>
                    <a:gd name="T0" fmla="*/ 0 w 350"/>
                    <a:gd name="T1" fmla="*/ 223 h 252"/>
                    <a:gd name="T2" fmla="*/ 350 w 350"/>
                    <a:gd name="T3" fmla="*/ 252 h 252"/>
                    <a:gd name="T4" fmla="*/ 350 w 350"/>
                    <a:gd name="T5" fmla="*/ 0 h 252"/>
                    <a:gd name="T6" fmla="*/ 0 w 350"/>
                    <a:gd name="T7" fmla="*/ 20 h 252"/>
                    <a:gd name="T8" fmla="*/ 0 w 350"/>
                    <a:gd name="T9" fmla="*/ 223 h 252"/>
                  </a:gdLst>
                  <a:ahLst/>
                  <a:cxnLst>
                    <a:cxn ang="0">
                      <a:pos x="T0" y="T1"/>
                    </a:cxn>
                    <a:cxn ang="0">
                      <a:pos x="T2" y="T3"/>
                    </a:cxn>
                    <a:cxn ang="0">
                      <a:pos x="T4" y="T5"/>
                    </a:cxn>
                    <a:cxn ang="0">
                      <a:pos x="T6" y="T7"/>
                    </a:cxn>
                    <a:cxn ang="0">
                      <a:pos x="T8" y="T9"/>
                    </a:cxn>
                  </a:cxnLst>
                  <a:rect l="0" t="0" r="r" b="b"/>
                  <a:pathLst>
                    <a:path w="350" h="252">
                      <a:moveTo>
                        <a:pt x="0" y="223"/>
                      </a:moveTo>
                      <a:lnTo>
                        <a:pt x="350" y="252"/>
                      </a:lnTo>
                      <a:lnTo>
                        <a:pt x="350" y="0"/>
                      </a:lnTo>
                      <a:lnTo>
                        <a:pt x="0" y="20"/>
                      </a:lnTo>
                      <a:lnTo>
                        <a:pt x="0" y="22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2" name="Rectangle 521"/>
                <p:cNvSpPr>
                  <a:spLocks noChangeArrowheads="1"/>
                </p:cNvSpPr>
                <p:nvPr/>
              </p:nvSpPr>
              <p:spPr bwMode="auto">
                <a:xfrm>
                  <a:off x="6368916" y="5368721"/>
                  <a:ext cx="83900" cy="536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3" name="Freeform 522"/>
                <p:cNvSpPr>
                  <a:spLocks/>
                </p:cNvSpPr>
                <p:nvPr/>
              </p:nvSpPr>
              <p:spPr bwMode="auto">
                <a:xfrm>
                  <a:off x="5748988" y="5585463"/>
                  <a:ext cx="72248" cy="48942"/>
                </a:xfrm>
                <a:custGeom>
                  <a:avLst/>
                  <a:gdLst>
                    <a:gd name="T0" fmla="*/ 31 w 31"/>
                    <a:gd name="T1" fmla="*/ 1 h 21"/>
                    <a:gd name="T2" fmla="*/ 31 w 31"/>
                    <a:gd name="T3" fmla="*/ 21 h 21"/>
                    <a:gd name="T4" fmla="*/ 0 w 31"/>
                    <a:gd name="T5" fmla="*/ 19 h 21"/>
                    <a:gd name="T6" fmla="*/ 0 w 31"/>
                    <a:gd name="T7" fmla="*/ 0 h 21"/>
                    <a:gd name="T8" fmla="*/ 31 w 31"/>
                    <a:gd name="T9" fmla="*/ 1 h 21"/>
                  </a:gdLst>
                  <a:ahLst/>
                  <a:cxnLst>
                    <a:cxn ang="0">
                      <a:pos x="T0" y="T1"/>
                    </a:cxn>
                    <a:cxn ang="0">
                      <a:pos x="T2" y="T3"/>
                    </a:cxn>
                    <a:cxn ang="0">
                      <a:pos x="T4" y="T5"/>
                    </a:cxn>
                    <a:cxn ang="0">
                      <a:pos x="T6" y="T7"/>
                    </a:cxn>
                    <a:cxn ang="0">
                      <a:pos x="T8" y="T9"/>
                    </a:cxn>
                  </a:cxnLst>
                  <a:rect l="0" t="0" r="r" b="b"/>
                  <a:pathLst>
                    <a:path w="31" h="21">
                      <a:moveTo>
                        <a:pt x="31" y="1"/>
                      </a:moveTo>
                      <a:lnTo>
                        <a:pt x="31" y="21"/>
                      </a:lnTo>
                      <a:lnTo>
                        <a:pt x="0" y="19"/>
                      </a:lnTo>
                      <a:lnTo>
                        <a:pt x="0" y="0"/>
                      </a:lnTo>
                      <a:lnTo>
                        <a:pt x="31" y="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4" name="Freeform 523"/>
                <p:cNvSpPr>
                  <a:spLocks/>
                </p:cNvSpPr>
                <p:nvPr/>
              </p:nvSpPr>
              <p:spPr bwMode="auto">
                <a:xfrm>
                  <a:off x="5748988" y="5650718"/>
                  <a:ext cx="116528" cy="51273"/>
                </a:xfrm>
                <a:custGeom>
                  <a:avLst/>
                  <a:gdLst>
                    <a:gd name="T0" fmla="*/ 50 w 50"/>
                    <a:gd name="T1" fmla="*/ 3 h 22"/>
                    <a:gd name="T2" fmla="*/ 50 w 50"/>
                    <a:gd name="T3" fmla="*/ 22 h 22"/>
                    <a:gd name="T4" fmla="*/ 0 w 50"/>
                    <a:gd name="T5" fmla="*/ 19 h 22"/>
                    <a:gd name="T6" fmla="*/ 0 w 50"/>
                    <a:gd name="T7" fmla="*/ 0 h 22"/>
                    <a:gd name="T8" fmla="*/ 50 w 50"/>
                    <a:gd name="T9" fmla="*/ 3 h 22"/>
                  </a:gdLst>
                  <a:ahLst/>
                  <a:cxnLst>
                    <a:cxn ang="0">
                      <a:pos x="T0" y="T1"/>
                    </a:cxn>
                    <a:cxn ang="0">
                      <a:pos x="T2" y="T3"/>
                    </a:cxn>
                    <a:cxn ang="0">
                      <a:pos x="T4" y="T5"/>
                    </a:cxn>
                    <a:cxn ang="0">
                      <a:pos x="T6" y="T7"/>
                    </a:cxn>
                    <a:cxn ang="0">
                      <a:pos x="T8" y="T9"/>
                    </a:cxn>
                  </a:cxnLst>
                  <a:rect l="0" t="0" r="r" b="b"/>
                  <a:pathLst>
                    <a:path w="50" h="22">
                      <a:moveTo>
                        <a:pt x="50" y="3"/>
                      </a:moveTo>
                      <a:lnTo>
                        <a:pt x="50" y="22"/>
                      </a:lnTo>
                      <a:lnTo>
                        <a:pt x="0" y="19"/>
                      </a:lnTo>
                      <a:lnTo>
                        <a:pt x="0" y="0"/>
                      </a:lnTo>
                      <a:lnTo>
                        <a:pt x="50" y="3"/>
                      </a:lnTo>
                      <a:close/>
                    </a:path>
                  </a:pathLst>
                </a:custGeom>
                <a:solidFill>
                  <a:srgbClr val="D7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5" name="Freeform 524"/>
                <p:cNvSpPr>
                  <a:spLocks/>
                </p:cNvSpPr>
                <p:nvPr/>
              </p:nvSpPr>
              <p:spPr bwMode="auto">
                <a:xfrm>
                  <a:off x="5748988" y="5454951"/>
                  <a:ext cx="146826" cy="44281"/>
                </a:xfrm>
                <a:custGeom>
                  <a:avLst/>
                  <a:gdLst>
                    <a:gd name="T0" fmla="*/ 63 w 63"/>
                    <a:gd name="T1" fmla="*/ 0 h 19"/>
                    <a:gd name="T2" fmla="*/ 63 w 63"/>
                    <a:gd name="T3" fmla="*/ 19 h 19"/>
                    <a:gd name="T4" fmla="*/ 0 w 63"/>
                    <a:gd name="T5" fmla="*/ 19 h 19"/>
                    <a:gd name="T6" fmla="*/ 0 w 63"/>
                    <a:gd name="T7" fmla="*/ 1 h 19"/>
                    <a:gd name="T8" fmla="*/ 63 w 63"/>
                    <a:gd name="T9" fmla="*/ 0 h 19"/>
                  </a:gdLst>
                  <a:ahLst/>
                  <a:cxnLst>
                    <a:cxn ang="0">
                      <a:pos x="T0" y="T1"/>
                    </a:cxn>
                    <a:cxn ang="0">
                      <a:pos x="T2" y="T3"/>
                    </a:cxn>
                    <a:cxn ang="0">
                      <a:pos x="T4" y="T5"/>
                    </a:cxn>
                    <a:cxn ang="0">
                      <a:pos x="T6" y="T7"/>
                    </a:cxn>
                    <a:cxn ang="0">
                      <a:pos x="T8" y="T9"/>
                    </a:cxn>
                  </a:cxnLst>
                  <a:rect l="0" t="0" r="r" b="b"/>
                  <a:pathLst>
                    <a:path w="63" h="19">
                      <a:moveTo>
                        <a:pt x="63" y="0"/>
                      </a:moveTo>
                      <a:lnTo>
                        <a:pt x="63" y="19"/>
                      </a:lnTo>
                      <a:lnTo>
                        <a:pt x="0" y="19"/>
                      </a:lnTo>
                      <a:lnTo>
                        <a:pt x="0" y="1"/>
                      </a:lnTo>
                      <a:lnTo>
                        <a:pt x="63"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6" name="Rectangle 525"/>
                <p:cNvSpPr>
                  <a:spLocks noChangeArrowheads="1"/>
                </p:cNvSpPr>
                <p:nvPr/>
              </p:nvSpPr>
              <p:spPr bwMode="auto">
                <a:xfrm>
                  <a:off x="5895814" y="5454951"/>
                  <a:ext cx="62926" cy="4428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7" name="Freeform 526"/>
                <p:cNvSpPr>
                  <a:spLocks/>
                </p:cNvSpPr>
                <p:nvPr/>
              </p:nvSpPr>
              <p:spPr bwMode="auto">
                <a:xfrm>
                  <a:off x="5748988" y="5315119"/>
                  <a:ext cx="235387" cy="58265"/>
                </a:xfrm>
                <a:custGeom>
                  <a:avLst/>
                  <a:gdLst>
                    <a:gd name="T0" fmla="*/ 101 w 101"/>
                    <a:gd name="T1" fmla="*/ 0 h 25"/>
                    <a:gd name="T2" fmla="*/ 101 w 101"/>
                    <a:gd name="T3" fmla="*/ 21 h 25"/>
                    <a:gd name="T4" fmla="*/ 99 w 101"/>
                    <a:gd name="T5" fmla="*/ 21 h 25"/>
                    <a:gd name="T6" fmla="*/ 0 w 101"/>
                    <a:gd name="T7" fmla="*/ 25 h 25"/>
                    <a:gd name="T8" fmla="*/ 0 w 101"/>
                    <a:gd name="T9" fmla="*/ 5 h 25"/>
                    <a:gd name="T10" fmla="*/ 101 w 101"/>
                    <a:gd name="T11" fmla="*/ 0 h 25"/>
                  </a:gdLst>
                  <a:ahLst/>
                  <a:cxnLst>
                    <a:cxn ang="0">
                      <a:pos x="T0" y="T1"/>
                    </a:cxn>
                    <a:cxn ang="0">
                      <a:pos x="T2" y="T3"/>
                    </a:cxn>
                    <a:cxn ang="0">
                      <a:pos x="T4" y="T5"/>
                    </a:cxn>
                    <a:cxn ang="0">
                      <a:pos x="T6" y="T7"/>
                    </a:cxn>
                    <a:cxn ang="0">
                      <a:pos x="T8" y="T9"/>
                    </a:cxn>
                    <a:cxn ang="0">
                      <a:pos x="T10" y="T11"/>
                    </a:cxn>
                  </a:cxnLst>
                  <a:rect l="0" t="0" r="r" b="b"/>
                  <a:pathLst>
                    <a:path w="101" h="25">
                      <a:moveTo>
                        <a:pt x="101" y="0"/>
                      </a:moveTo>
                      <a:lnTo>
                        <a:pt x="101" y="21"/>
                      </a:lnTo>
                      <a:lnTo>
                        <a:pt x="99" y="21"/>
                      </a:lnTo>
                      <a:lnTo>
                        <a:pt x="0" y="25"/>
                      </a:lnTo>
                      <a:lnTo>
                        <a:pt x="0" y="5"/>
                      </a:lnTo>
                      <a:lnTo>
                        <a:pt x="101" y="0"/>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8" name="Freeform 527"/>
                <p:cNvSpPr>
                  <a:spLocks/>
                </p:cNvSpPr>
                <p:nvPr/>
              </p:nvSpPr>
              <p:spPr bwMode="auto">
                <a:xfrm>
                  <a:off x="5865516" y="5657710"/>
                  <a:ext cx="174793" cy="51273"/>
                </a:xfrm>
                <a:custGeom>
                  <a:avLst/>
                  <a:gdLst>
                    <a:gd name="T0" fmla="*/ 75 w 75"/>
                    <a:gd name="T1" fmla="*/ 2 h 22"/>
                    <a:gd name="T2" fmla="*/ 75 w 75"/>
                    <a:gd name="T3" fmla="*/ 22 h 22"/>
                    <a:gd name="T4" fmla="*/ 0 w 75"/>
                    <a:gd name="T5" fmla="*/ 19 h 22"/>
                    <a:gd name="T6" fmla="*/ 0 w 75"/>
                    <a:gd name="T7" fmla="*/ 0 h 22"/>
                    <a:gd name="T8" fmla="*/ 75 w 75"/>
                    <a:gd name="T9" fmla="*/ 2 h 22"/>
                  </a:gdLst>
                  <a:ahLst/>
                  <a:cxnLst>
                    <a:cxn ang="0">
                      <a:pos x="T0" y="T1"/>
                    </a:cxn>
                    <a:cxn ang="0">
                      <a:pos x="T2" y="T3"/>
                    </a:cxn>
                    <a:cxn ang="0">
                      <a:pos x="T4" y="T5"/>
                    </a:cxn>
                    <a:cxn ang="0">
                      <a:pos x="T6" y="T7"/>
                    </a:cxn>
                    <a:cxn ang="0">
                      <a:pos x="T8" y="T9"/>
                    </a:cxn>
                  </a:cxnLst>
                  <a:rect l="0" t="0" r="r" b="b"/>
                  <a:pathLst>
                    <a:path w="75" h="22">
                      <a:moveTo>
                        <a:pt x="75" y="2"/>
                      </a:moveTo>
                      <a:lnTo>
                        <a:pt x="75" y="22"/>
                      </a:lnTo>
                      <a:lnTo>
                        <a:pt x="0" y="19"/>
                      </a:lnTo>
                      <a:lnTo>
                        <a:pt x="0" y="0"/>
                      </a:lnTo>
                      <a:lnTo>
                        <a:pt x="75"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69" name="Freeform 528"/>
                <p:cNvSpPr>
                  <a:spLocks/>
                </p:cNvSpPr>
                <p:nvPr/>
              </p:nvSpPr>
              <p:spPr bwMode="auto">
                <a:xfrm>
                  <a:off x="5748988" y="5520208"/>
                  <a:ext cx="300643" cy="48942"/>
                </a:xfrm>
                <a:custGeom>
                  <a:avLst/>
                  <a:gdLst>
                    <a:gd name="T0" fmla="*/ 129 w 129"/>
                    <a:gd name="T1" fmla="*/ 1 h 21"/>
                    <a:gd name="T2" fmla="*/ 129 w 129"/>
                    <a:gd name="T3" fmla="*/ 21 h 21"/>
                    <a:gd name="T4" fmla="*/ 0 w 129"/>
                    <a:gd name="T5" fmla="*/ 19 h 21"/>
                    <a:gd name="T6" fmla="*/ 0 w 129"/>
                    <a:gd name="T7" fmla="*/ 0 h 21"/>
                    <a:gd name="T8" fmla="*/ 129 w 129"/>
                    <a:gd name="T9" fmla="*/ 1 h 21"/>
                  </a:gdLst>
                  <a:ahLst/>
                  <a:cxnLst>
                    <a:cxn ang="0">
                      <a:pos x="T0" y="T1"/>
                    </a:cxn>
                    <a:cxn ang="0">
                      <a:pos x="T2" y="T3"/>
                    </a:cxn>
                    <a:cxn ang="0">
                      <a:pos x="T4" y="T5"/>
                    </a:cxn>
                    <a:cxn ang="0">
                      <a:pos x="T6" y="T7"/>
                    </a:cxn>
                    <a:cxn ang="0">
                      <a:pos x="T8" y="T9"/>
                    </a:cxn>
                  </a:cxnLst>
                  <a:rect l="0" t="0" r="r" b="b"/>
                  <a:pathLst>
                    <a:path w="129" h="21">
                      <a:moveTo>
                        <a:pt x="129" y="1"/>
                      </a:moveTo>
                      <a:lnTo>
                        <a:pt x="129" y="21"/>
                      </a:lnTo>
                      <a:lnTo>
                        <a:pt x="0" y="19"/>
                      </a:lnTo>
                      <a:lnTo>
                        <a:pt x="0" y="0"/>
                      </a:lnTo>
                      <a:lnTo>
                        <a:pt x="129" y="1"/>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70" name="Freeform 529"/>
                <p:cNvSpPr>
                  <a:spLocks/>
                </p:cNvSpPr>
                <p:nvPr/>
              </p:nvSpPr>
              <p:spPr bwMode="auto">
                <a:xfrm>
                  <a:off x="6049631" y="5522537"/>
                  <a:ext cx="198098" cy="48942"/>
                </a:xfrm>
                <a:custGeom>
                  <a:avLst/>
                  <a:gdLst>
                    <a:gd name="T0" fmla="*/ 85 w 85"/>
                    <a:gd name="T1" fmla="*/ 0 h 21"/>
                    <a:gd name="T2" fmla="*/ 85 w 85"/>
                    <a:gd name="T3" fmla="*/ 21 h 21"/>
                    <a:gd name="T4" fmla="*/ 0 w 85"/>
                    <a:gd name="T5" fmla="*/ 20 h 21"/>
                    <a:gd name="T6" fmla="*/ 0 w 85"/>
                    <a:gd name="T7" fmla="*/ 0 h 21"/>
                    <a:gd name="T8" fmla="*/ 85 w 85"/>
                    <a:gd name="T9" fmla="*/ 0 h 21"/>
                  </a:gdLst>
                  <a:ahLst/>
                  <a:cxnLst>
                    <a:cxn ang="0">
                      <a:pos x="T0" y="T1"/>
                    </a:cxn>
                    <a:cxn ang="0">
                      <a:pos x="T2" y="T3"/>
                    </a:cxn>
                    <a:cxn ang="0">
                      <a:pos x="T4" y="T5"/>
                    </a:cxn>
                    <a:cxn ang="0">
                      <a:pos x="T6" y="T7"/>
                    </a:cxn>
                    <a:cxn ang="0">
                      <a:pos x="T8" y="T9"/>
                    </a:cxn>
                  </a:cxnLst>
                  <a:rect l="0" t="0" r="r" b="b"/>
                  <a:pathLst>
                    <a:path w="85" h="21">
                      <a:moveTo>
                        <a:pt x="85" y="0"/>
                      </a:moveTo>
                      <a:lnTo>
                        <a:pt x="85" y="21"/>
                      </a:lnTo>
                      <a:lnTo>
                        <a:pt x="0" y="20"/>
                      </a:lnTo>
                      <a:lnTo>
                        <a:pt x="0" y="0"/>
                      </a:lnTo>
                      <a:lnTo>
                        <a:pt x="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71" name="Freeform 530"/>
                <p:cNvSpPr>
                  <a:spLocks/>
                </p:cNvSpPr>
                <p:nvPr/>
              </p:nvSpPr>
              <p:spPr bwMode="auto">
                <a:xfrm>
                  <a:off x="5748988" y="5368721"/>
                  <a:ext cx="619928" cy="65255"/>
                </a:xfrm>
                <a:custGeom>
                  <a:avLst/>
                  <a:gdLst>
                    <a:gd name="T0" fmla="*/ 266 w 266"/>
                    <a:gd name="T1" fmla="*/ 0 h 28"/>
                    <a:gd name="T2" fmla="*/ 266 w 266"/>
                    <a:gd name="T3" fmla="*/ 23 h 28"/>
                    <a:gd name="T4" fmla="*/ 0 w 266"/>
                    <a:gd name="T5" fmla="*/ 28 h 28"/>
                    <a:gd name="T6" fmla="*/ 0 w 266"/>
                    <a:gd name="T7" fmla="*/ 10 h 28"/>
                    <a:gd name="T8" fmla="*/ 266 w 266"/>
                    <a:gd name="T9" fmla="*/ 0 h 28"/>
                  </a:gdLst>
                  <a:ahLst/>
                  <a:cxnLst>
                    <a:cxn ang="0">
                      <a:pos x="T0" y="T1"/>
                    </a:cxn>
                    <a:cxn ang="0">
                      <a:pos x="T2" y="T3"/>
                    </a:cxn>
                    <a:cxn ang="0">
                      <a:pos x="T4" y="T5"/>
                    </a:cxn>
                    <a:cxn ang="0">
                      <a:pos x="T6" y="T7"/>
                    </a:cxn>
                    <a:cxn ang="0">
                      <a:pos x="T8" y="T9"/>
                    </a:cxn>
                  </a:cxnLst>
                  <a:rect l="0" t="0" r="r" b="b"/>
                  <a:pathLst>
                    <a:path w="266" h="28">
                      <a:moveTo>
                        <a:pt x="266" y="0"/>
                      </a:moveTo>
                      <a:lnTo>
                        <a:pt x="266" y="23"/>
                      </a:lnTo>
                      <a:lnTo>
                        <a:pt x="0" y="28"/>
                      </a:lnTo>
                      <a:lnTo>
                        <a:pt x="0" y="10"/>
                      </a:lnTo>
                      <a:lnTo>
                        <a:pt x="266" y="0"/>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72" name="Freeform 531"/>
                <p:cNvSpPr>
                  <a:spLocks/>
                </p:cNvSpPr>
                <p:nvPr/>
              </p:nvSpPr>
              <p:spPr bwMode="auto">
                <a:xfrm>
                  <a:off x="5821236" y="5587792"/>
                  <a:ext cx="172461" cy="48942"/>
                </a:xfrm>
                <a:custGeom>
                  <a:avLst/>
                  <a:gdLst>
                    <a:gd name="T0" fmla="*/ 74 w 74"/>
                    <a:gd name="T1" fmla="*/ 2 h 21"/>
                    <a:gd name="T2" fmla="*/ 74 w 74"/>
                    <a:gd name="T3" fmla="*/ 21 h 21"/>
                    <a:gd name="T4" fmla="*/ 0 w 74"/>
                    <a:gd name="T5" fmla="*/ 20 h 21"/>
                    <a:gd name="T6" fmla="*/ 0 w 74"/>
                    <a:gd name="T7" fmla="*/ 0 h 21"/>
                    <a:gd name="T8" fmla="*/ 74 w 74"/>
                    <a:gd name="T9" fmla="*/ 2 h 21"/>
                  </a:gdLst>
                  <a:ahLst/>
                  <a:cxnLst>
                    <a:cxn ang="0">
                      <a:pos x="T0" y="T1"/>
                    </a:cxn>
                    <a:cxn ang="0">
                      <a:pos x="T2" y="T3"/>
                    </a:cxn>
                    <a:cxn ang="0">
                      <a:pos x="T4" y="T5"/>
                    </a:cxn>
                    <a:cxn ang="0">
                      <a:pos x="T6" y="T7"/>
                    </a:cxn>
                    <a:cxn ang="0">
                      <a:pos x="T8" y="T9"/>
                    </a:cxn>
                  </a:cxnLst>
                  <a:rect l="0" t="0" r="r" b="b"/>
                  <a:pathLst>
                    <a:path w="74" h="21">
                      <a:moveTo>
                        <a:pt x="74" y="2"/>
                      </a:moveTo>
                      <a:lnTo>
                        <a:pt x="74" y="21"/>
                      </a:lnTo>
                      <a:lnTo>
                        <a:pt x="0" y="20"/>
                      </a:lnTo>
                      <a:lnTo>
                        <a:pt x="0" y="0"/>
                      </a:lnTo>
                      <a:lnTo>
                        <a:pt x="74"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sp>
              <p:nvSpPr>
                <p:cNvPr id="73" name="Freeform 532"/>
                <p:cNvSpPr>
                  <a:spLocks/>
                </p:cNvSpPr>
                <p:nvPr/>
              </p:nvSpPr>
              <p:spPr bwMode="auto">
                <a:xfrm>
                  <a:off x="5979714" y="5308126"/>
                  <a:ext cx="130511" cy="55933"/>
                </a:xfrm>
                <a:custGeom>
                  <a:avLst/>
                  <a:gdLst>
                    <a:gd name="T0" fmla="*/ 56 w 56"/>
                    <a:gd name="T1" fmla="*/ 0 h 24"/>
                    <a:gd name="T2" fmla="*/ 56 w 56"/>
                    <a:gd name="T3" fmla="*/ 21 h 24"/>
                    <a:gd name="T4" fmla="*/ 0 w 56"/>
                    <a:gd name="T5" fmla="*/ 24 h 24"/>
                    <a:gd name="T6" fmla="*/ 2 w 56"/>
                    <a:gd name="T7" fmla="*/ 24 h 24"/>
                    <a:gd name="T8" fmla="*/ 2 w 56"/>
                    <a:gd name="T9" fmla="*/ 3 h 24"/>
                    <a:gd name="T10" fmla="*/ 56 w 56"/>
                    <a:gd name="T11" fmla="*/ 0 h 24"/>
                  </a:gdLst>
                  <a:ahLst/>
                  <a:cxnLst>
                    <a:cxn ang="0">
                      <a:pos x="T0" y="T1"/>
                    </a:cxn>
                    <a:cxn ang="0">
                      <a:pos x="T2" y="T3"/>
                    </a:cxn>
                    <a:cxn ang="0">
                      <a:pos x="T4" y="T5"/>
                    </a:cxn>
                    <a:cxn ang="0">
                      <a:pos x="T6" y="T7"/>
                    </a:cxn>
                    <a:cxn ang="0">
                      <a:pos x="T8" y="T9"/>
                    </a:cxn>
                    <a:cxn ang="0">
                      <a:pos x="T10" y="T11"/>
                    </a:cxn>
                  </a:cxnLst>
                  <a:rect l="0" t="0" r="r" b="b"/>
                  <a:pathLst>
                    <a:path w="56" h="24">
                      <a:moveTo>
                        <a:pt x="56" y="0"/>
                      </a:moveTo>
                      <a:lnTo>
                        <a:pt x="56" y="21"/>
                      </a:lnTo>
                      <a:lnTo>
                        <a:pt x="0" y="24"/>
                      </a:lnTo>
                      <a:lnTo>
                        <a:pt x="2" y="24"/>
                      </a:lnTo>
                      <a:lnTo>
                        <a:pt x="2" y="3"/>
                      </a:lnTo>
                      <a:lnTo>
                        <a:pt x="5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mj-lt"/>
                  </a:endParaRPr>
                </a:p>
              </p:txBody>
            </p:sp>
          </p:grpSp>
          <p:sp>
            <p:nvSpPr>
              <p:cNvPr id="60" name="Freeform 13"/>
              <p:cNvSpPr>
                <a:spLocks/>
              </p:cNvSpPr>
              <p:nvPr/>
            </p:nvSpPr>
            <p:spPr bwMode="auto">
              <a:xfrm>
                <a:off x="1912455" y="4460812"/>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mj-lt"/>
                </a:endParaRPr>
              </a:p>
            </p:txBody>
          </p:sp>
        </p:grpSp>
        <p:pic>
          <p:nvPicPr>
            <p:cNvPr id="32" name="Picture 31"/>
            <p:cNvPicPr>
              <a:picLocks noChangeAspect="1"/>
            </p:cNvPicPr>
            <p:nvPr/>
          </p:nvPicPr>
          <p:blipFill rotWithShape="1">
            <a:blip r:embed="rId3" cstate="print">
              <a:extLst>
                <a:ext uri="{28A0092B-C50C-407E-A947-70E740481C1C}">
                  <a14:useLocalDpi xmlns:a14="http://schemas.microsoft.com/office/drawing/2010/main" val="0"/>
                </a:ext>
              </a:extLst>
            </a:blip>
            <a:srcRect b="34938"/>
            <a:stretch/>
          </p:blipFill>
          <p:spPr>
            <a:xfrm>
              <a:off x="4550410" y="4771670"/>
              <a:ext cx="1032980" cy="1103113"/>
            </a:xfrm>
            <a:prstGeom prst="rect">
              <a:avLst/>
            </a:prstGeom>
          </p:spPr>
        </p:pic>
      </p:grpSp>
      <p:grpSp>
        <p:nvGrpSpPr>
          <p:cNvPr id="223" name="Group 222"/>
          <p:cNvGrpSpPr/>
          <p:nvPr/>
        </p:nvGrpSpPr>
        <p:grpSpPr>
          <a:xfrm>
            <a:off x="2805792" y="2370015"/>
            <a:ext cx="180498" cy="180565"/>
            <a:chOff x="7146814" y="3814553"/>
            <a:chExt cx="340311" cy="340436"/>
          </a:xfrm>
        </p:grpSpPr>
        <p:grpSp>
          <p:nvGrpSpPr>
            <p:cNvPr id="224" name="Group 223"/>
            <p:cNvGrpSpPr/>
            <p:nvPr/>
          </p:nvGrpSpPr>
          <p:grpSpPr>
            <a:xfrm>
              <a:off x="7146814" y="3814553"/>
              <a:ext cx="340311" cy="340436"/>
              <a:chOff x="2699358" y="419777"/>
              <a:chExt cx="1310785" cy="1503647"/>
            </a:xfrm>
            <a:solidFill>
              <a:schemeClr val="bg1"/>
            </a:solidFill>
          </p:grpSpPr>
          <p:sp>
            <p:nvSpPr>
              <p:cNvPr id="230"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231" name="Rectangle 23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232" name="Rectangle 23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225" name="Rectangle 224"/>
            <p:cNvSpPr/>
            <p:nvPr/>
          </p:nvSpPr>
          <p:spPr>
            <a:xfrm>
              <a:off x="7193234" y="3870076"/>
              <a:ext cx="139437"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26" name="Rectangle 225"/>
            <p:cNvSpPr/>
            <p:nvPr/>
          </p:nvSpPr>
          <p:spPr>
            <a:xfrm>
              <a:off x="7193234" y="3902163"/>
              <a:ext cx="128362"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27" name="Rectangle 226"/>
            <p:cNvSpPr/>
            <p:nvPr/>
          </p:nvSpPr>
          <p:spPr>
            <a:xfrm>
              <a:off x="7193234" y="3934248"/>
              <a:ext cx="54187"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28" name="Rectangle 227"/>
            <p:cNvSpPr/>
            <p:nvPr/>
          </p:nvSpPr>
          <p:spPr>
            <a:xfrm>
              <a:off x="7193234" y="3966333"/>
              <a:ext cx="75642"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29" name="Freeform 19"/>
            <p:cNvSpPr>
              <a:spLocks noChangeAspect="1" noEditPoints="1"/>
            </p:cNvSpPr>
            <p:nvPr/>
          </p:nvSpPr>
          <p:spPr bwMode="auto">
            <a:xfrm>
              <a:off x="7191167" y="4027896"/>
              <a:ext cx="83822" cy="93933"/>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grpSp>
        <p:nvGrpSpPr>
          <p:cNvPr id="233" name="Group 232"/>
          <p:cNvGrpSpPr/>
          <p:nvPr/>
        </p:nvGrpSpPr>
        <p:grpSpPr>
          <a:xfrm>
            <a:off x="3507935" y="2686985"/>
            <a:ext cx="180498" cy="180565"/>
            <a:chOff x="7146814" y="3814553"/>
            <a:chExt cx="340311" cy="340436"/>
          </a:xfrm>
        </p:grpSpPr>
        <p:grpSp>
          <p:nvGrpSpPr>
            <p:cNvPr id="234" name="Group 233"/>
            <p:cNvGrpSpPr/>
            <p:nvPr/>
          </p:nvGrpSpPr>
          <p:grpSpPr>
            <a:xfrm>
              <a:off x="7146814" y="3814553"/>
              <a:ext cx="340311" cy="340436"/>
              <a:chOff x="2699358" y="419777"/>
              <a:chExt cx="1310785" cy="1503647"/>
            </a:xfrm>
            <a:solidFill>
              <a:schemeClr val="bg1"/>
            </a:solidFill>
          </p:grpSpPr>
          <p:sp>
            <p:nvSpPr>
              <p:cNvPr id="240"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241" name="Rectangle 24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242" name="Rectangle 24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235" name="Rectangle 234"/>
            <p:cNvSpPr/>
            <p:nvPr/>
          </p:nvSpPr>
          <p:spPr>
            <a:xfrm>
              <a:off x="7193234" y="3870076"/>
              <a:ext cx="139437"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36" name="Rectangle 235"/>
            <p:cNvSpPr/>
            <p:nvPr/>
          </p:nvSpPr>
          <p:spPr>
            <a:xfrm>
              <a:off x="7193234" y="3902163"/>
              <a:ext cx="128362"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37" name="Rectangle 236"/>
            <p:cNvSpPr/>
            <p:nvPr/>
          </p:nvSpPr>
          <p:spPr>
            <a:xfrm>
              <a:off x="7193234" y="3934248"/>
              <a:ext cx="54187"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38" name="Rectangle 237"/>
            <p:cNvSpPr/>
            <p:nvPr/>
          </p:nvSpPr>
          <p:spPr>
            <a:xfrm>
              <a:off x="7193234" y="3966333"/>
              <a:ext cx="75642" cy="15307"/>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39" name="Freeform 19"/>
            <p:cNvSpPr>
              <a:spLocks noChangeAspect="1" noEditPoints="1"/>
            </p:cNvSpPr>
            <p:nvPr/>
          </p:nvSpPr>
          <p:spPr bwMode="auto">
            <a:xfrm>
              <a:off x="7191167" y="4027896"/>
              <a:ext cx="83822" cy="93933"/>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grpSp>
        <p:nvGrpSpPr>
          <p:cNvPr id="243" name="Group 242"/>
          <p:cNvGrpSpPr/>
          <p:nvPr/>
        </p:nvGrpSpPr>
        <p:grpSpPr>
          <a:xfrm>
            <a:off x="2632765" y="3037921"/>
            <a:ext cx="525918" cy="525918"/>
            <a:chOff x="2957353" y="4172678"/>
            <a:chExt cx="679834" cy="679834"/>
          </a:xfrm>
        </p:grpSpPr>
        <p:sp>
          <p:nvSpPr>
            <p:cNvPr id="244" name="Oval 243"/>
            <p:cNvSpPr/>
            <p:nvPr/>
          </p:nvSpPr>
          <p:spPr>
            <a:xfrm>
              <a:off x="2957353" y="4172678"/>
              <a:ext cx="679834" cy="679834"/>
            </a:xfrm>
            <a:prstGeom prst="ellipse">
              <a:avLst/>
            </a:prstGeom>
            <a:solidFill>
              <a:srgbClr val="36A4D7"/>
            </a:solidFill>
            <a:ln w="38100" cap="flat" cmpd="sng" algn="ctr">
              <a:solidFill>
                <a:schemeClr val="bg1"/>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endParaRPr>
            </a:p>
          </p:txBody>
        </p:sp>
        <p:grpSp>
          <p:nvGrpSpPr>
            <p:cNvPr id="245" name="Group 244"/>
            <p:cNvGrpSpPr/>
            <p:nvPr/>
          </p:nvGrpSpPr>
          <p:grpSpPr>
            <a:xfrm>
              <a:off x="3158123" y="4341908"/>
              <a:ext cx="279112" cy="342681"/>
              <a:chOff x="3143089" y="4341908"/>
              <a:chExt cx="279112" cy="342681"/>
            </a:xfrm>
          </p:grpSpPr>
          <p:grpSp>
            <p:nvGrpSpPr>
              <p:cNvPr id="246" name="Group 245"/>
              <p:cNvGrpSpPr/>
              <p:nvPr/>
            </p:nvGrpSpPr>
            <p:grpSpPr>
              <a:xfrm>
                <a:off x="3143089" y="4341908"/>
                <a:ext cx="279112" cy="342681"/>
                <a:chOff x="2699358" y="419777"/>
                <a:chExt cx="1310785" cy="1503647"/>
              </a:xfrm>
              <a:solidFill>
                <a:schemeClr val="bg1"/>
              </a:solidFill>
            </p:grpSpPr>
            <p:sp>
              <p:nvSpPr>
                <p:cNvPr id="252"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253" name="Rectangle 25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254" name="Rectangle 25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247"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nvGrpSpPr>
              <p:cNvPr id="248" name="Group 247"/>
              <p:cNvGrpSpPr/>
              <p:nvPr/>
            </p:nvGrpSpPr>
            <p:grpSpPr>
              <a:xfrm>
                <a:off x="3197139" y="4441480"/>
                <a:ext cx="137160" cy="91608"/>
                <a:chOff x="3202179" y="4429260"/>
                <a:chExt cx="105327" cy="91608"/>
              </a:xfrm>
            </p:grpSpPr>
            <p:sp>
              <p:nvSpPr>
                <p:cNvPr id="249" name="Rectangle 248"/>
                <p:cNvSpPr/>
                <p:nvPr/>
              </p:nvSpPr>
              <p:spPr>
                <a:xfrm>
                  <a:off x="3202179" y="4468044"/>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50" name="Rectangle 249"/>
                <p:cNvSpPr/>
                <p:nvPr/>
              </p:nvSpPr>
              <p:spPr>
                <a:xfrm>
                  <a:off x="3202179" y="4429260"/>
                  <a:ext cx="70218"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251" name="Rectangle 250"/>
                <p:cNvSpPr/>
                <p:nvPr/>
              </p:nvSpPr>
              <p:spPr>
                <a:xfrm>
                  <a:off x="3202179" y="4505460"/>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grpSp>
        </p:grpSp>
      </p:grpSp>
      <p:sp>
        <p:nvSpPr>
          <p:cNvPr id="291" name="Rectangle 290"/>
          <p:cNvSpPr/>
          <p:nvPr/>
        </p:nvSpPr>
        <p:spPr>
          <a:xfrm>
            <a:off x="7027185" y="4376060"/>
            <a:ext cx="1667123" cy="107722"/>
          </a:xfrm>
          <a:prstGeom prst="rect">
            <a:avLst/>
          </a:prstGeom>
          <a:noFill/>
          <a:ln w="25400" cap="flat" cmpd="sng" algn="ctr">
            <a:noFill/>
            <a:prstDash val="solid"/>
          </a:ln>
          <a:effectLst/>
        </p:spPr>
        <p:txBody>
          <a:bodyPr wrap="none" lIns="0" tIns="0" rIns="0" bIns="0" rtlCol="0" anchor="ctr">
            <a:spAutoFit/>
          </a:bodyPr>
          <a:lstStyle/>
          <a:p>
            <a:pPr marR="3810">
              <a:spcAft>
                <a:spcPts val="450"/>
              </a:spcAft>
            </a:pPr>
            <a:r>
              <a:rPr lang="en-US" sz="700" dirty="0">
                <a:latin typeface="+mj-lt"/>
                <a:cs typeface="Arial" panose="020B0604020202020204" pitchFamily="34" charset="0"/>
              </a:rPr>
              <a:t>*Support for OpenDNS is currently in beta</a:t>
            </a:r>
          </a:p>
        </p:txBody>
      </p:sp>
      <p:sp>
        <p:nvSpPr>
          <p:cNvPr id="292" name="Rectangle 291"/>
          <p:cNvSpPr/>
          <p:nvPr/>
        </p:nvSpPr>
        <p:spPr>
          <a:xfrm>
            <a:off x="4866311" y="1906635"/>
            <a:ext cx="3531622" cy="1454244"/>
          </a:xfrm>
          <a:prstGeom prst="rect">
            <a:avLst/>
          </a:prstGeom>
        </p:spPr>
        <p:txBody>
          <a:bodyPr wrap="square" lIns="68580" tIns="34290" rIns="68580" bIns="34290">
            <a:spAutoFit/>
          </a:bodyPr>
          <a:lstStyle/>
          <a:p>
            <a:r>
              <a:rPr lang="en-US" altLang="ja-JP" dirty="0" smtClean="0">
                <a:latin typeface="メイリオ"/>
                <a:ea typeface="メイリオ"/>
                <a:cs typeface="メイリオ"/>
              </a:rPr>
              <a:t>Cisco</a:t>
            </a:r>
            <a:r>
              <a:rPr lang="ja-JP" altLang="en-US" dirty="0" smtClean="0">
                <a:latin typeface="メイリオ"/>
                <a:ea typeface="メイリオ"/>
                <a:cs typeface="メイリオ"/>
              </a:rPr>
              <a:t> </a:t>
            </a:r>
            <a:r>
              <a:rPr lang="en-US" dirty="0" smtClean="0">
                <a:latin typeface="メイリオ"/>
                <a:ea typeface="メイリオ"/>
                <a:cs typeface="メイリオ"/>
              </a:rPr>
              <a:t>Defense </a:t>
            </a:r>
            <a:r>
              <a:rPr lang="en-US" dirty="0">
                <a:latin typeface="メイリオ"/>
                <a:ea typeface="メイリオ"/>
                <a:cs typeface="メイリオ"/>
              </a:rPr>
              <a:t>Orchestrator </a:t>
            </a:r>
            <a:r>
              <a:rPr lang="ja-JP" altLang="en-US" dirty="0" smtClean="0">
                <a:latin typeface="メイリオ"/>
                <a:ea typeface="メイリオ"/>
                <a:cs typeface="メイリオ"/>
              </a:rPr>
              <a:t>で</a:t>
            </a:r>
            <a:r>
              <a:rPr lang="en-US" altLang="ja-JP" dirty="0" smtClean="0">
                <a:latin typeface="メイリオ"/>
                <a:ea typeface="メイリオ"/>
                <a:cs typeface="メイリオ"/>
              </a:rPr>
              <a:t> </a:t>
            </a:r>
            <a:r>
              <a:rPr lang="en-US" b="1" dirty="0" smtClean="0">
                <a:solidFill>
                  <a:srgbClr val="1A315D"/>
                </a:solidFill>
                <a:latin typeface="メイリオ"/>
                <a:ea typeface="メイリオ"/>
                <a:cs typeface="メイリオ"/>
              </a:rPr>
              <a:t>ASA</a:t>
            </a:r>
            <a:r>
              <a:rPr lang="en-US" dirty="0">
                <a:solidFill>
                  <a:srgbClr val="1A315D"/>
                </a:solidFill>
                <a:latin typeface="メイリオ"/>
                <a:ea typeface="メイリオ"/>
                <a:cs typeface="メイリオ"/>
              </a:rPr>
              <a:t>, </a:t>
            </a:r>
            <a:r>
              <a:rPr lang="en-US" b="1" dirty="0">
                <a:solidFill>
                  <a:srgbClr val="1A315D"/>
                </a:solidFill>
                <a:latin typeface="メイリオ"/>
                <a:ea typeface="メイリオ"/>
                <a:cs typeface="メイリオ"/>
              </a:rPr>
              <a:t>ASA</a:t>
            </a:r>
            <a:r>
              <a:rPr lang="en-US" dirty="0">
                <a:solidFill>
                  <a:srgbClr val="1A315D"/>
                </a:solidFill>
                <a:latin typeface="メイリオ"/>
                <a:ea typeface="メイリオ"/>
                <a:cs typeface="メイリオ"/>
              </a:rPr>
              <a:t> </a:t>
            </a:r>
            <a:r>
              <a:rPr lang="en-US" b="1" dirty="0">
                <a:solidFill>
                  <a:srgbClr val="1A315D"/>
                </a:solidFill>
                <a:latin typeface="メイリオ"/>
                <a:ea typeface="メイリオ"/>
                <a:cs typeface="メイリオ"/>
              </a:rPr>
              <a:t>with</a:t>
            </a:r>
            <a:r>
              <a:rPr lang="en-US" dirty="0">
                <a:solidFill>
                  <a:srgbClr val="1A315D"/>
                </a:solidFill>
                <a:latin typeface="メイリオ"/>
                <a:ea typeface="メイリオ"/>
                <a:cs typeface="メイリオ"/>
              </a:rPr>
              <a:t> </a:t>
            </a:r>
            <a:r>
              <a:rPr lang="en-US" b="1" dirty="0">
                <a:solidFill>
                  <a:srgbClr val="1A315D"/>
                </a:solidFill>
                <a:latin typeface="メイリオ"/>
                <a:ea typeface="メイリオ"/>
                <a:cs typeface="メイリオ"/>
              </a:rPr>
              <a:t>FirePOWER </a:t>
            </a:r>
            <a:r>
              <a:rPr lang="en-US" b="1" dirty="0" smtClean="0">
                <a:solidFill>
                  <a:srgbClr val="1A315D"/>
                </a:solidFill>
                <a:latin typeface="メイリオ"/>
                <a:ea typeface="メイリオ"/>
                <a:cs typeface="メイリオ"/>
              </a:rPr>
              <a:t>Services</a:t>
            </a:r>
            <a:r>
              <a:rPr lang="en-US" b="1" dirty="0">
                <a:latin typeface="メイリオ"/>
                <a:ea typeface="メイリオ"/>
                <a:cs typeface="メイリオ"/>
              </a:rPr>
              <a:t> </a:t>
            </a:r>
            <a:r>
              <a:rPr lang="en-US" b="1" dirty="0" err="1" smtClean="0">
                <a:solidFill>
                  <a:srgbClr val="1A315D"/>
                </a:solidFill>
                <a:latin typeface="メイリオ"/>
                <a:ea typeface="メイリオ"/>
                <a:cs typeface="メイリオ"/>
              </a:rPr>
              <a:t>OpenDNS</a:t>
            </a:r>
            <a:r>
              <a:rPr lang="en-US" dirty="0" smtClean="0">
                <a:solidFill>
                  <a:srgbClr val="1A315D"/>
                </a:solidFill>
                <a:latin typeface="メイリオ"/>
                <a:ea typeface="メイリオ"/>
                <a:cs typeface="メイリオ"/>
              </a:rPr>
              <a:t>* </a:t>
            </a:r>
            <a:r>
              <a:rPr lang="ja-JP" altLang="en-US" dirty="0" smtClean="0">
                <a:latin typeface="メイリオ"/>
                <a:ea typeface="メイリオ"/>
                <a:cs typeface="メイリオ"/>
              </a:rPr>
              <a:t>のポリシーを、ひとつのコンソールで簡単に管理</a:t>
            </a:r>
            <a:endParaRPr lang="en-US" dirty="0">
              <a:latin typeface="メイリオ"/>
              <a:ea typeface="メイリオ"/>
              <a:cs typeface="メイリオ"/>
            </a:endParaRPr>
          </a:p>
        </p:txBody>
      </p:sp>
      <p:sp>
        <p:nvSpPr>
          <p:cNvPr id="293" name="Rectangle 292"/>
          <p:cNvSpPr/>
          <p:nvPr/>
        </p:nvSpPr>
        <p:spPr>
          <a:xfrm>
            <a:off x="428625" y="1200150"/>
            <a:ext cx="8286750" cy="3352800"/>
          </a:xfrm>
          <a:prstGeom prst="rect">
            <a:avLst/>
          </a:prstGeom>
          <a:noFill/>
          <a:ln w="19050" cap="flat" cmpd="sng" algn="ctr">
            <a:solidFill>
              <a:srgbClr val="1A315D"/>
            </a:solidFill>
            <a:prstDash val="sysDash"/>
          </a:ln>
          <a:effectLst/>
        </p:spPr>
        <p:txBody>
          <a:bodyPr lIns="68580" tIns="34290" rIns="68580" bIns="34290" rtlCol="0" anchor="ctr"/>
          <a:lstStyle/>
          <a:p>
            <a:pPr algn="ctr"/>
            <a:endParaRPr lang="en-US" sz="1200" kern="0" dirty="0">
              <a:solidFill>
                <a:srgbClr val="FFFFFF"/>
              </a:solidFill>
              <a:latin typeface="Arial"/>
            </a:endParaRPr>
          </a:p>
        </p:txBody>
      </p:sp>
      <p:grpSp>
        <p:nvGrpSpPr>
          <p:cNvPr id="295" name="Group 294"/>
          <p:cNvGrpSpPr/>
          <p:nvPr/>
        </p:nvGrpSpPr>
        <p:grpSpPr>
          <a:xfrm>
            <a:off x="3459648" y="2563608"/>
            <a:ext cx="355927" cy="355927"/>
            <a:chOff x="2957353" y="4172678"/>
            <a:chExt cx="679834" cy="679834"/>
          </a:xfrm>
        </p:grpSpPr>
        <p:sp>
          <p:nvSpPr>
            <p:cNvPr id="296" name="Oval 295"/>
            <p:cNvSpPr/>
            <p:nvPr/>
          </p:nvSpPr>
          <p:spPr>
            <a:xfrm>
              <a:off x="2957353" y="4172678"/>
              <a:ext cx="679834" cy="679834"/>
            </a:xfrm>
            <a:prstGeom prst="ellipse">
              <a:avLst/>
            </a:prstGeom>
            <a:solidFill>
              <a:srgbClr val="096F9D"/>
            </a:solidFill>
            <a:ln w="38100" cap="flat" cmpd="sng" algn="ctr">
              <a:solidFill>
                <a:schemeClr val="bg1"/>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endParaRPr>
            </a:p>
          </p:txBody>
        </p:sp>
        <p:grpSp>
          <p:nvGrpSpPr>
            <p:cNvPr id="297" name="Group 296"/>
            <p:cNvGrpSpPr/>
            <p:nvPr/>
          </p:nvGrpSpPr>
          <p:grpSpPr>
            <a:xfrm>
              <a:off x="3158123" y="4341908"/>
              <a:ext cx="279112" cy="342681"/>
              <a:chOff x="3143089" y="4341908"/>
              <a:chExt cx="279112" cy="342681"/>
            </a:xfrm>
          </p:grpSpPr>
          <p:grpSp>
            <p:nvGrpSpPr>
              <p:cNvPr id="298" name="Group 297"/>
              <p:cNvGrpSpPr/>
              <p:nvPr/>
            </p:nvGrpSpPr>
            <p:grpSpPr>
              <a:xfrm>
                <a:off x="3143089" y="4341908"/>
                <a:ext cx="279112" cy="342681"/>
                <a:chOff x="2699358" y="419777"/>
                <a:chExt cx="1310785" cy="1503647"/>
              </a:xfrm>
              <a:solidFill>
                <a:schemeClr val="bg1"/>
              </a:solidFill>
            </p:grpSpPr>
            <p:sp>
              <p:nvSpPr>
                <p:cNvPr id="304"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305" name="Rectangle 30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306" name="Rectangle 30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299"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nvGrpSpPr>
              <p:cNvPr id="300" name="Group 299"/>
              <p:cNvGrpSpPr/>
              <p:nvPr/>
            </p:nvGrpSpPr>
            <p:grpSpPr>
              <a:xfrm>
                <a:off x="3197139" y="4441480"/>
                <a:ext cx="137160" cy="91608"/>
                <a:chOff x="3202179" y="4429260"/>
                <a:chExt cx="105327" cy="91608"/>
              </a:xfrm>
            </p:grpSpPr>
            <p:sp>
              <p:nvSpPr>
                <p:cNvPr id="301" name="Rectangle 300"/>
                <p:cNvSpPr/>
                <p:nvPr/>
              </p:nvSpPr>
              <p:spPr>
                <a:xfrm>
                  <a:off x="3202179" y="4468044"/>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02" name="Rectangle 301"/>
                <p:cNvSpPr/>
                <p:nvPr/>
              </p:nvSpPr>
              <p:spPr>
                <a:xfrm>
                  <a:off x="3202179" y="4429260"/>
                  <a:ext cx="70218"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03" name="Rectangle 302"/>
                <p:cNvSpPr/>
                <p:nvPr/>
              </p:nvSpPr>
              <p:spPr>
                <a:xfrm>
                  <a:off x="3202179" y="4505460"/>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grpSp>
        </p:grpSp>
      </p:grpSp>
      <p:grpSp>
        <p:nvGrpSpPr>
          <p:cNvPr id="307" name="Group 306"/>
          <p:cNvGrpSpPr/>
          <p:nvPr/>
        </p:nvGrpSpPr>
        <p:grpSpPr>
          <a:xfrm>
            <a:off x="2031716" y="2582640"/>
            <a:ext cx="355927" cy="355927"/>
            <a:chOff x="2957353" y="4172678"/>
            <a:chExt cx="679834" cy="679834"/>
          </a:xfrm>
        </p:grpSpPr>
        <p:sp>
          <p:nvSpPr>
            <p:cNvPr id="308" name="Oval 307"/>
            <p:cNvSpPr/>
            <p:nvPr/>
          </p:nvSpPr>
          <p:spPr>
            <a:xfrm>
              <a:off x="2957353" y="4172678"/>
              <a:ext cx="679834" cy="679834"/>
            </a:xfrm>
            <a:prstGeom prst="ellipse">
              <a:avLst/>
            </a:prstGeom>
            <a:solidFill>
              <a:srgbClr val="7AB8D4"/>
            </a:solidFill>
            <a:ln w="38100" cap="flat" cmpd="sng" algn="ctr">
              <a:solidFill>
                <a:schemeClr val="bg1"/>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endParaRPr>
            </a:p>
          </p:txBody>
        </p:sp>
        <p:grpSp>
          <p:nvGrpSpPr>
            <p:cNvPr id="309" name="Group 308"/>
            <p:cNvGrpSpPr/>
            <p:nvPr/>
          </p:nvGrpSpPr>
          <p:grpSpPr>
            <a:xfrm>
              <a:off x="3158123" y="4341908"/>
              <a:ext cx="279112" cy="342681"/>
              <a:chOff x="3143089" y="4341908"/>
              <a:chExt cx="279112" cy="342681"/>
            </a:xfrm>
          </p:grpSpPr>
          <p:grpSp>
            <p:nvGrpSpPr>
              <p:cNvPr id="310" name="Group 309"/>
              <p:cNvGrpSpPr/>
              <p:nvPr/>
            </p:nvGrpSpPr>
            <p:grpSpPr>
              <a:xfrm>
                <a:off x="3143089" y="4341908"/>
                <a:ext cx="279112" cy="342681"/>
                <a:chOff x="2699358" y="419777"/>
                <a:chExt cx="1310785" cy="1503647"/>
              </a:xfrm>
              <a:solidFill>
                <a:schemeClr val="bg1"/>
              </a:solidFill>
            </p:grpSpPr>
            <p:sp>
              <p:nvSpPr>
                <p:cNvPr id="316"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317" name="Rectangle 31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318" name="Rectangle 31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311"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nvGrpSpPr>
              <p:cNvPr id="312" name="Group 311"/>
              <p:cNvGrpSpPr/>
              <p:nvPr/>
            </p:nvGrpSpPr>
            <p:grpSpPr>
              <a:xfrm>
                <a:off x="3197139" y="4441480"/>
                <a:ext cx="137160" cy="91608"/>
                <a:chOff x="3202179" y="4429260"/>
                <a:chExt cx="105327" cy="91608"/>
              </a:xfrm>
            </p:grpSpPr>
            <p:sp>
              <p:nvSpPr>
                <p:cNvPr id="313" name="Rectangle 312"/>
                <p:cNvSpPr/>
                <p:nvPr/>
              </p:nvSpPr>
              <p:spPr>
                <a:xfrm>
                  <a:off x="3202179" y="4468044"/>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14" name="Rectangle 313"/>
                <p:cNvSpPr/>
                <p:nvPr/>
              </p:nvSpPr>
              <p:spPr>
                <a:xfrm>
                  <a:off x="3202179" y="4429260"/>
                  <a:ext cx="70218"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15" name="Rectangle 314"/>
                <p:cNvSpPr/>
                <p:nvPr/>
              </p:nvSpPr>
              <p:spPr>
                <a:xfrm>
                  <a:off x="3202179" y="4505460"/>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grpSp>
        </p:grpSp>
      </p:grpSp>
      <p:grpSp>
        <p:nvGrpSpPr>
          <p:cNvPr id="319" name="Group 318"/>
          <p:cNvGrpSpPr/>
          <p:nvPr/>
        </p:nvGrpSpPr>
        <p:grpSpPr>
          <a:xfrm>
            <a:off x="2727433" y="2202448"/>
            <a:ext cx="355927" cy="355927"/>
            <a:chOff x="2957353" y="4172678"/>
            <a:chExt cx="679834" cy="679834"/>
          </a:xfrm>
        </p:grpSpPr>
        <p:sp>
          <p:nvSpPr>
            <p:cNvPr id="320" name="Oval 319"/>
            <p:cNvSpPr/>
            <p:nvPr/>
          </p:nvSpPr>
          <p:spPr>
            <a:xfrm>
              <a:off x="2957353" y="4172678"/>
              <a:ext cx="679834" cy="679834"/>
            </a:xfrm>
            <a:prstGeom prst="ellipse">
              <a:avLst/>
            </a:prstGeom>
            <a:solidFill>
              <a:srgbClr val="3497C4"/>
            </a:solidFill>
            <a:ln w="38100" cap="flat" cmpd="sng" algn="ctr">
              <a:solidFill>
                <a:schemeClr val="bg1"/>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endParaRPr>
            </a:p>
          </p:txBody>
        </p:sp>
        <p:grpSp>
          <p:nvGrpSpPr>
            <p:cNvPr id="321" name="Group 320"/>
            <p:cNvGrpSpPr/>
            <p:nvPr/>
          </p:nvGrpSpPr>
          <p:grpSpPr>
            <a:xfrm>
              <a:off x="3158123" y="4341908"/>
              <a:ext cx="279112" cy="342681"/>
              <a:chOff x="3143089" y="4341908"/>
              <a:chExt cx="279112" cy="342681"/>
            </a:xfrm>
          </p:grpSpPr>
          <p:grpSp>
            <p:nvGrpSpPr>
              <p:cNvPr id="322" name="Group 321"/>
              <p:cNvGrpSpPr/>
              <p:nvPr/>
            </p:nvGrpSpPr>
            <p:grpSpPr>
              <a:xfrm>
                <a:off x="3143089" y="4341908"/>
                <a:ext cx="279112" cy="342681"/>
                <a:chOff x="2699358" y="419777"/>
                <a:chExt cx="1310785" cy="1503647"/>
              </a:xfrm>
              <a:solidFill>
                <a:schemeClr val="bg1"/>
              </a:solidFill>
            </p:grpSpPr>
            <p:sp>
              <p:nvSpPr>
                <p:cNvPr id="328"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endParaRPr>
                </a:p>
              </p:txBody>
            </p:sp>
            <p:sp>
              <p:nvSpPr>
                <p:cNvPr id="329" name="Rectangle 328"/>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sp>
              <p:nvSpPr>
                <p:cNvPr id="330" name="Rectangle 329"/>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endParaRPr>
                </a:p>
              </p:txBody>
            </p:sp>
          </p:grpSp>
          <p:sp>
            <p:nvSpPr>
              <p:cNvPr id="323"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endParaRPr>
              </a:p>
            </p:txBody>
          </p:sp>
          <p:grpSp>
            <p:nvGrpSpPr>
              <p:cNvPr id="324" name="Group 323"/>
              <p:cNvGrpSpPr/>
              <p:nvPr/>
            </p:nvGrpSpPr>
            <p:grpSpPr>
              <a:xfrm>
                <a:off x="3197139" y="4441480"/>
                <a:ext cx="137160" cy="91608"/>
                <a:chOff x="3202179" y="4429260"/>
                <a:chExt cx="105327" cy="91608"/>
              </a:xfrm>
            </p:grpSpPr>
            <p:sp>
              <p:nvSpPr>
                <p:cNvPr id="325" name="Rectangle 324"/>
                <p:cNvSpPr/>
                <p:nvPr/>
              </p:nvSpPr>
              <p:spPr>
                <a:xfrm>
                  <a:off x="3202179" y="4468044"/>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26" name="Rectangle 325"/>
                <p:cNvSpPr/>
                <p:nvPr/>
              </p:nvSpPr>
              <p:spPr>
                <a:xfrm>
                  <a:off x="3202179" y="4429260"/>
                  <a:ext cx="70218"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sp>
              <p:nvSpPr>
                <p:cNvPr id="327" name="Rectangle 326"/>
                <p:cNvSpPr/>
                <p:nvPr/>
              </p:nvSpPr>
              <p:spPr>
                <a:xfrm>
                  <a:off x="3202179" y="4505460"/>
                  <a:ext cx="105327" cy="15408"/>
                </a:xfrm>
                <a:prstGeom prst="rect">
                  <a:avLst/>
                </a:prstGeom>
                <a:solidFill>
                  <a:schemeClr val="bg1"/>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endParaRPr>
                </a:p>
              </p:txBody>
            </p:sp>
          </p:grpSp>
        </p:grpSp>
      </p:grpSp>
    </p:spTree>
    <p:extLst>
      <p:ext uri="{BB962C8B-B14F-4D97-AF65-F5344CB8AC3E}">
        <p14:creationId xmlns:p14="http://schemas.microsoft.com/office/powerpoint/2010/main" val="387035917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TextBox 319"/>
          <p:cNvSpPr txBox="1"/>
          <p:nvPr/>
        </p:nvSpPr>
        <p:spPr>
          <a:xfrm>
            <a:off x="6830749" y="3765546"/>
            <a:ext cx="1828619" cy="736609"/>
          </a:xfrm>
          <a:prstGeom prst="rect">
            <a:avLst/>
          </a:prstGeom>
          <a:solidFill>
            <a:schemeClr val="bg1">
              <a:lumMod val="95000"/>
            </a:schemeClr>
          </a:solidFill>
        </p:spPr>
        <p:txBody>
          <a:bodyPr wrap="square" lIns="68580" tIns="34290" rIns="68580" bIns="34290" rtlCol="0">
            <a:noAutofit/>
          </a:bodyPr>
          <a:lstStyle/>
          <a:p>
            <a:r>
              <a:rPr lang="ja-JP" altLang="en-US" sz="1100" b="1" dirty="0" smtClean="0">
                <a:solidFill>
                  <a:srgbClr val="1A315D"/>
                </a:solidFill>
                <a:latin typeface="メイリオ"/>
                <a:ea typeface="メイリオ"/>
                <a:cs typeface="メイリオ"/>
              </a:rPr>
              <a:t>モニタリング</a:t>
            </a:r>
            <a:r>
              <a:rPr lang="en-US" sz="1100" b="1" dirty="0" smtClean="0">
                <a:solidFill>
                  <a:srgbClr val="1A315D"/>
                </a:solidFill>
                <a:latin typeface="メイリオ"/>
                <a:ea typeface="メイリオ"/>
                <a:cs typeface="メイリオ"/>
              </a:rPr>
              <a:t>: </a:t>
            </a:r>
            <a:r>
              <a:rPr lang="ja-JP" altLang="en-US" sz="1100" dirty="0" smtClean="0">
                <a:latin typeface="メイリオ"/>
                <a:ea typeface="メイリオ"/>
                <a:cs typeface="メイリオ"/>
              </a:rPr>
              <a:t>レポートや　</a:t>
            </a:r>
            <a:r>
              <a:rPr lang="en-US" altLang="ja-JP" sz="1100" dirty="0" smtClean="0">
                <a:latin typeface="メイリオ"/>
                <a:ea typeface="メイリオ"/>
                <a:cs typeface="メイリオ"/>
              </a:rPr>
              <a:t>OOB </a:t>
            </a:r>
            <a:r>
              <a:rPr lang="ja-JP" altLang="en-US" sz="1100" dirty="0" smtClean="0">
                <a:latin typeface="メイリオ"/>
                <a:ea typeface="メイリオ"/>
                <a:cs typeface="メイリオ"/>
              </a:rPr>
              <a:t>通知により、ポリシー変更や効果を全体的に把握</a:t>
            </a:r>
            <a:r>
              <a:rPr lang="en-US" sz="1100" dirty="0" smtClean="0">
                <a:latin typeface="メイリオ"/>
                <a:ea typeface="メイリオ"/>
                <a:cs typeface="メイリオ"/>
              </a:rPr>
              <a:t> </a:t>
            </a:r>
            <a:endParaRPr lang="en-US" sz="1100" dirty="0">
              <a:latin typeface="メイリオ"/>
              <a:ea typeface="メイリオ"/>
              <a:cs typeface="メイリオ"/>
            </a:endParaRPr>
          </a:p>
        </p:txBody>
      </p:sp>
      <p:sp>
        <p:nvSpPr>
          <p:cNvPr id="2" name="Rectangle 1"/>
          <p:cNvSpPr/>
          <p:nvPr/>
        </p:nvSpPr>
        <p:spPr>
          <a:xfrm>
            <a:off x="428625" y="1200150"/>
            <a:ext cx="8286750" cy="3352800"/>
          </a:xfrm>
          <a:prstGeom prst="rect">
            <a:avLst/>
          </a:prstGeom>
          <a:noFill/>
          <a:ln w="952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02870" tIns="68580" rIns="102870" bIns="34290" rtlCol="0" anchor="t"/>
          <a:lstStyle/>
          <a:p>
            <a:pPr defTabSz="684196">
              <a:lnSpc>
                <a:spcPct val="95000"/>
              </a:lnSpc>
              <a:spcBef>
                <a:spcPts val="1075"/>
              </a:spcBef>
              <a:buClr>
                <a:schemeClr val="tx2"/>
              </a:buClr>
              <a:buSzPct val="90000"/>
            </a:pPr>
            <a:r>
              <a:rPr lang="en-US" altLang="ja-JP" sz="1500" dirty="0" smtClean="0">
                <a:solidFill>
                  <a:schemeClr val="accent1"/>
                </a:solidFill>
                <a:latin typeface="メイリオ"/>
                <a:ea typeface="メイリオ"/>
                <a:cs typeface="メイリオ"/>
              </a:rPr>
              <a:t>Cisco</a:t>
            </a:r>
            <a:r>
              <a:rPr lang="ja-JP" altLang="en-US" sz="1500" dirty="0" smtClean="0">
                <a:solidFill>
                  <a:schemeClr val="accent1"/>
                </a:solidFill>
                <a:latin typeface="メイリオ"/>
                <a:ea typeface="メイリオ"/>
                <a:cs typeface="メイリオ"/>
              </a:rPr>
              <a:t> </a:t>
            </a:r>
            <a:r>
              <a:rPr lang="en-US" sz="1500" dirty="0" smtClean="0">
                <a:solidFill>
                  <a:schemeClr val="accent1"/>
                </a:solidFill>
                <a:latin typeface="メイリオ"/>
                <a:ea typeface="メイリオ"/>
                <a:cs typeface="メイリオ"/>
              </a:rPr>
              <a:t>Defense </a:t>
            </a:r>
            <a:r>
              <a:rPr lang="en-US" sz="1500" dirty="0">
                <a:solidFill>
                  <a:schemeClr val="accent1"/>
                </a:solidFill>
                <a:latin typeface="メイリオ"/>
                <a:ea typeface="メイリオ"/>
                <a:cs typeface="メイリオ"/>
              </a:rPr>
              <a:t>Orchestrator </a:t>
            </a:r>
            <a:r>
              <a:rPr lang="ja-JP" altLang="en-US" sz="1500" dirty="0" smtClean="0">
                <a:solidFill>
                  <a:schemeClr val="accent1"/>
                </a:solidFill>
                <a:latin typeface="メイリオ"/>
                <a:ea typeface="メイリオ"/>
                <a:cs typeface="メイリオ"/>
              </a:rPr>
              <a:t>シンプルに全セキュリティポリシーを管理</a:t>
            </a:r>
            <a:endParaRPr lang="en-US" sz="1500" dirty="0">
              <a:solidFill>
                <a:schemeClr val="accent1"/>
              </a:solidFill>
              <a:latin typeface="メイリオ"/>
              <a:ea typeface="メイリオ"/>
              <a:cs typeface="メイリオ"/>
            </a:endParaRPr>
          </a:p>
        </p:txBody>
      </p:sp>
      <p:sp>
        <p:nvSpPr>
          <p:cNvPr id="3" name="Title 2"/>
          <p:cNvSpPr>
            <a:spLocks noGrp="1"/>
          </p:cNvSpPr>
          <p:nvPr>
            <p:ph type="title"/>
          </p:nvPr>
        </p:nvSpPr>
        <p:spPr/>
        <p:txBody>
          <a:bodyPr/>
          <a:lstStyle/>
          <a:p>
            <a:r>
              <a:rPr lang="en-US" dirty="0" smtClean="0"/>
              <a:t>セキュリティポリシーマネージメント</a:t>
            </a:r>
            <a:endParaRPr lang="en-US" dirty="0"/>
          </a:p>
        </p:txBody>
      </p:sp>
      <p:sp>
        <p:nvSpPr>
          <p:cNvPr id="21" name="Freeform 20"/>
          <p:cNvSpPr/>
          <p:nvPr/>
        </p:nvSpPr>
        <p:spPr>
          <a:xfrm>
            <a:off x="2563329" y="1588334"/>
            <a:ext cx="3553126" cy="1213479"/>
          </a:xfrm>
          <a:custGeom>
            <a:avLst/>
            <a:gdLst>
              <a:gd name="connsiteX0" fmla="*/ 6438545 w 13999436"/>
              <a:gd name="connsiteY0" fmla="*/ 0 h 4195916"/>
              <a:gd name="connsiteX1" fmla="*/ 8291088 w 13999436"/>
              <a:gd name="connsiteY1" fmla="*/ 1281338 h 4195916"/>
              <a:gd name="connsiteX2" fmla="*/ 8328698 w 13999436"/>
              <a:gd name="connsiteY2" fmla="*/ 1388565 h 4195916"/>
              <a:gd name="connsiteX3" fmla="*/ 8442983 w 13999436"/>
              <a:gd name="connsiteY3" fmla="*/ 1299388 h 4195916"/>
              <a:gd name="connsiteX4" fmla="*/ 9291432 w 13999436"/>
              <a:gd name="connsiteY4" fmla="*/ 1028955 h 4195916"/>
              <a:gd name="connsiteX5" fmla="*/ 10625779 w 13999436"/>
              <a:gd name="connsiteY5" fmla="*/ 1857654 h 4195916"/>
              <a:gd name="connsiteX6" fmla="*/ 10644348 w 13999436"/>
              <a:gd name="connsiteY6" fmla="*/ 1897877 h 4195916"/>
              <a:gd name="connsiteX7" fmla="*/ 10672503 w 13999436"/>
              <a:gd name="connsiteY7" fmla="*/ 1871175 h 4195916"/>
              <a:gd name="connsiteX8" fmla="*/ 11472399 w 13999436"/>
              <a:gd name="connsiteY8" fmla="*/ 1571535 h 4195916"/>
              <a:gd name="connsiteX9" fmla="*/ 12631092 w 13999436"/>
              <a:gd name="connsiteY9" fmla="*/ 2372961 h 4195916"/>
              <a:gd name="connsiteX10" fmla="*/ 12656507 w 13999436"/>
              <a:gd name="connsiteY10" fmla="*/ 2458393 h 4195916"/>
              <a:gd name="connsiteX11" fmla="*/ 12679900 w 13999436"/>
              <a:gd name="connsiteY11" fmla="*/ 2443563 h 4195916"/>
              <a:gd name="connsiteX12" fmla="*/ 13105841 w 13999436"/>
              <a:gd name="connsiteY12" fmla="*/ 2331022 h 4195916"/>
              <a:gd name="connsiteX13" fmla="*/ 13999436 w 13999436"/>
              <a:gd name="connsiteY13" fmla="*/ 3263469 h 4195916"/>
              <a:gd name="connsiteX14" fmla="*/ 13105841 w 13999436"/>
              <a:gd name="connsiteY14" fmla="*/ 4195916 h 4195916"/>
              <a:gd name="connsiteX15" fmla="*/ 13088981 w 13999436"/>
              <a:gd name="connsiteY15" fmla="*/ 4195028 h 4195916"/>
              <a:gd name="connsiteX16" fmla="*/ 13080169 w 13999436"/>
              <a:gd name="connsiteY16" fmla="*/ 4195916 h 4195916"/>
              <a:gd name="connsiteX17" fmla="*/ 6438556 w 13999436"/>
              <a:gd name="connsiteY17" fmla="*/ 4195916 h 4195916"/>
              <a:gd name="connsiteX18" fmla="*/ 6438545 w 13999436"/>
              <a:gd name="connsiteY18" fmla="*/ 4195916 h 4195916"/>
              <a:gd name="connsiteX19" fmla="*/ 6438534 w 13999436"/>
              <a:gd name="connsiteY19" fmla="*/ 4195916 h 4195916"/>
              <a:gd name="connsiteX20" fmla="*/ 1367374 w 13999436"/>
              <a:gd name="connsiteY20" fmla="*/ 4195915 h 4195916"/>
              <a:gd name="connsiteX21" fmla="*/ 1367355 w 13999436"/>
              <a:gd name="connsiteY21" fmla="*/ 4195916 h 4195916"/>
              <a:gd name="connsiteX22" fmla="*/ 1367336 w 13999436"/>
              <a:gd name="connsiteY22" fmla="*/ 4195915 h 4195916"/>
              <a:gd name="connsiteX23" fmla="*/ 1355225 w 13999436"/>
              <a:gd name="connsiteY23" fmla="*/ 4195915 h 4195916"/>
              <a:gd name="connsiteX24" fmla="*/ 1341964 w 13999436"/>
              <a:gd name="connsiteY24" fmla="*/ 4194578 h 4195916"/>
              <a:gd name="connsiteX25" fmla="*/ 1227551 w 13999436"/>
              <a:gd name="connsiteY25" fmla="*/ 4188550 h 4195916"/>
              <a:gd name="connsiteX26" fmla="*/ 0 w 13999436"/>
              <a:gd name="connsiteY26" fmla="*/ 2769110 h 4195916"/>
              <a:gd name="connsiteX27" fmla="*/ 1367355 w 13999436"/>
              <a:gd name="connsiteY27" fmla="*/ 1342304 h 4195916"/>
              <a:gd name="connsiteX28" fmla="*/ 2237120 w 13999436"/>
              <a:gd name="connsiteY28" fmla="*/ 1668117 h 4195916"/>
              <a:gd name="connsiteX29" fmla="*/ 2320279 w 13999436"/>
              <a:gd name="connsiteY29" fmla="*/ 1746983 h 4195916"/>
              <a:gd name="connsiteX30" fmla="*/ 2379775 w 13999436"/>
              <a:gd name="connsiteY30" fmla="*/ 1618106 h 4195916"/>
              <a:gd name="connsiteX31" fmla="*/ 3850822 w 13999436"/>
              <a:gd name="connsiteY31" fmla="*/ 704509 h 4195916"/>
              <a:gd name="connsiteX32" fmla="*/ 4648256 w 13999436"/>
              <a:gd name="connsiteY32" fmla="*/ 915206 h 4195916"/>
              <a:gd name="connsiteX33" fmla="*/ 4742335 w 13999436"/>
              <a:gd name="connsiteY33" fmla="*/ 974845 h 4195916"/>
              <a:gd name="connsiteX34" fmla="*/ 4771372 w 13999436"/>
              <a:gd name="connsiteY34" fmla="*/ 924970 h 4195916"/>
              <a:gd name="connsiteX35" fmla="*/ 6438545 w 13999436"/>
              <a:gd name="connsiteY35" fmla="*/ 0 h 419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999436" h="4195916">
                <a:moveTo>
                  <a:pt x="6438545" y="0"/>
                </a:moveTo>
                <a:cubicBezTo>
                  <a:pt x="7271338" y="0"/>
                  <a:pt x="7985871" y="528349"/>
                  <a:pt x="8291088" y="1281338"/>
                </a:cubicBezTo>
                <a:lnTo>
                  <a:pt x="8328698" y="1388565"/>
                </a:lnTo>
                <a:lnTo>
                  <a:pt x="8442983" y="1299388"/>
                </a:lnTo>
                <a:cubicBezTo>
                  <a:pt x="8685177" y="1128651"/>
                  <a:pt x="8977147" y="1028955"/>
                  <a:pt x="9291432" y="1028955"/>
                </a:cubicBezTo>
                <a:cubicBezTo>
                  <a:pt x="9867621" y="1028955"/>
                  <a:pt x="10368806" y="1364044"/>
                  <a:pt x="10625779" y="1857654"/>
                </a:cubicBezTo>
                <a:lnTo>
                  <a:pt x="10644348" y="1897877"/>
                </a:lnTo>
                <a:lnTo>
                  <a:pt x="10672503" y="1871175"/>
                </a:lnTo>
                <a:cubicBezTo>
                  <a:pt x="10889876" y="1683983"/>
                  <a:pt x="11168553" y="1571535"/>
                  <a:pt x="11472399" y="1571535"/>
                </a:cubicBezTo>
                <a:cubicBezTo>
                  <a:pt x="11993278" y="1571535"/>
                  <a:pt x="12440191" y="1901996"/>
                  <a:pt x="12631092" y="2372961"/>
                </a:cubicBezTo>
                <a:lnTo>
                  <a:pt x="12656507" y="2458393"/>
                </a:lnTo>
                <a:lnTo>
                  <a:pt x="12679900" y="2443563"/>
                </a:lnTo>
                <a:cubicBezTo>
                  <a:pt x="12806517" y="2371790"/>
                  <a:pt x="12951616" y="2331022"/>
                  <a:pt x="13105841" y="2331022"/>
                </a:cubicBezTo>
                <a:cubicBezTo>
                  <a:pt x="13599360" y="2331022"/>
                  <a:pt x="13999436" y="2748493"/>
                  <a:pt x="13999436" y="3263469"/>
                </a:cubicBezTo>
                <a:cubicBezTo>
                  <a:pt x="13999436" y="3778445"/>
                  <a:pt x="13599360" y="4195916"/>
                  <a:pt x="13105841" y="4195916"/>
                </a:cubicBezTo>
                <a:lnTo>
                  <a:pt x="13088981" y="4195028"/>
                </a:lnTo>
                <a:lnTo>
                  <a:pt x="13080169" y="4195916"/>
                </a:lnTo>
                <a:lnTo>
                  <a:pt x="6438556" y="4195916"/>
                </a:lnTo>
                <a:lnTo>
                  <a:pt x="6438545" y="4195916"/>
                </a:lnTo>
                <a:lnTo>
                  <a:pt x="6438534" y="4195916"/>
                </a:lnTo>
                <a:lnTo>
                  <a:pt x="1367374" y="4195915"/>
                </a:lnTo>
                <a:lnTo>
                  <a:pt x="1367355" y="4195916"/>
                </a:lnTo>
                <a:lnTo>
                  <a:pt x="1367336" y="4195915"/>
                </a:lnTo>
                <a:lnTo>
                  <a:pt x="1355225" y="4195915"/>
                </a:lnTo>
                <a:lnTo>
                  <a:pt x="1341964" y="4194578"/>
                </a:lnTo>
                <a:lnTo>
                  <a:pt x="1227551" y="4188550"/>
                </a:lnTo>
                <a:cubicBezTo>
                  <a:pt x="538054" y="4115483"/>
                  <a:pt x="0" y="3507863"/>
                  <a:pt x="0" y="2769110"/>
                </a:cubicBezTo>
                <a:cubicBezTo>
                  <a:pt x="0" y="1981107"/>
                  <a:pt x="612186" y="1342304"/>
                  <a:pt x="1367355" y="1342304"/>
                </a:cubicBezTo>
                <a:cubicBezTo>
                  <a:pt x="1697742" y="1342304"/>
                  <a:pt x="2000760" y="1464575"/>
                  <a:pt x="2237120" y="1668117"/>
                </a:cubicBezTo>
                <a:lnTo>
                  <a:pt x="2320279" y="1746983"/>
                </a:lnTo>
                <a:lnTo>
                  <a:pt x="2379775" y="1618106"/>
                </a:lnTo>
                <a:cubicBezTo>
                  <a:pt x="2663074" y="1073927"/>
                  <a:pt x="3215604" y="704509"/>
                  <a:pt x="3850822" y="704509"/>
                </a:cubicBezTo>
                <a:cubicBezTo>
                  <a:pt x="4139557" y="704509"/>
                  <a:pt x="4411208" y="780835"/>
                  <a:pt x="4648256" y="915206"/>
                </a:cubicBezTo>
                <a:lnTo>
                  <a:pt x="4742335" y="974845"/>
                </a:lnTo>
                <a:lnTo>
                  <a:pt x="4771372" y="924970"/>
                </a:lnTo>
                <a:cubicBezTo>
                  <a:pt x="5132681" y="366909"/>
                  <a:pt x="5744549" y="0"/>
                  <a:pt x="6438545" y="0"/>
                </a:cubicBezTo>
                <a:close/>
              </a:path>
            </a:pathLst>
          </a:custGeom>
          <a:solidFill>
            <a:schemeClr val="accent1"/>
          </a:solidFill>
          <a:ln w="19050" cap="flat">
            <a:noFill/>
            <a:prstDash val="sysDash"/>
            <a:miter lim="800000"/>
            <a:headEnd/>
            <a:tailEnd/>
          </a:ln>
          <a:effectLst/>
        </p:spPr>
        <p:txBody>
          <a:bodyPr vert="horz" wrap="square" lIns="205740" tIns="34290" rIns="68580" bIns="68580" numCol="1" anchor="b" anchorCtr="0" compatLnSpc="1">
            <a:prstTxWarp prst="textNoShape">
              <a:avLst/>
            </a:prstTxWarp>
            <a:noAutofit/>
          </a:bodyPr>
          <a:lstStyle/>
          <a:p>
            <a:pPr defTabSz="685800" fontAlgn="auto">
              <a:spcBef>
                <a:spcPts val="0"/>
              </a:spcBef>
              <a:spcAft>
                <a:spcPts val="0"/>
              </a:spcAft>
              <a:defRPr/>
            </a:pPr>
            <a:r>
              <a:rPr lang="en-US" sz="1200" kern="0" dirty="0">
                <a:solidFill>
                  <a:schemeClr val="bg1"/>
                </a:solidFill>
                <a:latin typeface="メイリオ"/>
                <a:ea typeface="メイリオ"/>
                <a:cs typeface="メイリオ"/>
              </a:rPr>
              <a:t>Cisco Defense Orchestrator</a:t>
            </a:r>
          </a:p>
        </p:txBody>
      </p:sp>
      <p:cxnSp>
        <p:nvCxnSpPr>
          <p:cNvPr id="22" name="Straight Connector 21"/>
          <p:cNvCxnSpPr/>
          <p:nvPr/>
        </p:nvCxnSpPr>
        <p:spPr>
          <a:xfrm>
            <a:off x="4526558" y="2801813"/>
            <a:ext cx="0" cy="705297"/>
          </a:xfrm>
          <a:prstGeom prst="line">
            <a:avLst/>
          </a:prstGeom>
          <a:noFill/>
          <a:ln w="31750" cap="flat" cmpd="sng" algn="ctr">
            <a:solidFill>
              <a:schemeClr val="accent2"/>
            </a:solidFill>
            <a:prstDash val="sysDash"/>
          </a:ln>
          <a:effectLst/>
        </p:spPr>
      </p:cxnSp>
      <p:cxnSp>
        <p:nvCxnSpPr>
          <p:cNvPr id="23" name="Straight Connector 22"/>
          <p:cNvCxnSpPr>
            <a:stCxn id="101" idx="2"/>
          </p:cNvCxnSpPr>
          <p:nvPr/>
        </p:nvCxnSpPr>
        <p:spPr>
          <a:xfrm flipH="1">
            <a:off x="4518940" y="3502115"/>
            <a:ext cx="268875" cy="0"/>
          </a:xfrm>
          <a:prstGeom prst="line">
            <a:avLst/>
          </a:prstGeom>
          <a:noFill/>
          <a:ln w="31750" cap="flat" cmpd="sng" algn="ctr">
            <a:solidFill>
              <a:schemeClr val="accent2"/>
            </a:solidFill>
            <a:prstDash val="sysDash"/>
          </a:ln>
          <a:effectLst/>
        </p:spPr>
      </p:cxnSp>
      <p:sp>
        <p:nvSpPr>
          <p:cNvPr id="24" name="Oval 23"/>
          <p:cNvSpPr/>
          <p:nvPr/>
        </p:nvSpPr>
        <p:spPr>
          <a:xfrm>
            <a:off x="5198225" y="2884924"/>
            <a:ext cx="1265072" cy="1292870"/>
          </a:xfrm>
          <a:prstGeom prst="ellipse">
            <a:avLst/>
          </a:prstGeom>
          <a:solidFill>
            <a:srgbClr val="FFFFFF"/>
          </a:solidFill>
          <a:ln w="38100" cap="flat" cmpd="sng" algn="ctr">
            <a:solidFill>
              <a:sysClr val="window" lastClr="FFFFFF">
                <a:lumMod val="65000"/>
              </a:sysClr>
            </a:solidFill>
            <a:prstDash val="solid"/>
          </a:ln>
          <a:effectLst/>
        </p:spPr>
        <p:txBody>
          <a:bodyPr lIns="68580" tIns="34290" rIns="68580" bIns="34290"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5" name="Freeform 5"/>
          <p:cNvSpPr>
            <a:spLocks noEditPoints="1"/>
          </p:cNvSpPr>
          <p:nvPr/>
        </p:nvSpPr>
        <p:spPr bwMode="auto">
          <a:xfrm>
            <a:off x="5222479" y="2908630"/>
            <a:ext cx="1216565" cy="1245458"/>
          </a:xfrm>
          <a:custGeom>
            <a:avLst/>
            <a:gdLst>
              <a:gd name="T0" fmla="*/ 3483 w 4600"/>
              <a:gd name="T1" fmla="*/ 324 h 4608"/>
              <a:gd name="T2" fmla="*/ 1030 w 4600"/>
              <a:gd name="T3" fmla="*/ 391 h 4608"/>
              <a:gd name="T4" fmla="*/ 1224 w 4600"/>
              <a:gd name="T5" fmla="*/ 735 h 4608"/>
              <a:gd name="T6" fmla="*/ 4472 w 4600"/>
              <a:gd name="T7" fmla="*/ 2015 h 4608"/>
              <a:gd name="T8" fmla="*/ 4278 w 4600"/>
              <a:gd name="T9" fmla="*/ 1298 h 4608"/>
              <a:gd name="T10" fmla="*/ 4001 w 4600"/>
              <a:gd name="T11" fmla="*/ 836 h 4608"/>
              <a:gd name="T12" fmla="*/ 3970 w 4600"/>
              <a:gd name="T13" fmla="*/ 770 h 4608"/>
              <a:gd name="T14" fmla="*/ 3785 w 4600"/>
              <a:gd name="T15" fmla="*/ 539 h 4608"/>
              <a:gd name="T16" fmla="*/ 3551 w 4600"/>
              <a:gd name="T17" fmla="*/ 370 h 4608"/>
              <a:gd name="T18" fmla="*/ 3581 w 4600"/>
              <a:gd name="T19" fmla="*/ 432 h 4608"/>
              <a:gd name="T20" fmla="*/ 2328 w 4600"/>
              <a:gd name="T21" fmla="*/ 0 h 4608"/>
              <a:gd name="T22" fmla="*/ 1338 w 4600"/>
              <a:gd name="T23" fmla="*/ 309 h 4608"/>
              <a:gd name="T24" fmla="*/ 1071 w 4600"/>
              <a:gd name="T25" fmla="*/ 448 h 4608"/>
              <a:gd name="T26" fmla="*/ 137 w 4600"/>
              <a:gd name="T27" fmla="*/ 1519 h 4608"/>
              <a:gd name="T28" fmla="*/ 1048 w 4600"/>
              <a:gd name="T29" fmla="*/ 4231 h 4608"/>
              <a:gd name="T30" fmla="*/ 3629 w 4600"/>
              <a:gd name="T31" fmla="*/ 4183 h 4608"/>
              <a:gd name="T32" fmla="*/ 3904 w 4600"/>
              <a:gd name="T33" fmla="*/ 786 h 4608"/>
              <a:gd name="T34" fmla="*/ 3442 w 4600"/>
              <a:gd name="T35" fmla="*/ 1400 h 4608"/>
              <a:gd name="T36" fmla="*/ 2915 w 4600"/>
              <a:gd name="T37" fmla="*/ 84 h 4608"/>
              <a:gd name="T38" fmla="*/ 2930 w 4600"/>
              <a:gd name="T39" fmla="*/ 333 h 4608"/>
              <a:gd name="T40" fmla="*/ 3346 w 4600"/>
              <a:gd name="T41" fmla="*/ 544 h 4608"/>
              <a:gd name="T42" fmla="*/ 3063 w 4600"/>
              <a:gd name="T43" fmla="*/ 729 h 4608"/>
              <a:gd name="T44" fmla="*/ 2665 w 4600"/>
              <a:gd name="T45" fmla="*/ 498 h 4608"/>
              <a:gd name="T46" fmla="*/ 2752 w 4600"/>
              <a:gd name="T47" fmla="*/ 795 h 4608"/>
              <a:gd name="T48" fmla="*/ 2930 w 4600"/>
              <a:gd name="T49" fmla="*/ 816 h 4608"/>
              <a:gd name="T50" fmla="*/ 2412 w 4600"/>
              <a:gd name="T51" fmla="*/ 470 h 4608"/>
              <a:gd name="T52" fmla="*/ 2613 w 4600"/>
              <a:gd name="T53" fmla="*/ 489 h 4608"/>
              <a:gd name="T54" fmla="*/ 2449 w 4600"/>
              <a:gd name="T55" fmla="*/ 594 h 4608"/>
              <a:gd name="T56" fmla="*/ 2316 w 4600"/>
              <a:gd name="T57" fmla="*/ 631 h 4608"/>
              <a:gd name="T58" fmla="*/ 2234 w 4600"/>
              <a:gd name="T59" fmla="*/ 621 h 4608"/>
              <a:gd name="T60" fmla="*/ 1886 w 4600"/>
              <a:gd name="T61" fmla="*/ 566 h 4608"/>
              <a:gd name="T62" fmla="*/ 1967 w 4600"/>
              <a:gd name="T63" fmla="*/ 724 h 4608"/>
              <a:gd name="T64" fmla="*/ 4063 w 4600"/>
              <a:gd name="T65" fmla="*/ 3413 h 4608"/>
              <a:gd name="T66" fmla="*/ 3309 w 4600"/>
              <a:gd name="T67" fmla="*/ 4181 h 4608"/>
              <a:gd name="T68" fmla="*/ 2771 w 4600"/>
              <a:gd name="T69" fmla="*/ 4508 h 4608"/>
              <a:gd name="T70" fmla="*/ 2807 w 4600"/>
              <a:gd name="T71" fmla="*/ 4279 h 4608"/>
              <a:gd name="T72" fmla="*/ 2730 w 4600"/>
              <a:gd name="T73" fmla="*/ 3290 h 4608"/>
              <a:gd name="T74" fmla="*/ 2690 w 4600"/>
              <a:gd name="T75" fmla="*/ 2942 h 4608"/>
              <a:gd name="T76" fmla="*/ 2376 w 4600"/>
              <a:gd name="T77" fmla="*/ 2721 h 4608"/>
              <a:gd name="T78" fmla="*/ 1629 w 4600"/>
              <a:gd name="T79" fmla="*/ 2102 h 4608"/>
              <a:gd name="T80" fmla="*/ 1562 w 4600"/>
              <a:gd name="T81" fmla="*/ 2195 h 4608"/>
              <a:gd name="T82" fmla="*/ 1403 w 4600"/>
              <a:gd name="T83" fmla="*/ 1405 h 4608"/>
              <a:gd name="T84" fmla="*/ 1210 w 4600"/>
              <a:gd name="T85" fmla="*/ 775 h 4608"/>
              <a:gd name="T86" fmla="*/ 1076 w 4600"/>
              <a:gd name="T87" fmla="*/ 667 h 4608"/>
              <a:gd name="T88" fmla="*/ 1471 w 4600"/>
              <a:gd name="T89" fmla="*/ 468 h 4608"/>
              <a:gd name="T90" fmla="*/ 1967 w 4600"/>
              <a:gd name="T91" fmla="*/ 754 h 4608"/>
              <a:gd name="T92" fmla="*/ 2485 w 4600"/>
              <a:gd name="T93" fmla="*/ 775 h 4608"/>
              <a:gd name="T94" fmla="*/ 2627 w 4600"/>
              <a:gd name="T95" fmla="*/ 1252 h 4608"/>
              <a:gd name="T96" fmla="*/ 3223 w 4600"/>
              <a:gd name="T97" fmla="*/ 1154 h 4608"/>
              <a:gd name="T98" fmla="*/ 3104 w 4600"/>
              <a:gd name="T99" fmla="*/ 1517 h 4608"/>
              <a:gd name="T100" fmla="*/ 2869 w 4600"/>
              <a:gd name="T101" fmla="*/ 1743 h 4608"/>
              <a:gd name="T102" fmla="*/ 2583 w 4600"/>
              <a:gd name="T103" fmla="*/ 2113 h 4608"/>
              <a:gd name="T104" fmla="*/ 2234 w 4600"/>
              <a:gd name="T105" fmla="*/ 2547 h 4608"/>
              <a:gd name="T106" fmla="*/ 2439 w 4600"/>
              <a:gd name="T107" fmla="*/ 2650 h 4608"/>
              <a:gd name="T108" fmla="*/ 2690 w 4600"/>
              <a:gd name="T109" fmla="*/ 2911 h 4608"/>
              <a:gd name="T110" fmla="*/ 3131 w 4600"/>
              <a:gd name="T111" fmla="*/ 2830 h 4608"/>
              <a:gd name="T112" fmla="*/ 3780 w 4600"/>
              <a:gd name="T113" fmla="*/ 2947 h 4608"/>
              <a:gd name="T114" fmla="*/ 3063 w 4600"/>
              <a:gd name="T115" fmla="*/ 2522 h 4608"/>
              <a:gd name="T116" fmla="*/ 2674 w 4600"/>
              <a:gd name="T117" fmla="*/ 2378 h 4608"/>
              <a:gd name="T118" fmla="*/ 2627 w 4600"/>
              <a:gd name="T119" fmla="*/ 4519 h 4608"/>
              <a:gd name="T120" fmla="*/ 4324 w 4600"/>
              <a:gd name="T121" fmla="*/ 1266 h 4608"/>
              <a:gd name="T122" fmla="*/ 4164 w 4600"/>
              <a:gd name="T123" fmla="*/ 1001 h 4608"/>
              <a:gd name="T124" fmla="*/ 4267 w 4600"/>
              <a:gd name="T125" fmla="*/ 1119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0" h="4608">
                <a:moveTo>
                  <a:pt x="1117" y="329"/>
                </a:moveTo>
                <a:lnTo>
                  <a:pt x="1101" y="345"/>
                </a:lnTo>
                <a:lnTo>
                  <a:pt x="1128" y="329"/>
                </a:lnTo>
                <a:lnTo>
                  <a:pt x="1131" y="329"/>
                </a:lnTo>
                <a:lnTo>
                  <a:pt x="1137" y="324"/>
                </a:lnTo>
                <a:lnTo>
                  <a:pt x="1117" y="329"/>
                </a:lnTo>
                <a:close/>
                <a:moveTo>
                  <a:pt x="1055" y="375"/>
                </a:moveTo>
                <a:lnTo>
                  <a:pt x="1046" y="386"/>
                </a:lnTo>
                <a:lnTo>
                  <a:pt x="1066" y="381"/>
                </a:lnTo>
                <a:lnTo>
                  <a:pt x="1087" y="375"/>
                </a:lnTo>
                <a:lnTo>
                  <a:pt x="1101" y="375"/>
                </a:lnTo>
                <a:lnTo>
                  <a:pt x="1137" y="356"/>
                </a:lnTo>
                <a:lnTo>
                  <a:pt x="1142" y="345"/>
                </a:lnTo>
                <a:lnTo>
                  <a:pt x="1122" y="356"/>
                </a:lnTo>
                <a:lnTo>
                  <a:pt x="1106" y="356"/>
                </a:lnTo>
                <a:lnTo>
                  <a:pt x="1147" y="329"/>
                </a:lnTo>
                <a:lnTo>
                  <a:pt x="1163" y="320"/>
                </a:lnTo>
                <a:lnTo>
                  <a:pt x="1131" y="329"/>
                </a:lnTo>
                <a:lnTo>
                  <a:pt x="1131" y="329"/>
                </a:lnTo>
                <a:lnTo>
                  <a:pt x="1083" y="361"/>
                </a:lnTo>
                <a:lnTo>
                  <a:pt x="1035" y="391"/>
                </a:lnTo>
                <a:lnTo>
                  <a:pt x="1041" y="386"/>
                </a:lnTo>
                <a:lnTo>
                  <a:pt x="1055" y="375"/>
                </a:lnTo>
                <a:close/>
                <a:moveTo>
                  <a:pt x="2787" y="4560"/>
                </a:moveTo>
                <a:lnTo>
                  <a:pt x="2782" y="4560"/>
                </a:lnTo>
                <a:lnTo>
                  <a:pt x="2777" y="4560"/>
                </a:lnTo>
                <a:lnTo>
                  <a:pt x="2777" y="4560"/>
                </a:lnTo>
                <a:lnTo>
                  <a:pt x="2750" y="4565"/>
                </a:lnTo>
                <a:lnTo>
                  <a:pt x="2725" y="4571"/>
                </a:lnTo>
                <a:lnTo>
                  <a:pt x="2700" y="4576"/>
                </a:lnTo>
                <a:lnTo>
                  <a:pt x="2674" y="4581"/>
                </a:lnTo>
                <a:lnTo>
                  <a:pt x="2674" y="4581"/>
                </a:lnTo>
                <a:lnTo>
                  <a:pt x="2732" y="4572"/>
                </a:lnTo>
                <a:lnTo>
                  <a:pt x="2761" y="4567"/>
                </a:lnTo>
                <a:lnTo>
                  <a:pt x="2787" y="4560"/>
                </a:lnTo>
                <a:lnTo>
                  <a:pt x="2787" y="4560"/>
                </a:lnTo>
                <a:close/>
                <a:moveTo>
                  <a:pt x="3483" y="324"/>
                </a:moveTo>
                <a:lnTo>
                  <a:pt x="3483" y="324"/>
                </a:lnTo>
                <a:lnTo>
                  <a:pt x="3483" y="324"/>
                </a:lnTo>
                <a:lnTo>
                  <a:pt x="3488" y="327"/>
                </a:lnTo>
                <a:lnTo>
                  <a:pt x="3492" y="329"/>
                </a:lnTo>
                <a:lnTo>
                  <a:pt x="3504" y="334"/>
                </a:lnTo>
                <a:lnTo>
                  <a:pt x="3504" y="334"/>
                </a:lnTo>
                <a:lnTo>
                  <a:pt x="3497" y="334"/>
                </a:lnTo>
                <a:lnTo>
                  <a:pt x="3492" y="331"/>
                </a:lnTo>
                <a:lnTo>
                  <a:pt x="3483" y="324"/>
                </a:lnTo>
                <a:lnTo>
                  <a:pt x="3483" y="324"/>
                </a:lnTo>
                <a:close/>
                <a:moveTo>
                  <a:pt x="1957" y="612"/>
                </a:moveTo>
                <a:lnTo>
                  <a:pt x="1978" y="606"/>
                </a:lnTo>
                <a:lnTo>
                  <a:pt x="1998" y="601"/>
                </a:lnTo>
                <a:lnTo>
                  <a:pt x="1998" y="601"/>
                </a:lnTo>
                <a:lnTo>
                  <a:pt x="1967" y="606"/>
                </a:lnTo>
                <a:lnTo>
                  <a:pt x="1957" y="612"/>
                </a:lnTo>
                <a:close/>
                <a:moveTo>
                  <a:pt x="3300" y="228"/>
                </a:moveTo>
                <a:lnTo>
                  <a:pt x="3278" y="217"/>
                </a:lnTo>
                <a:lnTo>
                  <a:pt x="3278" y="217"/>
                </a:lnTo>
                <a:lnTo>
                  <a:pt x="3278" y="217"/>
                </a:lnTo>
                <a:lnTo>
                  <a:pt x="3284" y="221"/>
                </a:lnTo>
                <a:lnTo>
                  <a:pt x="3289" y="222"/>
                </a:lnTo>
                <a:lnTo>
                  <a:pt x="3294" y="224"/>
                </a:lnTo>
                <a:lnTo>
                  <a:pt x="3300" y="228"/>
                </a:lnTo>
                <a:lnTo>
                  <a:pt x="3300" y="228"/>
                </a:lnTo>
                <a:close/>
                <a:moveTo>
                  <a:pt x="3551" y="365"/>
                </a:moveTo>
                <a:lnTo>
                  <a:pt x="3551" y="365"/>
                </a:lnTo>
                <a:lnTo>
                  <a:pt x="3554" y="368"/>
                </a:lnTo>
                <a:lnTo>
                  <a:pt x="3556" y="370"/>
                </a:lnTo>
                <a:lnTo>
                  <a:pt x="3561" y="370"/>
                </a:lnTo>
                <a:lnTo>
                  <a:pt x="3561" y="370"/>
                </a:lnTo>
                <a:lnTo>
                  <a:pt x="3558" y="370"/>
                </a:lnTo>
                <a:lnTo>
                  <a:pt x="3556" y="368"/>
                </a:lnTo>
                <a:lnTo>
                  <a:pt x="3554" y="366"/>
                </a:lnTo>
                <a:lnTo>
                  <a:pt x="3551" y="365"/>
                </a:lnTo>
                <a:lnTo>
                  <a:pt x="3551" y="365"/>
                </a:lnTo>
                <a:close/>
                <a:moveTo>
                  <a:pt x="3561" y="370"/>
                </a:moveTo>
                <a:lnTo>
                  <a:pt x="3561" y="370"/>
                </a:lnTo>
                <a:lnTo>
                  <a:pt x="3561" y="370"/>
                </a:lnTo>
                <a:lnTo>
                  <a:pt x="3561" y="370"/>
                </a:lnTo>
                <a:close/>
                <a:moveTo>
                  <a:pt x="1030" y="391"/>
                </a:moveTo>
                <a:lnTo>
                  <a:pt x="1030" y="391"/>
                </a:lnTo>
                <a:lnTo>
                  <a:pt x="1009" y="404"/>
                </a:lnTo>
                <a:lnTo>
                  <a:pt x="987" y="416"/>
                </a:lnTo>
                <a:lnTo>
                  <a:pt x="971" y="430"/>
                </a:lnTo>
                <a:lnTo>
                  <a:pt x="959" y="443"/>
                </a:lnTo>
                <a:lnTo>
                  <a:pt x="959" y="443"/>
                </a:lnTo>
                <a:lnTo>
                  <a:pt x="977" y="429"/>
                </a:lnTo>
                <a:lnTo>
                  <a:pt x="996" y="414"/>
                </a:lnTo>
                <a:lnTo>
                  <a:pt x="1030" y="391"/>
                </a:lnTo>
                <a:lnTo>
                  <a:pt x="1030" y="391"/>
                </a:lnTo>
                <a:close/>
                <a:moveTo>
                  <a:pt x="3561" y="370"/>
                </a:moveTo>
                <a:lnTo>
                  <a:pt x="3570" y="381"/>
                </a:lnTo>
                <a:lnTo>
                  <a:pt x="3570" y="381"/>
                </a:lnTo>
                <a:lnTo>
                  <a:pt x="3570" y="377"/>
                </a:lnTo>
                <a:lnTo>
                  <a:pt x="3568" y="375"/>
                </a:lnTo>
                <a:lnTo>
                  <a:pt x="3561" y="370"/>
                </a:lnTo>
                <a:lnTo>
                  <a:pt x="3561" y="370"/>
                </a:lnTo>
                <a:close/>
                <a:moveTo>
                  <a:pt x="3458" y="315"/>
                </a:moveTo>
                <a:lnTo>
                  <a:pt x="3458" y="315"/>
                </a:lnTo>
                <a:lnTo>
                  <a:pt x="3469" y="322"/>
                </a:lnTo>
                <a:lnTo>
                  <a:pt x="3479" y="329"/>
                </a:lnTo>
                <a:lnTo>
                  <a:pt x="3479" y="329"/>
                </a:lnTo>
                <a:lnTo>
                  <a:pt x="3474" y="324"/>
                </a:lnTo>
                <a:lnTo>
                  <a:pt x="3470" y="318"/>
                </a:lnTo>
                <a:lnTo>
                  <a:pt x="3465" y="315"/>
                </a:lnTo>
                <a:lnTo>
                  <a:pt x="3458" y="315"/>
                </a:lnTo>
                <a:lnTo>
                  <a:pt x="3458" y="315"/>
                </a:lnTo>
                <a:close/>
                <a:moveTo>
                  <a:pt x="3832" y="580"/>
                </a:moveTo>
                <a:lnTo>
                  <a:pt x="3832" y="580"/>
                </a:lnTo>
                <a:lnTo>
                  <a:pt x="3817" y="567"/>
                </a:lnTo>
                <a:lnTo>
                  <a:pt x="3810" y="562"/>
                </a:lnTo>
                <a:lnTo>
                  <a:pt x="3807" y="555"/>
                </a:lnTo>
                <a:lnTo>
                  <a:pt x="3807" y="555"/>
                </a:lnTo>
                <a:lnTo>
                  <a:pt x="3814" y="560"/>
                </a:lnTo>
                <a:lnTo>
                  <a:pt x="3819" y="566"/>
                </a:lnTo>
                <a:lnTo>
                  <a:pt x="3832" y="580"/>
                </a:lnTo>
                <a:lnTo>
                  <a:pt x="3832" y="580"/>
                </a:lnTo>
                <a:close/>
                <a:moveTo>
                  <a:pt x="1251" y="724"/>
                </a:moveTo>
                <a:lnTo>
                  <a:pt x="1224" y="735"/>
                </a:lnTo>
                <a:lnTo>
                  <a:pt x="1245" y="735"/>
                </a:lnTo>
                <a:lnTo>
                  <a:pt x="1251" y="724"/>
                </a:lnTo>
                <a:close/>
                <a:moveTo>
                  <a:pt x="4600" y="2451"/>
                </a:moveTo>
                <a:lnTo>
                  <a:pt x="4600" y="2451"/>
                </a:lnTo>
                <a:lnTo>
                  <a:pt x="4600" y="2458"/>
                </a:lnTo>
                <a:lnTo>
                  <a:pt x="4598" y="2461"/>
                </a:lnTo>
                <a:lnTo>
                  <a:pt x="4595" y="2465"/>
                </a:lnTo>
                <a:lnTo>
                  <a:pt x="4595" y="2470"/>
                </a:lnTo>
                <a:lnTo>
                  <a:pt x="4589" y="2465"/>
                </a:lnTo>
                <a:lnTo>
                  <a:pt x="4586" y="2445"/>
                </a:lnTo>
                <a:lnTo>
                  <a:pt x="4580" y="2435"/>
                </a:lnTo>
                <a:lnTo>
                  <a:pt x="4575" y="2419"/>
                </a:lnTo>
                <a:lnTo>
                  <a:pt x="4559" y="2413"/>
                </a:lnTo>
                <a:lnTo>
                  <a:pt x="4559" y="2369"/>
                </a:lnTo>
                <a:lnTo>
                  <a:pt x="4548" y="2353"/>
                </a:lnTo>
                <a:lnTo>
                  <a:pt x="4545" y="2342"/>
                </a:lnTo>
                <a:lnTo>
                  <a:pt x="4540" y="2342"/>
                </a:lnTo>
                <a:lnTo>
                  <a:pt x="4534" y="2337"/>
                </a:lnTo>
                <a:lnTo>
                  <a:pt x="4534" y="2317"/>
                </a:lnTo>
                <a:lnTo>
                  <a:pt x="4529" y="2317"/>
                </a:lnTo>
                <a:lnTo>
                  <a:pt x="4524" y="2307"/>
                </a:lnTo>
                <a:lnTo>
                  <a:pt x="4518" y="2296"/>
                </a:lnTo>
                <a:lnTo>
                  <a:pt x="4518" y="2291"/>
                </a:lnTo>
                <a:lnTo>
                  <a:pt x="4513" y="2285"/>
                </a:lnTo>
                <a:lnTo>
                  <a:pt x="4513" y="2285"/>
                </a:lnTo>
                <a:lnTo>
                  <a:pt x="4511" y="2280"/>
                </a:lnTo>
                <a:lnTo>
                  <a:pt x="4509" y="2273"/>
                </a:lnTo>
                <a:lnTo>
                  <a:pt x="4508" y="2255"/>
                </a:lnTo>
                <a:lnTo>
                  <a:pt x="4508" y="2236"/>
                </a:lnTo>
                <a:lnTo>
                  <a:pt x="4499" y="2214"/>
                </a:lnTo>
                <a:lnTo>
                  <a:pt x="4493" y="2204"/>
                </a:lnTo>
                <a:lnTo>
                  <a:pt x="4499" y="2189"/>
                </a:lnTo>
                <a:lnTo>
                  <a:pt x="4499" y="2132"/>
                </a:lnTo>
                <a:lnTo>
                  <a:pt x="4493" y="2116"/>
                </a:lnTo>
                <a:lnTo>
                  <a:pt x="4493" y="2102"/>
                </a:lnTo>
                <a:lnTo>
                  <a:pt x="4488" y="2067"/>
                </a:lnTo>
                <a:lnTo>
                  <a:pt x="4488" y="2067"/>
                </a:lnTo>
                <a:lnTo>
                  <a:pt x="4481" y="2038"/>
                </a:lnTo>
                <a:lnTo>
                  <a:pt x="4472" y="2015"/>
                </a:lnTo>
                <a:lnTo>
                  <a:pt x="4467" y="1994"/>
                </a:lnTo>
                <a:lnTo>
                  <a:pt x="4461" y="1979"/>
                </a:lnTo>
                <a:lnTo>
                  <a:pt x="4452" y="1969"/>
                </a:lnTo>
                <a:lnTo>
                  <a:pt x="4452" y="1969"/>
                </a:lnTo>
                <a:lnTo>
                  <a:pt x="4449" y="1962"/>
                </a:lnTo>
                <a:lnTo>
                  <a:pt x="4447" y="1953"/>
                </a:lnTo>
                <a:lnTo>
                  <a:pt x="4445" y="1946"/>
                </a:lnTo>
                <a:lnTo>
                  <a:pt x="4442" y="1939"/>
                </a:lnTo>
                <a:lnTo>
                  <a:pt x="4442" y="1901"/>
                </a:lnTo>
                <a:lnTo>
                  <a:pt x="4436" y="1892"/>
                </a:lnTo>
                <a:lnTo>
                  <a:pt x="4431" y="1866"/>
                </a:lnTo>
                <a:lnTo>
                  <a:pt x="4431" y="1830"/>
                </a:lnTo>
                <a:lnTo>
                  <a:pt x="4426" y="1810"/>
                </a:lnTo>
                <a:lnTo>
                  <a:pt x="4420" y="1784"/>
                </a:lnTo>
                <a:lnTo>
                  <a:pt x="4417" y="1759"/>
                </a:lnTo>
                <a:lnTo>
                  <a:pt x="4417" y="1738"/>
                </a:lnTo>
                <a:lnTo>
                  <a:pt x="4406" y="1697"/>
                </a:lnTo>
                <a:lnTo>
                  <a:pt x="4406" y="1677"/>
                </a:lnTo>
                <a:lnTo>
                  <a:pt x="4411" y="1661"/>
                </a:lnTo>
                <a:lnTo>
                  <a:pt x="4406" y="1626"/>
                </a:lnTo>
                <a:lnTo>
                  <a:pt x="4406" y="1563"/>
                </a:lnTo>
                <a:lnTo>
                  <a:pt x="4385" y="1522"/>
                </a:lnTo>
                <a:lnTo>
                  <a:pt x="4385" y="1522"/>
                </a:lnTo>
                <a:lnTo>
                  <a:pt x="4381" y="1508"/>
                </a:lnTo>
                <a:lnTo>
                  <a:pt x="4376" y="1496"/>
                </a:lnTo>
                <a:lnTo>
                  <a:pt x="4365" y="1473"/>
                </a:lnTo>
                <a:lnTo>
                  <a:pt x="4355" y="1441"/>
                </a:lnTo>
                <a:lnTo>
                  <a:pt x="4355" y="1441"/>
                </a:lnTo>
                <a:lnTo>
                  <a:pt x="4355" y="1428"/>
                </a:lnTo>
                <a:lnTo>
                  <a:pt x="4351" y="1416"/>
                </a:lnTo>
                <a:lnTo>
                  <a:pt x="4344" y="1389"/>
                </a:lnTo>
                <a:lnTo>
                  <a:pt x="4344" y="1389"/>
                </a:lnTo>
                <a:lnTo>
                  <a:pt x="4330" y="1359"/>
                </a:lnTo>
                <a:lnTo>
                  <a:pt x="4323" y="1341"/>
                </a:lnTo>
                <a:lnTo>
                  <a:pt x="4319" y="1323"/>
                </a:lnTo>
                <a:lnTo>
                  <a:pt x="4319" y="1313"/>
                </a:lnTo>
                <a:lnTo>
                  <a:pt x="4303" y="1318"/>
                </a:lnTo>
                <a:lnTo>
                  <a:pt x="4292" y="1313"/>
                </a:lnTo>
                <a:lnTo>
                  <a:pt x="4278" y="1298"/>
                </a:lnTo>
                <a:lnTo>
                  <a:pt x="4273" y="1304"/>
                </a:lnTo>
                <a:lnTo>
                  <a:pt x="4278" y="1318"/>
                </a:lnTo>
                <a:lnTo>
                  <a:pt x="4273" y="1318"/>
                </a:lnTo>
                <a:lnTo>
                  <a:pt x="4273" y="1329"/>
                </a:lnTo>
                <a:lnTo>
                  <a:pt x="4257" y="1304"/>
                </a:lnTo>
                <a:lnTo>
                  <a:pt x="4242" y="1282"/>
                </a:lnTo>
                <a:lnTo>
                  <a:pt x="4232" y="1272"/>
                </a:lnTo>
                <a:lnTo>
                  <a:pt x="4242" y="1252"/>
                </a:lnTo>
                <a:lnTo>
                  <a:pt x="4237" y="1236"/>
                </a:lnTo>
                <a:lnTo>
                  <a:pt x="4237" y="1236"/>
                </a:lnTo>
                <a:lnTo>
                  <a:pt x="4226" y="1220"/>
                </a:lnTo>
                <a:lnTo>
                  <a:pt x="4216" y="1206"/>
                </a:lnTo>
                <a:lnTo>
                  <a:pt x="4205" y="1190"/>
                </a:lnTo>
                <a:lnTo>
                  <a:pt x="4202" y="1184"/>
                </a:lnTo>
                <a:lnTo>
                  <a:pt x="4202" y="1184"/>
                </a:lnTo>
                <a:lnTo>
                  <a:pt x="4194" y="1177"/>
                </a:lnTo>
                <a:lnTo>
                  <a:pt x="4189" y="1170"/>
                </a:lnTo>
                <a:lnTo>
                  <a:pt x="4180" y="1154"/>
                </a:lnTo>
                <a:lnTo>
                  <a:pt x="4170" y="1144"/>
                </a:lnTo>
                <a:lnTo>
                  <a:pt x="4161" y="1108"/>
                </a:lnTo>
                <a:lnTo>
                  <a:pt x="4170" y="1097"/>
                </a:lnTo>
                <a:lnTo>
                  <a:pt x="4175" y="1083"/>
                </a:lnTo>
                <a:lnTo>
                  <a:pt x="4180" y="1078"/>
                </a:lnTo>
                <a:lnTo>
                  <a:pt x="4180" y="1048"/>
                </a:lnTo>
                <a:lnTo>
                  <a:pt x="4164" y="1026"/>
                </a:lnTo>
                <a:lnTo>
                  <a:pt x="4120" y="964"/>
                </a:lnTo>
                <a:lnTo>
                  <a:pt x="4098" y="944"/>
                </a:lnTo>
                <a:lnTo>
                  <a:pt x="4082" y="939"/>
                </a:lnTo>
                <a:lnTo>
                  <a:pt x="4073" y="944"/>
                </a:lnTo>
                <a:lnTo>
                  <a:pt x="4052" y="923"/>
                </a:lnTo>
                <a:lnTo>
                  <a:pt x="4047" y="914"/>
                </a:lnTo>
                <a:lnTo>
                  <a:pt x="4057" y="903"/>
                </a:lnTo>
                <a:lnTo>
                  <a:pt x="4033" y="877"/>
                </a:lnTo>
                <a:lnTo>
                  <a:pt x="4041" y="877"/>
                </a:lnTo>
                <a:lnTo>
                  <a:pt x="4022" y="832"/>
                </a:lnTo>
                <a:lnTo>
                  <a:pt x="4001" y="811"/>
                </a:lnTo>
                <a:lnTo>
                  <a:pt x="4001" y="816"/>
                </a:lnTo>
                <a:lnTo>
                  <a:pt x="4006" y="836"/>
                </a:lnTo>
                <a:lnTo>
                  <a:pt x="4001" y="836"/>
                </a:lnTo>
                <a:lnTo>
                  <a:pt x="4011" y="857"/>
                </a:lnTo>
                <a:lnTo>
                  <a:pt x="4006" y="863"/>
                </a:lnTo>
                <a:lnTo>
                  <a:pt x="4017" y="882"/>
                </a:lnTo>
                <a:lnTo>
                  <a:pt x="4011" y="882"/>
                </a:lnTo>
                <a:lnTo>
                  <a:pt x="3992" y="841"/>
                </a:lnTo>
                <a:lnTo>
                  <a:pt x="3986" y="827"/>
                </a:lnTo>
                <a:lnTo>
                  <a:pt x="3981" y="836"/>
                </a:lnTo>
                <a:lnTo>
                  <a:pt x="3965" y="827"/>
                </a:lnTo>
                <a:lnTo>
                  <a:pt x="3960" y="806"/>
                </a:lnTo>
                <a:lnTo>
                  <a:pt x="3945" y="816"/>
                </a:lnTo>
                <a:lnTo>
                  <a:pt x="3924" y="795"/>
                </a:lnTo>
                <a:lnTo>
                  <a:pt x="3929" y="781"/>
                </a:lnTo>
                <a:lnTo>
                  <a:pt x="3919" y="770"/>
                </a:lnTo>
                <a:lnTo>
                  <a:pt x="3899" y="759"/>
                </a:lnTo>
                <a:lnTo>
                  <a:pt x="3899" y="770"/>
                </a:lnTo>
                <a:lnTo>
                  <a:pt x="3888" y="765"/>
                </a:lnTo>
                <a:lnTo>
                  <a:pt x="3872" y="749"/>
                </a:lnTo>
                <a:lnTo>
                  <a:pt x="3864" y="745"/>
                </a:lnTo>
                <a:lnTo>
                  <a:pt x="3878" y="765"/>
                </a:lnTo>
                <a:lnTo>
                  <a:pt x="3853" y="745"/>
                </a:lnTo>
                <a:lnTo>
                  <a:pt x="3837" y="735"/>
                </a:lnTo>
                <a:lnTo>
                  <a:pt x="3812" y="708"/>
                </a:lnTo>
                <a:lnTo>
                  <a:pt x="3785" y="672"/>
                </a:lnTo>
                <a:lnTo>
                  <a:pt x="3785" y="658"/>
                </a:lnTo>
                <a:lnTo>
                  <a:pt x="3812" y="694"/>
                </a:lnTo>
                <a:lnTo>
                  <a:pt x="3807" y="678"/>
                </a:lnTo>
                <a:lnTo>
                  <a:pt x="3807" y="667"/>
                </a:lnTo>
                <a:lnTo>
                  <a:pt x="3826" y="688"/>
                </a:lnTo>
                <a:lnTo>
                  <a:pt x="3848" y="713"/>
                </a:lnTo>
                <a:lnTo>
                  <a:pt x="3853" y="704"/>
                </a:lnTo>
                <a:lnTo>
                  <a:pt x="3888" y="724"/>
                </a:lnTo>
                <a:lnTo>
                  <a:pt x="3894" y="718"/>
                </a:lnTo>
                <a:lnTo>
                  <a:pt x="3894" y="718"/>
                </a:lnTo>
                <a:lnTo>
                  <a:pt x="3913" y="733"/>
                </a:lnTo>
                <a:lnTo>
                  <a:pt x="3924" y="740"/>
                </a:lnTo>
                <a:lnTo>
                  <a:pt x="3935" y="745"/>
                </a:lnTo>
                <a:lnTo>
                  <a:pt x="3940" y="735"/>
                </a:lnTo>
                <a:lnTo>
                  <a:pt x="3960" y="754"/>
                </a:lnTo>
                <a:lnTo>
                  <a:pt x="3970" y="770"/>
                </a:lnTo>
                <a:lnTo>
                  <a:pt x="3981" y="775"/>
                </a:lnTo>
                <a:lnTo>
                  <a:pt x="3976" y="770"/>
                </a:lnTo>
                <a:lnTo>
                  <a:pt x="3929" y="718"/>
                </a:lnTo>
                <a:lnTo>
                  <a:pt x="3913" y="699"/>
                </a:lnTo>
                <a:lnTo>
                  <a:pt x="3908" y="688"/>
                </a:lnTo>
                <a:lnTo>
                  <a:pt x="3904" y="683"/>
                </a:lnTo>
                <a:lnTo>
                  <a:pt x="3899" y="672"/>
                </a:lnTo>
                <a:lnTo>
                  <a:pt x="3883" y="658"/>
                </a:lnTo>
                <a:lnTo>
                  <a:pt x="3883" y="658"/>
                </a:lnTo>
                <a:lnTo>
                  <a:pt x="3876" y="653"/>
                </a:lnTo>
                <a:lnTo>
                  <a:pt x="3869" y="647"/>
                </a:lnTo>
                <a:lnTo>
                  <a:pt x="3865" y="642"/>
                </a:lnTo>
                <a:lnTo>
                  <a:pt x="3864" y="637"/>
                </a:lnTo>
                <a:lnTo>
                  <a:pt x="3848" y="626"/>
                </a:lnTo>
                <a:lnTo>
                  <a:pt x="3848" y="626"/>
                </a:lnTo>
                <a:lnTo>
                  <a:pt x="3835" y="617"/>
                </a:lnTo>
                <a:lnTo>
                  <a:pt x="3824" y="608"/>
                </a:lnTo>
                <a:lnTo>
                  <a:pt x="3812" y="601"/>
                </a:lnTo>
                <a:lnTo>
                  <a:pt x="3801" y="590"/>
                </a:lnTo>
                <a:lnTo>
                  <a:pt x="3796" y="580"/>
                </a:lnTo>
                <a:lnTo>
                  <a:pt x="3796" y="580"/>
                </a:lnTo>
                <a:lnTo>
                  <a:pt x="3776" y="560"/>
                </a:lnTo>
                <a:lnTo>
                  <a:pt x="3791" y="571"/>
                </a:lnTo>
                <a:lnTo>
                  <a:pt x="3801" y="580"/>
                </a:lnTo>
                <a:lnTo>
                  <a:pt x="3812" y="585"/>
                </a:lnTo>
                <a:lnTo>
                  <a:pt x="3826" y="596"/>
                </a:lnTo>
                <a:lnTo>
                  <a:pt x="3848" y="617"/>
                </a:lnTo>
                <a:lnTo>
                  <a:pt x="3864" y="626"/>
                </a:lnTo>
                <a:lnTo>
                  <a:pt x="3872" y="637"/>
                </a:lnTo>
                <a:lnTo>
                  <a:pt x="3872" y="631"/>
                </a:lnTo>
                <a:lnTo>
                  <a:pt x="3883" y="642"/>
                </a:lnTo>
                <a:lnTo>
                  <a:pt x="3872" y="626"/>
                </a:lnTo>
                <a:lnTo>
                  <a:pt x="3864" y="617"/>
                </a:lnTo>
                <a:lnTo>
                  <a:pt x="3867" y="617"/>
                </a:lnTo>
                <a:lnTo>
                  <a:pt x="3832" y="585"/>
                </a:lnTo>
                <a:lnTo>
                  <a:pt x="3832" y="580"/>
                </a:lnTo>
                <a:lnTo>
                  <a:pt x="3807" y="555"/>
                </a:lnTo>
                <a:lnTo>
                  <a:pt x="3801" y="550"/>
                </a:lnTo>
                <a:lnTo>
                  <a:pt x="3785" y="539"/>
                </a:lnTo>
                <a:lnTo>
                  <a:pt x="3785" y="539"/>
                </a:lnTo>
                <a:lnTo>
                  <a:pt x="3784" y="539"/>
                </a:lnTo>
                <a:lnTo>
                  <a:pt x="3780" y="537"/>
                </a:lnTo>
                <a:lnTo>
                  <a:pt x="3778" y="535"/>
                </a:lnTo>
                <a:lnTo>
                  <a:pt x="3776" y="535"/>
                </a:lnTo>
                <a:lnTo>
                  <a:pt x="3760" y="519"/>
                </a:lnTo>
                <a:lnTo>
                  <a:pt x="3760" y="519"/>
                </a:lnTo>
                <a:lnTo>
                  <a:pt x="3743" y="503"/>
                </a:lnTo>
                <a:lnTo>
                  <a:pt x="3725" y="489"/>
                </a:lnTo>
                <a:lnTo>
                  <a:pt x="3725" y="489"/>
                </a:lnTo>
                <a:lnTo>
                  <a:pt x="3743" y="503"/>
                </a:lnTo>
                <a:lnTo>
                  <a:pt x="3760" y="519"/>
                </a:lnTo>
                <a:lnTo>
                  <a:pt x="3760" y="519"/>
                </a:lnTo>
                <a:lnTo>
                  <a:pt x="3764" y="521"/>
                </a:lnTo>
                <a:lnTo>
                  <a:pt x="3768" y="525"/>
                </a:lnTo>
                <a:lnTo>
                  <a:pt x="3776" y="535"/>
                </a:lnTo>
                <a:lnTo>
                  <a:pt x="3776" y="535"/>
                </a:lnTo>
                <a:lnTo>
                  <a:pt x="3780" y="535"/>
                </a:lnTo>
                <a:lnTo>
                  <a:pt x="3785" y="539"/>
                </a:lnTo>
                <a:lnTo>
                  <a:pt x="3785" y="539"/>
                </a:lnTo>
                <a:lnTo>
                  <a:pt x="3789" y="541"/>
                </a:lnTo>
                <a:lnTo>
                  <a:pt x="3794" y="542"/>
                </a:lnTo>
                <a:lnTo>
                  <a:pt x="3801" y="550"/>
                </a:lnTo>
                <a:lnTo>
                  <a:pt x="3807" y="550"/>
                </a:lnTo>
                <a:lnTo>
                  <a:pt x="3807" y="550"/>
                </a:lnTo>
                <a:lnTo>
                  <a:pt x="3780" y="526"/>
                </a:lnTo>
                <a:lnTo>
                  <a:pt x="3752" y="503"/>
                </a:lnTo>
                <a:lnTo>
                  <a:pt x="3695" y="459"/>
                </a:lnTo>
                <a:lnTo>
                  <a:pt x="3636" y="418"/>
                </a:lnTo>
                <a:lnTo>
                  <a:pt x="3575" y="375"/>
                </a:lnTo>
                <a:lnTo>
                  <a:pt x="3575" y="375"/>
                </a:lnTo>
                <a:lnTo>
                  <a:pt x="3602" y="393"/>
                </a:lnTo>
                <a:lnTo>
                  <a:pt x="3627" y="411"/>
                </a:lnTo>
                <a:lnTo>
                  <a:pt x="3616" y="411"/>
                </a:lnTo>
                <a:lnTo>
                  <a:pt x="3611" y="407"/>
                </a:lnTo>
                <a:lnTo>
                  <a:pt x="3616" y="411"/>
                </a:lnTo>
                <a:lnTo>
                  <a:pt x="3616" y="411"/>
                </a:lnTo>
                <a:lnTo>
                  <a:pt x="3616" y="411"/>
                </a:lnTo>
                <a:lnTo>
                  <a:pt x="3551" y="370"/>
                </a:lnTo>
                <a:lnTo>
                  <a:pt x="3517" y="347"/>
                </a:lnTo>
                <a:lnTo>
                  <a:pt x="3483" y="324"/>
                </a:lnTo>
                <a:lnTo>
                  <a:pt x="3483" y="324"/>
                </a:lnTo>
                <a:lnTo>
                  <a:pt x="3474" y="317"/>
                </a:lnTo>
                <a:lnTo>
                  <a:pt x="3463" y="309"/>
                </a:lnTo>
                <a:lnTo>
                  <a:pt x="3458" y="315"/>
                </a:lnTo>
                <a:lnTo>
                  <a:pt x="3458" y="315"/>
                </a:lnTo>
                <a:lnTo>
                  <a:pt x="3485" y="331"/>
                </a:lnTo>
                <a:lnTo>
                  <a:pt x="3499" y="340"/>
                </a:lnTo>
                <a:lnTo>
                  <a:pt x="3515" y="350"/>
                </a:lnTo>
                <a:lnTo>
                  <a:pt x="3515" y="350"/>
                </a:lnTo>
                <a:lnTo>
                  <a:pt x="3545" y="370"/>
                </a:lnTo>
                <a:lnTo>
                  <a:pt x="3574" y="391"/>
                </a:lnTo>
                <a:lnTo>
                  <a:pt x="3602" y="413"/>
                </a:lnTo>
                <a:lnTo>
                  <a:pt x="3632" y="432"/>
                </a:lnTo>
                <a:lnTo>
                  <a:pt x="3648" y="443"/>
                </a:lnTo>
                <a:lnTo>
                  <a:pt x="3657" y="448"/>
                </a:lnTo>
                <a:lnTo>
                  <a:pt x="3693" y="473"/>
                </a:lnTo>
                <a:lnTo>
                  <a:pt x="3709" y="489"/>
                </a:lnTo>
                <a:lnTo>
                  <a:pt x="3709" y="489"/>
                </a:lnTo>
                <a:lnTo>
                  <a:pt x="3785" y="550"/>
                </a:lnTo>
                <a:lnTo>
                  <a:pt x="3791" y="560"/>
                </a:lnTo>
                <a:lnTo>
                  <a:pt x="3801" y="571"/>
                </a:lnTo>
                <a:lnTo>
                  <a:pt x="3801" y="571"/>
                </a:lnTo>
                <a:lnTo>
                  <a:pt x="3785" y="560"/>
                </a:lnTo>
                <a:lnTo>
                  <a:pt x="3771" y="551"/>
                </a:lnTo>
                <a:lnTo>
                  <a:pt x="3739" y="535"/>
                </a:lnTo>
                <a:lnTo>
                  <a:pt x="3725" y="530"/>
                </a:lnTo>
                <a:lnTo>
                  <a:pt x="3766" y="571"/>
                </a:lnTo>
                <a:lnTo>
                  <a:pt x="3780" y="590"/>
                </a:lnTo>
                <a:lnTo>
                  <a:pt x="3771" y="590"/>
                </a:lnTo>
                <a:lnTo>
                  <a:pt x="3771" y="590"/>
                </a:lnTo>
                <a:lnTo>
                  <a:pt x="3721" y="560"/>
                </a:lnTo>
                <a:lnTo>
                  <a:pt x="3696" y="542"/>
                </a:lnTo>
                <a:lnTo>
                  <a:pt x="3673" y="525"/>
                </a:lnTo>
                <a:lnTo>
                  <a:pt x="3652" y="503"/>
                </a:lnTo>
                <a:lnTo>
                  <a:pt x="3622" y="462"/>
                </a:lnTo>
                <a:lnTo>
                  <a:pt x="3581" y="432"/>
                </a:lnTo>
                <a:lnTo>
                  <a:pt x="3581" y="432"/>
                </a:lnTo>
                <a:lnTo>
                  <a:pt x="3554" y="411"/>
                </a:lnTo>
                <a:lnTo>
                  <a:pt x="3524" y="391"/>
                </a:lnTo>
                <a:lnTo>
                  <a:pt x="3465" y="350"/>
                </a:lnTo>
                <a:lnTo>
                  <a:pt x="3341" y="274"/>
                </a:lnTo>
                <a:lnTo>
                  <a:pt x="3330" y="258"/>
                </a:lnTo>
                <a:lnTo>
                  <a:pt x="3294" y="237"/>
                </a:lnTo>
                <a:lnTo>
                  <a:pt x="3278" y="233"/>
                </a:lnTo>
                <a:lnTo>
                  <a:pt x="3259" y="217"/>
                </a:lnTo>
                <a:lnTo>
                  <a:pt x="3248" y="206"/>
                </a:lnTo>
                <a:lnTo>
                  <a:pt x="3268" y="217"/>
                </a:lnTo>
                <a:lnTo>
                  <a:pt x="3278" y="217"/>
                </a:lnTo>
                <a:lnTo>
                  <a:pt x="3278" y="217"/>
                </a:lnTo>
                <a:lnTo>
                  <a:pt x="3252" y="206"/>
                </a:lnTo>
                <a:lnTo>
                  <a:pt x="3223" y="192"/>
                </a:lnTo>
                <a:lnTo>
                  <a:pt x="3278" y="217"/>
                </a:lnTo>
                <a:lnTo>
                  <a:pt x="3278" y="217"/>
                </a:lnTo>
                <a:lnTo>
                  <a:pt x="3259" y="206"/>
                </a:lnTo>
                <a:lnTo>
                  <a:pt x="3259" y="206"/>
                </a:lnTo>
                <a:lnTo>
                  <a:pt x="3248" y="203"/>
                </a:lnTo>
                <a:lnTo>
                  <a:pt x="3241" y="196"/>
                </a:lnTo>
                <a:lnTo>
                  <a:pt x="3232" y="190"/>
                </a:lnTo>
                <a:lnTo>
                  <a:pt x="3223" y="187"/>
                </a:lnTo>
                <a:lnTo>
                  <a:pt x="3223" y="187"/>
                </a:lnTo>
                <a:lnTo>
                  <a:pt x="3145" y="153"/>
                </a:lnTo>
                <a:lnTo>
                  <a:pt x="3068" y="124"/>
                </a:lnTo>
                <a:lnTo>
                  <a:pt x="2990" y="98"/>
                </a:lnTo>
                <a:lnTo>
                  <a:pt x="2910" y="73"/>
                </a:lnTo>
                <a:lnTo>
                  <a:pt x="2910" y="73"/>
                </a:lnTo>
                <a:lnTo>
                  <a:pt x="2860" y="60"/>
                </a:lnTo>
                <a:lnTo>
                  <a:pt x="2809" y="48"/>
                </a:lnTo>
                <a:lnTo>
                  <a:pt x="2706" y="27"/>
                </a:lnTo>
                <a:lnTo>
                  <a:pt x="2706" y="27"/>
                </a:lnTo>
                <a:lnTo>
                  <a:pt x="2652" y="20"/>
                </a:lnTo>
                <a:lnTo>
                  <a:pt x="2599" y="14"/>
                </a:lnTo>
                <a:lnTo>
                  <a:pt x="2545" y="9"/>
                </a:lnTo>
                <a:lnTo>
                  <a:pt x="2490" y="5"/>
                </a:lnTo>
                <a:lnTo>
                  <a:pt x="2437" y="2"/>
                </a:lnTo>
                <a:lnTo>
                  <a:pt x="2384" y="2"/>
                </a:lnTo>
                <a:lnTo>
                  <a:pt x="2328" y="0"/>
                </a:lnTo>
                <a:lnTo>
                  <a:pt x="2275" y="2"/>
                </a:lnTo>
                <a:lnTo>
                  <a:pt x="2220" y="4"/>
                </a:lnTo>
                <a:lnTo>
                  <a:pt x="2167" y="5"/>
                </a:lnTo>
                <a:lnTo>
                  <a:pt x="2111" y="11"/>
                </a:lnTo>
                <a:lnTo>
                  <a:pt x="2058" y="16"/>
                </a:lnTo>
                <a:lnTo>
                  <a:pt x="2005" y="21"/>
                </a:lnTo>
                <a:lnTo>
                  <a:pt x="1951" y="28"/>
                </a:lnTo>
                <a:lnTo>
                  <a:pt x="1898" y="37"/>
                </a:lnTo>
                <a:lnTo>
                  <a:pt x="1845" y="48"/>
                </a:lnTo>
                <a:lnTo>
                  <a:pt x="1845" y="48"/>
                </a:lnTo>
                <a:lnTo>
                  <a:pt x="1770" y="64"/>
                </a:lnTo>
                <a:lnTo>
                  <a:pt x="1733" y="73"/>
                </a:lnTo>
                <a:lnTo>
                  <a:pt x="1695" y="84"/>
                </a:lnTo>
                <a:lnTo>
                  <a:pt x="1706" y="84"/>
                </a:lnTo>
                <a:lnTo>
                  <a:pt x="1676" y="94"/>
                </a:lnTo>
                <a:lnTo>
                  <a:pt x="1676" y="94"/>
                </a:lnTo>
                <a:lnTo>
                  <a:pt x="1667" y="94"/>
                </a:lnTo>
                <a:lnTo>
                  <a:pt x="1660" y="96"/>
                </a:lnTo>
                <a:lnTo>
                  <a:pt x="1653" y="98"/>
                </a:lnTo>
                <a:lnTo>
                  <a:pt x="1644" y="100"/>
                </a:lnTo>
                <a:lnTo>
                  <a:pt x="1644" y="114"/>
                </a:lnTo>
                <a:lnTo>
                  <a:pt x="1558" y="146"/>
                </a:lnTo>
                <a:lnTo>
                  <a:pt x="1558" y="146"/>
                </a:lnTo>
                <a:lnTo>
                  <a:pt x="1521" y="160"/>
                </a:lnTo>
                <a:lnTo>
                  <a:pt x="1475" y="181"/>
                </a:lnTo>
                <a:lnTo>
                  <a:pt x="1450" y="206"/>
                </a:lnTo>
                <a:lnTo>
                  <a:pt x="1430" y="217"/>
                </a:lnTo>
                <a:lnTo>
                  <a:pt x="1409" y="228"/>
                </a:lnTo>
                <a:lnTo>
                  <a:pt x="1387" y="237"/>
                </a:lnTo>
                <a:lnTo>
                  <a:pt x="1368" y="247"/>
                </a:lnTo>
                <a:lnTo>
                  <a:pt x="1368" y="253"/>
                </a:lnTo>
                <a:lnTo>
                  <a:pt x="1357" y="263"/>
                </a:lnTo>
                <a:lnTo>
                  <a:pt x="1343" y="279"/>
                </a:lnTo>
                <a:lnTo>
                  <a:pt x="1343" y="293"/>
                </a:lnTo>
                <a:lnTo>
                  <a:pt x="1306" y="315"/>
                </a:lnTo>
                <a:lnTo>
                  <a:pt x="1316" y="320"/>
                </a:lnTo>
                <a:lnTo>
                  <a:pt x="1338" y="304"/>
                </a:lnTo>
                <a:lnTo>
                  <a:pt x="1352" y="299"/>
                </a:lnTo>
                <a:lnTo>
                  <a:pt x="1338" y="309"/>
                </a:lnTo>
                <a:lnTo>
                  <a:pt x="1338" y="324"/>
                </a:lnTo>
                <a:lnTo>
                  <a:pt x="1316" y="350"/>
                </a:lnTo>
                <a:lnTo>
                  <a:pt x="1302" y="365"/>
                </a:lnTo>
                <a:lnTo>
                  <a:pt x="1302" y="365"/>
                </a:lnTo>
                <a:lnTo>
                  <a:pt x="1288" y="381"/>
                </a:lnTo>
                <a:lnTo>
                  <a:pt x="1275" y="397"/>
                </a:lnTo>
                <a:lnTo>
                  <a:pt x="1263" y="414"/>
                </a:lnTo>
                <a:lnTo>
                  <a:pt x="1251" y="432"/>
                </a:lnTo>
                <a:lnTo>
                  <a:pt x="1229" y="443"/>
                </a:lnTo>
                <a:lnTo>
                  <a:pt x="1224" y="452"/>
                </a:lnTo>
                <a:lnTo>
                  <a:pt x="1245" y="438"/>
                </a:lnTo>
                <a:lnTo>
                  <a:pt x="1251" y="457"/>
                </a:lnTo>
                <a:lnTo>
                  <a:pt x="1229" y="489"/>
                </a:lnTo>
                <a:lnTo>
                  <a:pt x="1210" y="489"/>
                </a:lnTo>
                <a:lnTo>
                  <a:pt x="1194" y="478"/>
                </a:lnTo>
                <a:lnTo>
                  <a:pt x="1163" y="498"/>
                </a:lnTo>
                <a:lnTo>
                  <a:pt x="1153" y="498"/>
                </a:lnTo>
                <a:lnTo>
                  <a:pt x="1153" y="489"/>
                </a:lnTo>
                <a:lnTo>
                  <a:pt x="1163" y="473"/>
                </a:lnTo>
                <a:lnTo>
                  <a:pt x="1169" y="457"/>
                </a:lnTo>
                <a:lnTo>
                  <a:pt x="1183" y="448"/>
                </a:lnTo>
                <a:lnTo>
                  <a:pt x="1188" y="438"/>
                </a:lnTo>
                <a:lnTo>
                  <a:pt x="1183" y="432"/>
                </a:lnTo>
                <a:lnTo>
                  <a:pt x="1199" y="416"/>
                </a:lnTo>
                <a:lnTo>
                  <a:pt x="1215" y="411"/>
                </a:lnTo>
                <a:lnTo>
                  <a:pt x="1199" y="407"/>
                </a:lnTo>
                <a:lnTo>
                  <a:pt x="1183" y="421"/>
                </a:lnTo>
                <a:lnTo>
                  <a:pt x="1169" y="427"/>
                </a:lnTo>
                <a:lnTo>
                  <a:pt x="1169" y="427"/>
                </a:lnTo>
                <a:lnTo>
                  <a:pt x="1163" y="427"/>
                </a:lnTo>
                <a:lnTo>
                  <a:pt x="1147" y="427"/>
                </a:lnTo>
                <a:lnTo>
                  <a:pt x="1153" y="416"/>
                </a:lnTo>
                <a:lnTo>
                  <a:pt x="1131" y="438"/>
                </a:lnTo>
                <a:lnTo>
                  <a:pt x="1112" y="462"/>
                </a:lnTo>
                <a:lnTo>
                  <a:pt x="1106" y="462"/>
                </a:lnTo>
                <a:lnTo>
                  <a:pt x="1090" y="473"/>
                </a:lnTo>
                <a:lnTo>
                  <a:pt x="1082" y="478"/>
                </a:lnTo>
                <a:lnTo>
                  <a:pt x="1090" y="457"/>
                </a:lnTo>
                <a:lnTo>
                  <a:pt x="1071" y="448"/>
                </a:lnTo>
                <a:lnTo>
                  <a:pt x="1071" y="443"/>
                </a:lnTo>
                <a:lnTo>
                  <a:pt x="1041" y="443"/>
                </a:lnTo>
                <a:lnTo>
                  <a:pt x="1025" y="448"/>
                </a:lnTo>
                <a:lnTo>
                  <a:pt x="1049" y="427"/>
                </a:lnTo>
                <a:lnTo>
                  <a:pt x="1035" y="416"/>
                </a:lnTo>
                <a:lnTo>
                  <a:pt x="1049" y="407"/>
                </a:lnTo>
                <a:lnTo>
                  <a:pt x="1041" y="407"/>
                </a:lnTo>
                <a:lnTo>
                  <a:pt x="1055" y="391"/>
                </a:lnTo>
                <a:lnTo>
                  <a:pt x="1035" y="402"/>
                </a:lnTo>
                <a:lnTo>
                  <a:pt x="1014" y="411"/>
                </a:lnTo>
                <a:lnTo>
                  <a:pt x="1000" y="421"/>
                </a:lnTo>
                <a:lnTo>
                  <a:pt x="984" y="438"/>
                </a:lnTo>
                <a:lnTo>
                  <a:pt x="948" y="462"/>
                </a:lnTo>
                <a:lnTo>
                  <a:pt x="953" y="452"/>
                </a:lnTo>
                <a:lnTo>
                  <a:pt x="932" y="462"/>
                </a:lnTo>
                <a:lnTo>
                  <a:pt x="918" y="478"/>
                </a:lnTo>
                <a:lnTo>
                  <a:pt x="918" y="473"/>
                </a:lnTo>
                <a:lnTo>
                  <a:pt x="891" y="493"/>
                </a:lnTo>
                <a:lnTo>
                  <a:pt x="902" y="484"/>
                </a:lnTo>
                <a:lnTo>
                  <a:pt x="902" y="484"/>
                </a:lnTo>
                <a:lnTo>
                  <a:pt x="895" y="487"/>
                </a:lnTo>
                <a:lnTo>
                  <a:pt x="888" y="493"/>
                </a:lnTo>
                <a:lnTo>
                  <a:pt x="882" y="500"/>
                </a:lnTo>
                <a:lnTo>
                  <a:pt x="881" y="503"/>
                </a:lnTo>
                <a:lnTo>
                  <a:pt x="881" y="503"/>
                </a:lnTo>
                <a:lnTo>
                  <a:pt x="809" y="562"/>
                </a:lnTo>
                <a:lnTo>
                  <a:pt x="740" y="622"/>
                </a:lnTo>
                <a:lnTo>
                  <a:pt x="674" y="686"/>
                </a:lnTo>
                <a:lnTo>
                  <a:pt x="610" y="751"/>
                </a:lnTo>
                <a:lnTo>
                  <a:pt x="550" y="820"/>
                </a:lnTo>
                <a:lnTo>
                  <a:pt x="491" y="889"/>
                </a:lnTo>
                <a:lnTo>
                  <a:pt x="436" y="962"/>
                </a:lnTo>
                <a:lnTo>
                  <a:pt x="384" y="1037"/>
                </a:lnTo>
                <a:lnTo>
                  <a:pt x="334" y="1113"/>
                </a:lnTo>
                <a:lnTo>
                  <a:pt x="288" y="1192"/>
                </a:lnTo>
                <a:lnTo>
                  <a:pt x="245" y="1272"/>
                </a:lnTo>
                <a:lnTo>
                  <a:pt x="206" y="1352"/>
                </a:lnTo>
                <a:lnTo>
                  <a:pt x="171" y="1435"/>
                </a:lnTo>
                <a:lnTo>
                  <a:pt x="137" y="1519"/>
                </a:lnTo>
                <a:lnTo>
                  <a:pt x="109" y="1606"/>
                </a:lnTo>
                <a:lnTo>
                  <a:pt x="82" y="1691"/>
                </a:lnTo>
                <a:lnTo>
                  <a:pt x="82" y="1691"/>
                </a:lnTo>
                <a:lnTo>
                  <a:pt x="60" y="1777"/>
                </a:lnTo>
                <a:lnTo>
                  <a:pt x="43" y="1862"/>
                </a:lnTo>
                <a:lnTo>
                  <a:pt x="27" y="1949"/>
                </a:lnTo>
                <a:lnTo>
                  <a:pt x="16" y="2036"/>
                </a:lnTo>
                <a:lnTo>
                  <a:pt x="7" y="2122"/>
                </a:lnTo>
                <a:lnTo>
                  <a:pt x="2" y="2211"/>
                </a:lnTo>
                <a:lnTo>
                  <a:pt x="0" y="2298"/>
                </a:lnTo>
                <a:lnTo>
                  <a:pt x="2" y="2385"/>
                </a:lnTo>
                <a:lnTo>
                  <a:pt x="5" y="2472"/>
                </a:lnTo>
                <a:lnTo>
                  <a:pt x="14" y="2559"/>
                </a:lnTo>
                <a:lnTo>
                  <a:pt x="25" y="2646"/>
                </a:lnTo>
                <a:lnTo>
                  <a:pt x="39" y="2732"/>
                </a:lnTo>
                <a:lnTo>
                  <a:pt x="57" y="2817"/>
                </a:lnTo>
                <a:lnTo>
                  <a:pt x="76" y="2902"/>
                </a:lnTo>
                <a:lnTo>
                  <a:pt x="101" y="2986"/>
                </a:lnTo>
                <a:lnTo>
                  <a:pt x="128" y="3070"/>
                </a:lnTo>
                <a:lnTo>
                  <a:pt x="128" y="3070"/>
                </a:lnTo>
                <a:lnTo>
                  <a:pt x="157" y="3144"/>
                </a:lnTo>
                <a:lnTo>
                  <a:pt x="187" y="3219"/>
                </a:lnTo>
                <a:lnTo>
                  <a:pt x="221" y="3292"/>
                </a:lnTo>
                <a:lnTo>
                  <a:pt x="256" y="3363"/>
                </a:lnTo>
                <a:lnTo>
                  <a:pt x="295" y="3432"/>
                </a:lnTo>
                <a:lnTo>
                  <a:pt x="334" y="3502"/>
                </a:lnTo>
                <a:lnTo>
                  <a:pt x="379" y="3568"/>
                </a:lnTo>
                <a:lnTo>
                  <a:pt x="423" y="3633"/>
                </a:lnTo>
                <a:lnTo>
                  <a:pt x="471" y="3697"/>
                </a:lnTo>
                <a:lnTo>
                  <a:pt x="519" y="3758"/>
                </a:lnTo>
                <a:lnTo>
                  <a:pt x="571" y="3818"/>
                </a:lnTo>
                <a:lnTo>
                  <a:pt x="624" y="3877"/>
                </a:lnTo>
                <a:lnTo>
                  <a:pt x="680" y="3934"/>
                </a:lnTo>
                <a:lnTo>
                  <a:pt x="736" y="3989"/>
                </a:lnTo>
                <a:lnTo>
                  <a:pt x="797" y="4041"/>
                </a:lnTo>
                <a:lnTo>
                  <a:pt x="857" y="4092"/>
                </a:lnTo>
                <a:lnTo>
                  <a:pt x="920" y="4140"/>
                </a:lnTo>
                <a:lnTo>
                  <a:pt x="984" y="4187"/>
                </a:lnTo>
                <a:lnTo>
                  <a:pt x="1048" y="4231"/>
                </a:lnTo>
                <a:lnTo>
                  <a:pt x="1115" y="4274"/>
                </a:lnTo>
                <a:lnTo>
                  <a:pt x="1183" y="4313"/>
                </a:lnTo>
                <a:lnTo>
                  <a:pt x="1252" y="4352"/>
                </a:lnTo>
                <a:lnTo>
                  <a:pt x="1323" y="4387"/>
                </a:lnTo>
                <a:lnTo>
                  <a:pt x="1396" y="4419"/>
                </a:lnTo>
                <a:lnTo>
                  <a:pt x="1469" y="4450"/>
                </a:lnTo>
                <a:lnTo>
                  <a:pt x="1544" y="4478"/>
                </a:lnTo>
                <a:lnTo>
                  <a:pt x="1619" y="4503"/>
                </a:lnTo>
                <a:lnTo>
                  <a:pt x="1695" y="4526"/>
                </a:lnTo>
                <a:lnTo>
                  <a:pt x="1772" y="4548"/>
                </a:lnTo>
                <a:lnTo>
                  <a:pt x="1850" y="4564"/>
                </a:lnTo>
                <a:lnTo>
                  <a:pt x="1928" y="4580"/>
                </a:lnTo>
                <a:lnTo>
                  <a:pt x="2008" y="4590"/>
                </a:lnTo>
                <a:lnTo>
                  <a:pt x="2008" y="4590"/>
                </a:lnTo>
                <a:lnTo>
                  <a:pt x="2085" y="4599"/>
                </a:lnTo>
                <a:lnTo>
                  <a:pt x="2163" y="4604"/>
                </a:lnTo>
                <a:lnTo>
                  <a:pt x="2241" y="4608"/>
                </a:lnTo>
                <a:lnTo>
                  <a:pt x="2321" y="4608"/>
                </a:lnTo>
                <a:lnTo>
                  <a:pt x="2400" y="4606"/>
                </a:lnTo>
                <a:lnTo>
                  <a:pt x="2478" y="4601"/>
                </a:lnTo>
                <a:lnTo>
                  <a:pt x="2556" y="4594"/>
                </a:lnTo>
                <a:lnTo>
                  <a:pt x="2633" y="4587"/>
                </a:lnTo>
                <a:lnTo>
                  <a:pt x="2633" y="4587"/>
                </a:lnTo>
                <a:lnTo>
                  <a:pt x="2707" y="4571"/>
                </a:lnTo>
                <a:lnTo>
                  <a:pt x="2741" y="4565"/>
                </a:lnTo>
                <a:lnTo>
                  <a:pt x="2777" y="4560"/>
                </a:lnTo>
                <a:lnTo>
                  <a:pt x="2777" y="4560"/>
                </a:lnTo>
                <a:lnTo>
                  <a:pt x="2853" y="4542"/>
                </a:lnTo>
                <a:lnTo>
                  <a:pt x="2930" y="4523"/>
                </a:lnTo>
                <a:lnTo>
                  <a:pt x="3004" y="4500"/>
                </a:lnTo>
                <a:lnTo>
                  <a:pt x="3079" y="4475"/>
                </a:lnTo>
                <a:lnTo>
                  <a:pt x="3152" y="4446"/>
                </a:lnTo>
                <a:lnTo>
                  <a:pt x="3223" y="4416"/>
                </a:lnTo>
                <a:lnTo>
                  <a:pt x="3294" y="4382"/>
                </a:lnTo>
                <a:lnTo>
                  <a:pt x="3364" y="4347"/>
                </a:lnTo>
                <a:lnTo>
                  <a:pt x="3433" y="4309"/>
                </a:lnTo>
                <a:lnTo>
                  <a:pt x="3499" y="4270"/>
                </a:lnTo>
                <a:lnTo>
                  <a:pt x="3565" y="4227"/>
                </a:lnTo>
                <a:lnTo>
                  <a:pt x="3629" y="4183"/>
                </a:lnTo>
                <a:lnTo>
                  <a:pt x="3693" y="4137"/>
                </a:lnTo>
                <a:lnTo>
                  <a:pt x="3753" y="4089"/>
                </a:lnTo>
                <a:lnTo>
                  <a:pt x="3812" y="4039"/>
                </a:lnTo>
                <a:lnTo>
                  <a:pt x="3871" y="3987"/>
                </a:lnTo>
                <a:lnTo>
                  <a:pt x="3926" y="3932"/>
                </a:lnTo>
                <a:lnTo>
                  <a:pt x="3981" y="3877"/>
                </a:lnTo>
                <a:lnTo>
                  <a:pt x="4033" y="3820"/>
                </a:lnTo>
                <a:lnTo>
                  <a:pt x="4084" y="3760"/>
                </a:lnTo>
                <a:lnTo>
                  <a:pt x="4132" y="3699"/>
                </a:lnTo>
                <a:lnTo>
                  <a:pt x="4178" y="3637"/>
                </a:lnTo>
                <a:lnTo>
                  <a:pt x="4223" y="3573"/>
                </a:lnTo>
                <a:lnTo>
                  <a:pt x="4266" y="3507"/>
                </a:lnTo>
                <a:lnTo>
                  <a:pt x="4305" y="3440"/>
                </a:lnTo>
                <a:lnTo>
                  <a:pt x="4342" y="3372"/>
                </a:lnTo>
                <a:lnTo>
                  <a:pt x="4378" y="3303"/>
                </a:lnTo>
                <a:lnTo>
                  <a:pt x="4411" y="3231"/>
                </a:lnTo>
                <a:lnTo>
                  <a:pt x="4442" y="3160"/>
                </a:lnTo>
                <a:lnTo>
                  <a:pt x="4470" y="3086"/>
                </a:lnTo>
                <a:lnTo>
                  <a:pt x="4495" y="3013"/>
                </a:lnTo>
                <a:lnTo>
                  <a:pt x="4518" y="2936"/>
                </a:lnTo>
                <a:lnTo>
                  <a:pt x="4518" y="2936"/>
                </a:lnTo>
                <a:lnTo>
                  <a:pt x="4534" y="2881"/>
                </a:lnTo>
                <a:lnTo>
                  <a:pt x="4548" y="2824"/>
                </a:lnTo>
                <a:lnTo>
                  <a:pt x="4563" y="2767"/>
                </a:lnTo>
                <a:lnTo>
                  <a:pt x="4573" y="2710"/>
                </a:lnTo>
                <a:lnTo>
                  <a:pt x="4582" y="2652"/>
                </a:lnTo>
                <a:lnTo>
                  <a:pt x="4589" y="2593"/>
                </a:lnTo>
                <a:lnTo>
                  <a:pt x="4596" y="2534"/>
                </a:lnTo>
                <a:lnTo>
                  <a:pt x="4600" y="2476"/>
                </a:lnTo>
                <a:lnTo>
                  <a:pt x="4600" y="2451"/>
                </a:lnTo>
                <a:close/>
                <a:moveTo>
                  <a:pt x="3684" y="457"/>
                </a:moveTo>
                <a:lnTo>
                  <a:pt x="3684" y="457"/>
                </a:lnTo>
                <a:lnTo>
                  <a:pt x="3684" y="457"/>
                </a:lnTo>
                <a:lnTo>
                  <a:pt x="3687" y="461"/>
                </a:lnTo>
                <a:lnTo>
                  <a:pt x="3689" y="462"/>
                </a:lnTo>
                <a:lnTo>
                  <a:pt x="3693" y="462"/>
                </a:lnTo>
                <a:lnTo>
                  <a:pt x="3684" y="457"/>
                </a:lnTo>
                <a:close/>
                <a:moveTo>
                  <a:pt x="3883" y="781"/>
                </a:moveTo>
                <a:lnTo>
                  <a:pt x="3904" y="786"/>
                </a:lnTo>
                <a:lnTo>
                  <a:pt x="3945" y="827"/>
                </a:lnTo>
                <a:lnTo>
                  <a:pt x="3965" y="857"/>
                </a:lnTo>
                <a:lnTo>
                  <a:pt x="3965" y="887"/>
                </a:lnTo>
                <a:lnTo>
                  <a:pt x="3954" y="898"/>
                </a:lnTo>
                <a:lnTo>
                  <a:pt x="3935" y="863"/>
                </a:lnTo>
                <a:lnTo>
                  <a:pt x="3908" y="841"/>
                </a:lnTo>
                <a:lnTo>
                  <a:pt x="3908" y="841"/>
                </a:lnTo>
                <a:lnTo>
                  <a:pt x="3894" y="815"/>
                </a:lnTo>
                <a:lnTo>
                  <a:pt x="3888" y="802"/>
                </a:lnTo>
                <a:lnTo>
                  <a:pt x="3883" y="791"/>
                </a:lnTo>
                <a:lnTo>
                  <a:pt x="3883" y="781"/>
                </a:lnTo>
                <a:lnTo>
                  <a:pt x="3883" y="781"/>
                </a:lnTo>
                <a:close/>
                <a:moveTo>
                  <a:pt x="3474" y="626"/>
                </a:moveTo>
                <a:lnTo>
                  <a:pt x="3504" y="631"/>
                </a:lnTo>
                <a:lnTo>
                  <a:pt x="3499" y="612"/>
                </a:lnTo>
                <a:lnTo>
                  <a:pt x="3520" y="612"/>
                </a:lnTo>
                <a:lnTo>
                  <a:pt x="3504" y="590"/>
                </a:lnTo>
                <a:lnTo>
                  <a:pt x="3515" y="580"/>
                </a:lnTo>
                <a:lnTo>
                  <a:pt x="3534" y="596"/>
                </a:lnTo>
                <a:lnTo>
                  <a:pt x="3561" y="606"/>
                </a:lnTo>
                <a:lnTo>
                  <a:pt x="3581" y="631"/>
                </a:lnTo>
                <a:lnTo>
                  <a:pt x="3586" y="667"/>
                </a:lnTo>
                <a:lnTo>
                  <a:pt x="3586" y="678"/>
                </a:lnTo>
                <a:lnTo>
                  <a:pt x="3586" y="678"/>
                </a:lnTo>
                <a:lnTo>
                  <a:pt x="3565" y="686"/>
                </a:lnTo>
                <a:lnTo>
                  <a:pt x="3545" y="699"/>
                </a:lnTo>
                <a:lnTo>
                  <a:pt x="3534" y="672"/>
                </a:lnTo>
                <a:lnTo>
                  <a:pt x="3504" y="678"/>
                </a:lnTo>
                <a:lnTo>
                  <a:pt x="3515" y="663"/>
                </a:lnTo>
                <a:lnTo>
                  <a:pt x="3504" y="658"/>
                </a:lnTo>
                <a:lnTo>
                  <a:pt x="3483" y="667"/>
                </a:lnTo>
                <a:lnTo>
                  <a:pt x="3469" y="647"/>
                </a:lnTo>
                <a:lnTo>
                  <a:pt x="3474" y="626"/>
                </a:lnTo>
                <a:close/>
                <a:moveTo>
                  <a:pt x="3401" y="1334"/>
                </a:moveTo>
                <a:lnTo>
                  <a:pt x="3417" y="1323"/>
                </a:lnTo>
                <a:lnTo>
                  <a:pt x="3428" y="1345"/>
                </a:lnTo>
                <a:lnTo>
                  <a:pt x="3447" y="1364"/>
                </a:lnTo>
                <a:lnTo>
                  <a:pt x="3453" y="1394"/>
                </a:lnTo>
                <a:lnTo>
                  <a:pt x="3442" y="1400"/>
                </a:lnTo>
                <a:lnTo>
                  <a:pt x="3422" y="1394"/>
                </a:lnTo>
                <a:lnTo>
                  <a:pt x="3412" y="1369"/>
                </a:lnTo>
                <a:lnTo>
                  <a:pt x="3401" y="1364"/>
                </a:lnTo>
                <a:lnTo>
                  <a:pt x="3387" y="1400"/>
                </a:lnTo>
                <a:lnTo>
                  <a:pt x="3371" y="1400"/>
                </a:lnTo>
                <a:lnTo>
                  <a:pt x="3382" y="1380"/>
                </a:lnTo>
                <a:lnTo>
                  <a:pt x="3355" y="1375"/>
                </a:lnTo>
                <a:lnTo>
                  <a:pt x="3335" y="1385"/>
                </a:lnTo>
                <a:lnTo>
                  <a:pt x="3289" y="1394"/>
                </a:lnTo>
                <a:lnTo>
                  <a:pt x="3278" y="1385"/>
                </a:lnTo>
                <a:lnTo>
                  <a:pt x="3289" y="1369"/>
                </a:lnTo>
                <a:lnTo>
                  <a:pt x="3273" y="1359"/>
                </a:lnTo>
                <a:lnTo>
                  <a:pt x="3289" y="1339"/>
                </a:lnTo>
                <a:lnTo>
                  <a:pt x="3294" y="1277"/>
                </a:lnTo>
                <a:lnTo>
                  <a:pt x="3300" y="1257"/>
                </a:lnTo>
                <a:lnTo>
                  <a:pt x="3314" y="1241"/>
                </a:lnTo>
                <a:lnTo>
                  <a:pt x="3325" y="1241"/>
                </a:lnTo>
                <a:lnTo>
                  <a:pt x="3325" y="1252"/>
                </a:lnTo>
                <a:lnTo>
                  <a:pt x="3325" y="1252"/>
                </a:lnTo>
                <a:lnTo>
                  <a:pt x="3325" y="1266"/>
                </a:lnTo>
                <a:lnTo>
                  <a:pt x="3323" y="1280"/>
                </a:lnTo>
                <a:lnTo>
                  <a:pt x="3321" y="1293"/>
                </a:lnTo>
                <a:lnTo>
                  <a:pt x="3319" y="1307"/>
                </a:lnTo>
                <a:lnTo>
                  <a:pt x="3330" y="1293"/>
                </a:lnTo>
                <a:lnTo>
                  <a:pt x="3351" y="1298"/>
                </a:lnTo>
                <a:lnTo>
                  <a:pt x="3346" y="1313"/>
                </a:lnTo>
                <a:lnTo>
                  <a:pt x="3366" y="1318"/>
                </a:lnTo>
                <a:lnTo>
                  <a:pt x="3371" y="1307"/>
                </a:lnTo>
                <a:lnTo>
                  <a:pt x="3396" y="1313"/>
                </a:lnTo>
                <a:lnTo>
                  <a:pt x="3401" y="1334"/>
                </a:lnTo>
                <a:close/>
                <a:moveTo>
                  <a:pt x="2921" y="84"/>
                </a:moveTo>
                <a:lnTo>
                  <a:pt x="2921" y="84"/>
                </a:lnTo>
                <a:lnTo>
                  <a:pt x="2912" y="84"/>
                </a:lnTo>
                <a:lnTo>
                  <a:pt x="2908" y="82"/>
                </a:lnTo>
                <a:lnTo>
                  <a:pt x="2905" y="78"/>
                </a:lnTo>
                <a:lnTo>
                  <a:pt x="2905" y="78"/>
                </a:lnTo>
                <a:lnTo>
                  <a:pt x="2908" y="80"/>
                </a:lnTo>
                <a:lnTo>
                  <a:pt x="2912" y="82"/>
                </a:lnTo>
                <a:lnTo>
                  <a:pt x="2915" y="84"/>
                </a:lnTo>
                <a:lnTo>
                  <a:pt x="2921" y="84"/>
                </a:lnTo>
                <a:lnTo>
                  <a:pt x="2921" y="84"/>
                </a:lnTo>
                <a:close/>
                <a:moveTo>
                  <a:pt x="2859" y="68"/>
                </a:moveTo>
                <a:lnTo>
                  <a:pt x="2859" y="68"/>
                </a:lnTo>
                <a:lnTo>
                  <a:pt x="2848" y="68"/>
                </a:lnTo>
                <a:lnTo>
                  <a:pt x="2839" y="66"/>
                </a:lnTo>
                <a:lnTo>
                  <a:pt x="2818" y="59"/>
                </a:lnTo>
                <a:lnTo>
                  <a:pt x="2818" y="59"/>
                </a:lnTo>
                <a:lnTo>
                  <a:pt x="2839" y="64"/>
                </a:lnTo>
                <a:lnTo>
                  <a:pt x="2859" y="68"/>
                </a:lnTo>
                <a:lnTo>
                  <a:pt x="2859" y="68"/>
                </a:lnTo>
                <a:close/>
                <a:moveTo>
                  <a:pt x="2720" y="416"/>
                </a:moveTo>
                <a:lnTo>
                  <a:pt x="2741" y="407"/>
                </a:lnTo>
                <a:lnTo>
                  <a:pt x="2766" y="402"/>
                </a:lnTo>
                <a:lnTo>
                  <a:pt x="2787" y="407"/>
                </a:lnTo>
                <a:lnTo>
                  <a:pt x="2796" y="386"/>
                </a:lnTo>
                <a:lnTo>
                  <a:pt x="2823" y="391"/>
                </a:lnTo>
                <a:lnTo>
                  <a:pt x="2859" y="391"/>
                </a:lnTo>
                <a:lnTo>
                  <a:pt x="2828" y="386"/>
                </a:lnTo>
                <a:lnTo>
                  <a:pt x="2812" y="370"/>
                </a:lnTo>
                <a:lnTo>
                  <a:pt x="2823" y="350"/>
                </a:lnTo>
                <a:lnTo>
                  <a:pt x="2843" y="340"/>
                </a:lnTo>
                <a:lnTo>
                  <a:pt x="2839" y="329"/>
                </a:lnTo>
                <a:lnTo>
                  <a:pt x="2859" y="320"/>
                </a:lnTo>
                <a:lnTo>
                  <a:pt x="2859" y="320"/>
                </a:lnTo>
                <a:lnTo>
                  <a:pt x="2869" y="315"/>
                </a:lnTo>
                <a:lnTo>
                  <a:pt x="2880" y="309"/>
                </a:lnTo>
                <a:lnTo>
                  <a:pt x="2889" y="304"/>
                </a:lnTo>
                <a:lnTo>
                  <a:pt x="2899" y="299"/>
                </a:lnTo>
                <a:lnTo>
                  <a:pt x="2899" y="299"/>
                </a:lnTo>
                <a:lnTo>
                  <a:pt x="2912" y="299"/>
                </a:lnTo>
                <a:lnTo>
                  <a:pt x="2924" y="297"/>
                </a:lnTo>
                <a:lnTo>
                  <a:pt x="2939" y="295"/>
                </a:lnTo>
                <a:lnTo>
                  <a:pt x="2951" y="293"/>
                </a:lnTo>
                <a:lnTo>
                  <a:pt x="2956" y="309"/>
                </a:lnTo>
                <a:lnTo>
                  <a:pt x="2956" y="309"/>
                </a:lnTo>
                <a:lnTo>
                  <a:pt x="2946" y="317"/>
                </a:lnTo>
                <a:lnTo>
                  <a:pt x="2939" y="324"/>
                </a:lnTo>
                <a:lnTo>
                  <a:pt x="2930" y="333"/>
                </a:lnTo>
                <a:lnTo>
                  <a:pt x="2921" y="340"/>
                </a:lnTo>
                <a:lnTo>
                  <a:pt x="2930" y="340"/>
                </a:lnTo>
                <a:lnTo>
                  <a:pt x="2946" y="324"/>
                </a:lnTo>
                <a:lnTo>
                  <a:pt x="2967" y="320"/>
                </a:lnTo>
                <a:lnTo>
                  <a:pt x="2962" y="309"/>
                </a:lnTo>
                <a:lnTo>
                  <a:pt x="2981" y="309"/>
                </a:lnTo>
                <a:lnTo>
                  <a:pt x="2997" y="324"/>
                </a:lnTo>
                <a:lnTo>
                  <a:pt x="2997" y="288"/>
                </a:lnTo>
                <a:lnTo>
                  <a:pt x="3012" y="279"/>
                </a:lnTo>
                <a:lnTo>
                  <a:pt x="3033" y="283"/>
                </a:lnTo>
                <a:lnTo>
                  <a:pt x="3049" y="309"/>
                </a:lnTo>
                <a:lnTo>
                  <a:pt x="3052" y="315"/>
                </a:lnTo>
                <a:lnTo>
                  <a:pt x="3049" y="329"/>
                </a:lnTo>
                <a:lnTo>
                  <a:pt x="3058" y="320"/>
                </a:lnTo>
                <a:lnTo>
                  <a:pt x="3058" y="320"/>
                </a:lnTo>
                <a:lnTo>
                  <a:pt x="3079" y="334"/>
                </a:lnTo>
                <a:lnTo>
                  <a:pt x="3099" y="350"/>
                </a:lnTo>
                <a:lnTo>
                  <a:pt x="3136" y="370"/>
                </a:lnTo>
                <a:lnTo>
                  <a:pt x="3161" y="375"/>
                </a:lnTo>
                <a:lnTo>
                  <a:pt x="3156" y="386"/>
                </a:lnTo>
                <a:lnTo>
                  <a:pt x="3161" y="402"/>
                </a:lnTo>
                <a:lnTo>
                  <a:pt x="3186" y="402"/>
                </a:lnTo>
                <a:lnTo>
                  <a:pt x="3213" y="416"/>
                </a:lnTo>
                <a:lnTo>
                  <a:pt x="3213" y="421"/>
                </a:lnTo>
                <a:lnTo>
                  <a:pt x="3248" y="432"/>
                </a:lnTo>
                <a:lnTo>
                  <a:pt x="3237" y="448"/>
                </a:lnTo>
                <a:lnTo>
                  <a:pt x="3259" y="448"/>
                </a:lnTo>
                <a:lnTo>
                  <a:pt x="3268" y="457"/>
                </a:lnTo>
                <a:lnTo>
                  <a:pt x="3264" y="468"/>
                </a:lnTo>
                <a:lnTo>
                  <a:pt x="3253" y="478"/>
                </a:lnTo>
                <a:lnTo>
                  <a:pt x="3278" y="489"/>
                </a:lnTo>
                <a:lnTo>
                  <a:pt x="3294" y="498"/>
                </a:lnTo>
                <a:lnTo>
                  <a:pt x="3268" y="498"/>
                </a:lnTo>
                <a:lnTo>
                  <a:pt x="3278" y="509"/>
                </a:lnTo>
                <a:lnTo>
                  <a:pt x="3300" y="509"/>
                </a:lnTo>
                <a:lnTo>
                  <a:pt x="3325" y="514"/>
                </a:lnTo>
                <a:lnTo>
                  <a:pt x="3351" y="530"/>
                </a:lnTo>
                <a:lnTo>
                  <a:pt x="3346" y="544"/>
                </a:lnTo>
                <a:lnTo>
                  <a:pt x="3346" y="544"/>
                </a:lnTo>
                <a:lnTo>
                  <a:pt x="3325" y="537"/>
                </a:lnTo>
                <a:lnTo>
                  <a:pt x="3316" y="535"/>
                </a:lnTo>
                <a:lnTo>
                  <a:pt x="3305" y="535"/>
                </a:lnTo>
                <a:lnTo>
                  <a:pt x="3325" y="550"/>
                </a:lnTo>
                <a:lnTo>
                  <a:pt x="3335" y="571"/>
                </a:lnTo>
                <a:lnTo>
                  <a:pt x="3335" y="571"/>
                </a:lnTo>
                <a:lnTo>
                  <a:pt x="3351" y="560"/>
                </a:lnTo>
                <a:lnTo>
                  <a:pt x="3366" y="550"/>
                </a:lnTo>
                <a:lnTo>
                  <a:pt x="3376" y="580"/>
                </a:lnTo>
                <a:lnTo>
                  <a:pt x="3376" y="612"/>
                </a:lnTo>
                <a:lnTo>
                  <a:pt x="3355" y="631"/>
                </a:lnTo>
                <a:lnTo>
                  <a:pt x="3346" y="637"/>
                </a:lnTo>
                <a:lnTo>
                  <a:pt x="3346" y="653"/>
                </a:lnTo>
                <a:lnTo>
                  <a:pt x="3360" y="683"/>
                </a:lnTo>
                <a:lnTo>
                  <a:pt x="3355" y="708"/>
                </a:lnTo>
                <a:lnTo>
                  <a:pt x="3346" y="718"/>
                </a:lnTo>
                <a:lnTo>
                  <a:pt x="3335" y="735"/>
                </a:lnTo>
                <a:lnTo>
                  <a:pt x="3314" y="754"/>
                </a:lnTo>
                <a:lnTo>
                  <a:pt x="3319" y="775"/>
                </a:lnTo>
                <a:lnTo>
                  <a:pt x="3341" y="795"/>
                </a:lnTo>
                <a:lnTo>
                  <a:pt x="3351" y="816"/>
                </a:lnTo>
                <a:lnTo>
                  <a:pt x="3346" y="847"/>
                </a:lnTo>
                <a:lnTo>
                  <a:pt x="3366" y="868"/>
                </a:lnTo>
                <a:lnTo>
                  <a:pt x="3366" y="868"/>
                </a:lnTo>
                <a:lnTo>
                  <a:pt x="3380" y="896"/>
                </a:lnTo>
                <a:lnTo>
                  <a:pt x="3387" y="909"/>
                </a:lnTo>
                <a:lnTo>
                  <a:pt x="3392" y="923"/>
                </a:lnTo>
                <a:lnTo>
                  <a:pt x="3376" y="923"/>
                </a:lnTo>
                <a:lnTo>
                  <a:pt x="3335" y="903"/>
                </a:lnTo>
                <a:lnTo>
                  <a:pt x="3305" y="914"/>
                </a:lnTo>
                <a:lnTo>
                  <a:pt x="3278" y="903"/>
                </a:lnTo>
                <a:lnTo>
                  <a:pt x="3248" y="882"/>
                </a:lnTo>
                <a:lnTo>
                  <a:pt x="3191" y="857"/>
                </a:lnTo>
                <a:lnTo>
                  <a:pt x="3172" y="836"/>
                </a:lnTo>
                <a:lnTo>
                  <a:pt x="3150" y="816"/>
                </a:lnTo>
                <a:lnTo>
                  <a:pt x="3109" y="795"/>
                </a:lnTo>
                <a:lnTo>
                  <a:pt x="3095" y="770"/>
                </a:lnTo>
                <a:lnTo>
                  <a:pt x="3074" y="765"/>
                </a:lnTo>
                <a:lnTo>
                  <a:pt x="3063" y="729"/>
                </a:lnTo>
                <a:lnTo>
                  <a:pt x="3079" y="713"/>
                </a:lnTo>
                <a:lnTo>
                  <a:pt x="3074" y="699"/>
                </a:lnTo>
                <a:lnTo>
                  <a:pt x="3058" y="678"/>
                </a:lnTo>
                <a:lnTo>
                  <a:pt x="3058" y="699"/>
                </a:lnTo>
                <a:lnTo>
                  <a:pt x="3052" y="704"/>
                </a:lnTo>
                <a:lnTo>
                  <a:pt x="3044" y="708"/>
                </a:lnTo>
                <a:lnTo>
                  <a:pt x="3022" y="699"/>
                </a:lnTo>
                <a:lnTo>
                  <a:pt x="3008" y="678"/>
                </a:lnTo>
                <a:lnTo>
                  <a:pt x="3008" y="667"/>
                </a:lnTo>
                <a:lnTo>
                  <a:pt x="3022" y="663"/>
                </a:lnTo>
                <a:lnTo>
                  <a:pt x="3052" y="663"/>
                </a:lnTo>
                <a:lnTo>
                  <a:pt x="3052" y="663"/>
                </a:lnTo>
                <a:lnTo>
                  <a:pt x="3026" y="654"/>
                </a:lnTo>
                <a:lnTo>
                  <a:pt x="2997" y="642"/>
                </a:lnTo>
                <a:lnTo>
                  <a:pt x="2987" y="647"/>
                </a:lnTo>
                <a:lnTo>
                  <a:pt x="2971" y="642"/>
                </a:lnTo>
                <a:lnTo>
                  <a:pt x="2967" y="617"/>
                </a:lnTo>
                <a:lnTo>
                  <a:pt x="2951" y="606"/>
                </a:lnTo>
                <a:lnTo>
                  <a:pt x="2951" y="606"/>
                </a:lnTo>
                <a:lnTo>
                  <a:pt x="2935" y="596"/>
                </a:lnTo>
                <a:lnTo>
                  <a:pt x="2921" y="587"/>
                </a:lnTo>
                <a:lnTo>
                  <a:pt x="2889" y="571"/>
                </a:lnTo>
                <a:lnTo>
                  <a:pt x="2869" y="566"/>
                </a:lnTo>
                <a:lnTo>
                  <a:pt x="2859" y="560"/>
                </a:lnTo>
                <a:lnTo>
                  <a:pt x="2812" y="550"/>
                </a:lnTo>
                <a:lnTo>
                  <a:pt x="2787" y="555"/>
                </a:lnTo>
                <a:lnTo>
                  <a:pt x="2787" y="555"/>
                </a:lnTo>
                <a:lnTo>
                  <a:pt x="2755" y="562"/>
                </a:lnTo>
                <a:lnTo>
                  <a:pt x="2739" y="564"/>
                </a:lnTo>
                <a:lnTo>
                  <a:pt x="2720" y="566"/>
                </a:lnTo>
                <a:lnTo>
                  <a:pt x="2700" y="560"/>
                </a:lnTo>
                <a:lnTo>
                  <a:pt x="2668" y="544"/>
                </a:lnTo>
                <a:lnTo>
                  <a:pt x="2695" y="535"/>
                </a:lnTo>
                <a:lnTo>
                  <a:pt x="2714" y="530"/>
                </a:lnTo>
                <a:lnTo>
                  <a:pt x="2665" y="530"/>
                </a:lnTo>
                <a:lnTo>
                  <a:pt x="2633" y="519"/>
                </a:lnTo>
                <a:lnTo>
                  <a:pt x="2627" y="514"/>
                </a:lnTo>
                <a:lnTo>
                  <a:pt x="2627" y="514"/>
                </a:lnTo>
                <a:lnTo>
                  <a:pt x="2665" y="498"/>
                </a:lnTo>
                <a:lnTo>
                  <a:pt x="2700" y="484"/>
                </a:lnTo>
                <a:lnTo>
                  <a:pt x="2700" y="473"/>
                </a:lnTo>
                <a:lnTo>
                  <a:pt x="2665" y="468"/>
                </a:lnTo>
                <a:lnTo>
                  <a:pt x="2674" y="457"/>
                </a:lnTo>
                <a:lnTo>
                  <a:pt x="2695" y="438"/>
                </a:lnTo>
                <a:lnTo>
                  <a:pt x="2711" y="432"/>
                </a:lnTo>
                <a:lnTo>
                  <a:pt x="2700" y="427"/>
                </a:lnTo>
                <a:lnTo>
                  <a:pt x="2720" y="416"/>
                </a:lnTo>
                <a:close/>
                <a:moveTo>
                  <a:pt x="2889" y="863"/>
                </a:moveTo>
                <a:lnTo>
                  <a:pt x="2921" y="873"/>
                </a:lnTo>
                <a:lnTo>
                  <a:pt x="2930" y="877"/>
                </a:lnTo>
                <a:lnTo>
                  <a:pt x="2956" y="903"/>
                </a:lnTo>
                <a:lnTo>
                  <a:pt x="2962" y="923"/>
                </a:lnTo>
                <a:lnTo>
                  <a:pt x="2930" y="923"/>
                </a:lnTo>
                <a:lnTo>
                  <a:pt x="2869" y="903"/>
                </a:lnTo>
                <a:lnTo>
                  <a:pt x="2869" y="903"/>
                </a:lnTo>
                <a:lnTo>
                  <a:pt x="2885" y="914"/>
                </a:lnTo>
                <a:lnTo>
                  <a:pt x="2903" y="923"/>
                </a:lnTo>
                <a:lnTo>
                  <a:pt x="2935" y="939"/>
                </a:lnTo>
                <a:lnTo>
                  <a:pt x="2946" y="950"/>
                </a:lnTo>
                <a:lnTo>
                  <a:pt x="2883" y="944"/>
                </a:lnTo>
                <a:lnTo>
                  <a:pt x="2834" y="928"/>
                </a:lnTo>
                <a:lnTo>
                  <a:pt x="2807" y="923"/>
                </a:lnTo>
                <a:lnTo>
                  <a:pt x="2812" y="914"/>
                </a:lnTo>
                <a:lnTo>
                  <a:pt x="2812" y="914"/>
                </a:lnTo>
                <a:lnTo>
                  <a:pt x="2796" y="905"/>
                </a:lnTo>
                <a:lnTo>
                  <a:pt x="2778" y="900"/>
                </a:lnTo>
                <a:lnTo>
                  <a:pt x="2762" y="895"/>
                </a:lnTo>
                <a:lnTo>
                  <a:pt x="2746" y="893"/>
                </a:lnTo>
                <a:lnTo>
                  <a:pt x="2752" y="903"/>
                </a:lnTo>
                <a:lnTo>
                  <a:pt x="2690" y="914"/>
                </a:lnTo>
                <a:lnTo>
                  <a:pt x="2668" y="903"/>
                </a:lnTo>
                <a:lnTo>
                  <a:pt x="2679" y="882"/>
                </a:lnTo>
                <a:lnTo>
                  <a:pt x="2714" y="873"/>
                </a:lnTo>
                <a:lnTo>
                  <a:pt x="2755" y="868"/>
                </a:lnTo>
                <a:lnTo>
                  <a:pt x="2746" y="857"/>
                </a:lnTo>
                <a:lnTo>
                  <a:pt x="2746" y="841"/>
                </a:lnTo>
                <a:lnTo>
                  <a:pt x="2761" y="811"/>
                </a:lnTo>
                <a:lnTo>
                  <a:pt x="2752" y="795"/>
                </a:lnTo>
                <a:lnTo>
                  <a:pt x="2736" y="781"/>
                </a:lnTo>
                <a:lnTo>
                  <a:pt x="2706" y="770"/>
                </a:lnTo>
                <a:lnTo>
                  <a:pt x="2665" y="765"/>
                </a:lnTo>
                <a:lnTo>
                  <a:pt x="2674" y="754"/>
                </a:lnTo>
                <a:lnTo>
                  <a:pt x="2654" y="735"/>
                </a:lnTo>
                <a:lnTo>
                  <a:pt x="2633" y="735"/>
                </a:lnTo>
                <a:lnTo>
                  <a:pt x="2613" y="724"/>
                </a:lnTo>
                <a:lnTo>
                  <a:pt x="2602" y="735"/>
                </a:lnTo>
                <a:lnTo>
                  <a:pt x="2572" y="740"/>
                </a:lnTo>
                <a:lnTo>
                  <a:pt x="2505" y="735"/>
                </a:lnTo>
                <a:lnTo>
                  <a:pt x="2505" y="735"/>
                </a:lnTo>
                <a:lnTo>
                  <a:pt x="2439" y="718"/>
                </a:lnTo>
                <a:lnTo>
                  <a:pt x="2423" y="708"/>
                </a:lnTo>
                <a:lnTo>
                  <a:pt x="2444" y="694"/>
                </a:lnTo>
                <a:lnTo>
                  <a:pt x="2417" y="694"/>
                </a:lnTo>
                <a:lnTo>
                  <a:pt x="2409" y="672"/>
                </a:lnTo>
                <a:lnTo>
                  <a:pt x="2423" y="653"/>
                </a:lnTo>
                <a:lnTo>
                  <a:pt x="2444" y="642"/>
                </a:lnTo>
                <a:lnTo>
                  <a:pt x="2485" y="637"/>
                </a:lnTo>
                <a:lnTo>
                  <a:pt x="2474" y="658"/>
                </a:lnTo>
                <a:lnTo>
                  <a:pt x="2490" y="678"/>
                </a:lnTo>
                <a:lnTo>
                  <a:pt x="2505" y="658"/>
                </a:lnTo>
                <a:lnTo>
                  <a:pt x="2545" y="647"/>
                </a:lnTo>
                <a:lnTo>
                  <a:pt x="2577" y="672"/>
                </a:lnTo>
                <a:lnTo>
                  <a:pt x="2577" y="694"/>
                </a:lnTo>
                <a:lnTo>
                  <a:pt x="2608" y="683"/>
                </a:lnTo>
                <a:lnTo>
                  <a:pt x="2624" y="672"/>
                </a:lnTo>
                <a:lnTo>
                  <a:pt x="2665" y="688"/>
                </a:lnTo>
                <a:lnTo>
                  <a:pt x="2690" y="699"/>
                </a:lnTo>
                <a:lnTo>
                  <a:pt x="2695" y="713"/>
                </a:lnTo>
                <a:lnTo>
                  <a:pt x="2720" y="704"/>
                </a:lnTo>
                <a:lnTo>
                  <a:pt x="2741" y="718"/>
                </a:lnTo>
                <a:lnTo>
                  <a:pt x="2787" y="724"/>
                </a:lnTo>
                <a:lnTo>
                  <a:pt x="2807" y="735"/>
                </a:lnTo>
                <a:lnTo>
                  <a:pt x="2834" y="754"/>
                </a:lnTo>
                <a:lnTo>
                  <a:pt x="2812" y="775"/>
                </a:lnTo>
                <a:lnTo>
                  <a:pt x="2864" y="791"/>
                </a:lnTo>
                <a:lnTo>
                  <a:pt x="2894" y="795"/>
                </a:lnTo>
                <a:lnTo>
                  <a:pt x="2930" y="816"/>
                </a:lnTo>
                <a:lnTo>
                  <a:pt x="2956" y="811"/>
                </a:lnTo>
                <a:lnTo>
                  <a:pt x="2962" y="832"/>
                </a:lnTo>
                <a:lnTo>
                  <a:pt x="2946" y="863"/>
                </a:lnTo>
                <a:lnTo>
                  <a:pt x="2921" y="852"/>
                </a:lnTo>
                <a:lnTo>
                  <a:pt x="2883" y="822"/>
                </a:lnTo>
                <a:lnTo>
                  <a:pt x="2864" y="827"/>
                </a:lnTo>
                <a:lnTo>
                  <a:pt x="2864" y="847"/>
                </a:lnTo>
                <a:lnTo>
                  <a:pt x="2889" y="863"/>
                </a:lnTo>
                <a:close/>
                <a:moveTo>
                  <a:pt x="2638" y="923"/>
                </a:moveTo>
                <a:lnTo>
                  <a:pt x="2618" y="934"/>
                </a:lnTo>
                <a:lnTo>
                  <a:pt x="2583" y="923"/>
                </a:lnTo>
                <a:lnTo>
                  <a:pt x="2567" y="909"/>
                </a:lnTo>
                <a:lnTo>
                  <a:pt x="2545" y="928"/>
                </a:lnTo>
                <a:lnTo>
                  <a:pt x="2515" y="944"/>
                </a:lnTo>
                <a:lnTo>
                  <a:pt x="2510" y="923"/>
                </a:lnTo>
                <a:lnTo>
                  <a:pt x="2480" y="928"/>
                </a:lnTo>
                <a:lnTo>
                  <a:pt x="2499" y="914"/>
                </a:lnTo>
                <a:lnTo>
                  <a:pt x="2499" y="893"/>
                </a:lnTo>
                <a:lnTo>
                  <a:pt x="2505" y="868"/>
                </a:lnTo>
                <a:lnTo>
                  <a:pt x="2521" y="873"/>
                </a:lnTo>
                <a:lnTo>
                  <a:pt x="2526" y="887"/>
                </a:lnTo>
                <a:lnTo>
                  <a:pt x="2537" y="882"/>
                </a:lnTo>
                <a:lnTo>
                  <a:pt x="2551" y="893"/>
                </a:lnTo>
                <a:lnTo>
                  <a:pt x="2551" y="893"/>
                </a:lnTo>
                <a:lnTo>
                  <a:pt x="2565" y="898"/>
                </a:lnTo>
                <a:lnTo>
                  <a:pt x="2577" y="903"/>
                </a:lnTo>
                <a:lnTo>
                  <a:pt x="2588" y="909"/>
                </a:lnTo>
                <a:lnTo>
                  <a:pt x="2602" y="914"/>
                </a:lnTo>
                <a:lnTo>
                  <a:pt x="2608" y="928"/>
                </a:lnTo>
                <a:lnTo>
                  <a:pt x="2624" y="923"/>
                </a:lnTo>
                <a:lnTo>
                  <a:pt x="2638" y="923"/>
                </a:lnTo>
                <a:close/>
                <a:moveTo>
                  <a:pt x="2336" y="462"/>
                </a:moveTo>
                <a:lnTo>
                  <a:pt x="2346" y="457"/>
                </a:lnTo>
                <a:lnTo>
                  <a:pt x="2362" y="457"/>
                </a:lnTo>
                <a:lnTo>
                  <a:pt x="2352" y="448"/>
                </a:lnTo>
                <a:lnTo>
                  <a:pt x="2376" y="448"/>
                </a:lnTo>
                <a:lnTo>
                  <a:pt x="2392" y="462"/>
                </a:lnTo>
                <a:lnTo>
                  <a:pt x="2392" y="462"/>
                </a:lnTo>
                <a:lnTo>
                  <a:pt x="2412" y="470"/>
                </a:lnTo>
                <a:lnTo>
                  <a:pt x="2423" y="471"/>
                </a:lnTo>
                <a:lnTo>
                  <a:pt x="2433" y="473"/>
                </a:lnTo>
                <a:lnTo>
                  <a:pt x="2444" y="489"/>
                </a:lnTo>
                <a:lnTo>
                  <a:pt x="2449" y="489"/>
                </a:lnTo>
                <a:lnTo>
                  <a:pt x="2444" y="478"/>
                </a:lnTo>
                <a:lnTo>
                  <a:pt x="2474" y="478"/>
                </a:lnTo>
                <a:lnTo>
                  <a:pt x="2485" y="484"/>
                </a:lnTo>
                <a:lnTo>
                  <a:pt x="2505" y="473"/>
                </a:lnTo>
                <a:lnTo>
                  <a:pt x="2439" y="473"/>
                </a:lnTo>
                <a:lnTo>
                  <a:pt x="2417" y="462"/>
                </a:lnTo>
                <a:lnTo>
                  <a:pt x="2409" y="452"/>
                </a:lnTo>
                <a:lnTo>
                  <a:pt x="2392" y="443"/>
                </a:lnTo>
                <a:lnTo>
                  <a:pt x="2387" y="432"/>
                </a:lnTo>
                <a:lnTo>
                  <a:pt x="2409" y="438"/>
                </a:lnTo>
                <a:lnTo>
                  <a:pt x="2423" y="438"/>
                </a:lnTo>
                <a:lnTo>
                  <a:pt x="2444" y="432"/>
                </a:lnTo>
                <a:lnTo>
                  <a:pt x="2458" y="421"/>
                </a:lnTo>
                <a:lnTo>
                  <a:pt x="2474" y="421"/>
                </a:lnTo>
                <a:lnTo>
                  <a:pt x="2490" y="427"/>
                </a:lnTo>
                <a:lnTo>
                  <a:pt x="2496" y="416"/>
                </a:lnTo>
                <a:lnTo>
                  <a:pt x="2510" y="411"/>
                </a:lnTo>
                <a:lnTo>
                  <a:pt x="2531" y="407"/>
                </a:lnTo>
                <a:lnTo>
                  <a:pt x="2556" y="402"/>
                </a:lnTo>
                <a:lnTo>
                  <a:pt x="2586" y="402"/>
                </a:lnTo>
                <a:lnTo>
                  <a:pt x="2586" y="402"/>
                </a:lnTo>
                <a:lnTo>
                  <a:pt x="2608" y="400"/>
                </a:lnTo>
                <a:lnTo>
                  <a:pt x="2631" y="398"/>
                </a:lnTo>
                <a:lnTo>
                  <a:pt x="2654" y="397"/>
                </a:lnTo>
                <a:lnTo>
                  <a:pt x="2674" y="397"/>
                </a:lnTo>
                <a:lnTo>
                  <a:pt x="2695" y="402"/>
                </a:lnTo>
                <a:lnTo>
                  <a:pt x="2700" y="407"/>
                </a:lnTo>
                <a:lnTo>
                  <a:pt x="2684" y="421"/>
                </a:lnTo>
                <a:lnTo>
                  <a:pt x="2665" y="432"/>
                </a:lnTo>
                <a:lnTo>
                  <a:pt x="2659" y="438"/>
                </a:lnTo>
                <a:lnTo>
                  <a:pt x="2674" y="438"/>
                </a:lnTo>
                <a:lnTo>
                  <a:pt x="2659" y="457"/>
                </a:lnTo>
                <a:lnTo>
                  <a:pt x="2649" y="462"/>
                </a:lnTo>
                <a:lnTo>
                  <a:pt x="2638" y="484"/>
                </a:lnTo>
                <a:lnTo>
                  <a:pt x="2613" y="489"/>
                </a:lnTo>
                <a:lnTo>
                  <a:pt x="2608" y="493"/>
                </a:lnTo>
                <a:lnTo>
                  <a:pt x="2572" y="498"/>
                </a:lnTo>
                <a:lnTo>
                  <a:pt x="2592" y="498"/>
                </a:lnTo>
                <a:lnTo>
                  <a:pt x="2586" y="503"/>
                </a:lnTo>
                <a:lnTo>
                  <a:pt x="2602" y="514"/>
                </a:lnTo>
                <a:lnTo>
                  <a:pt x="2592" y="525"/>
                </a:lnTo>
                <a:lnTo>
                  <a:pt x="2572" y="535"/>
                </a:lnTo>
                <a:lnTo>
                  <a:pt x="2567" y="544"/>
                </a:lnTo>
                <a:lnTo>
                  <a:pt x="2545" y="555"/>
                </a:lnTo>
                <a:lnTo>
                  <a:pt x="2551" y="560"/>
                </a:lnTo>
                <a:lnTo>
                  <a:pt x="2572" y="560"/>
                </a:lnTo>
                <a:lnTo>
                  <a:pt x="2572" y="566"/>
                </a:lnTo>
                <a:lnTo>
                  <a:pt x="2540" y="585"/>
                </a:lnTo>
                <a:lnTo>
                  <a:pt x="2545" y="585"/>
                </a:lnTo>
                <a:lnTo>
                  <a:pt x="2567" y="596"/>
                </a:lnTo>
                <a:lnTo>
                  <a:pt x="2572" y="606"/>
                </a:lnTo>
                <a:lnTo>
                  <a:pt x="2561" y="612"/>
                </a:lnTo>
                <a:lnTo>
                  <a:pt x="2540" y="617"/>
                </a:lnTo>
                <a:lnTo>
                  <a:pt x="2521" y="612"/>
                </a:lnTo>
                <a:lnTo>
                  <a:pt x="2469" y="617"/>
                </a:lnTo>
                <a:lnTo>
                  <a:pt x="2439" y="617"/>
                </a:lnTo>
                <a:lnTo>
                  <a:pt x="2412" y="612"/>
                </a:lnTo>
                <a:lnTo>
                  <a:pt x="2376" y="606"/>
                </a:lnTo>
                <a:lnTo>
                  <a:pt x="2371" y="590"/>
                </a:lnTo>
                <a:lnTo>
                  <a:pt x="2371" y="576"/>
                </a:lnTo>
                <a:lnTo>
                  <a:pt x="2352" y="566"/>
                </a:lnTo>
                <a:lnTo>
                  <a:pt x="2321" y="566"/>
                </a:lnTo>
                <a:lnTo>
                  <a:pt x="2305" y="555"/>
                </a:lnTo>
                <a:lnTo>
                  <a:pt x="2316" y="544"/>
                </a:lnTo>
                <a:lnTo>
                  <a:pt x="2341" y="550"/>
                </a:lnTo>
                <a:lnTo>
                  <a:pt x="2357" y="560"/>
                </a:lnTo>
                <a:lnTo>
                  <a:pt x="2382" y="560"/>
                </a:lnTo>
                <a:lnTo>
                  <a:pt x="2398" y="571"/>
                </a:lnTo>
                <a:lnTo>
                  <a:pt x="2398" y="580"/>
                </a:lnTo>
                <a:lnTo>
                  <a:pt x="2417" y="585"/>
                </a:lnTo>
                <a:lnTo>
                  <a:pt x="2428" y="590"/>
                </a:lnTo>
                <a:lnTo>
                  <a:pt x="2428" y="590"/>
                </a:lnTo>
                <a:lnTo>
                  <a:pt x="2439" y="592"/>
                </a:lnTo>
                <a:lnTo>
                  <a:pt x="2449" y="594"/>
                </a:lnTo>
                <a:lnTo>
                  <a:pt x="2460" y="596"/>
                </a:lnTo>
                <a:lnTo>
                  <a:pt x="2474" y="596"/>
                </a:lnTo>
                <a:lnTo>
                  <a:pt x="2496" y="590"/>
                </a:lnTo>
                <a:lnTo>
                  <a:pt x="2526" y="585"/>
                </a:lnTo>
                <a:lnTo>
                  <a:pt x="2540" y="585"/>
                </a:lnTo>
                <a:lnTo>
                  <a:pt x="2499" y="580"/>
                </a:lnTo>
                <a:lnTo>
                  <a:pt x="2458" y="585"/>
                </a:lnTo>
                <a:lnTo>
                  <a:pt x="2439" y="580"/>
                </a:lnTo>
                <a:lnTo>
                  <a:pt x="2412" y="580"/>
                </a:lnTo>
                <a:lnTo>
                  <a:pt x="2412" y="566"/>
                </a:lnTo>
                <a:lnTo>
                  <a:pt x="2439" y="560"/>
                </a:lnTo>
                <a:lnTo>
                  <a:pt x="2428" y="539"/>
                </a:lnTo>
                <a:lnTo>
                  <a:pt x="2439" y="539"/>
                </a:lnTo>
                <a:lnTo>
                  <a:pt x="2474" y="550"/>
                </a:lnTo>
                <a:lnTo>
                  <a:pt x="2455" y="535"/>
                </a:lnTo>
                <a:lnTo>
                  <a:pt x="2433" y="530"/>
                </a:lnTo>
                <a:lnTo>
                  <a:pt x="2444" y="519"/>
                </a:lnTo>
                <a:lnTo>
                  <a:pt x="2464" y="514"/>
                </a:lnTo>
                <a:lnTo>
                  <a:pt x="2469" y="503"/>
                </a:lnTo>
                <a:lnTo>
                  <a:pt x="2464" y="498"/>
                </a:lnTo>
                <a:lnTo>
                  <a:pt x="2444" y="509"/>
                </a:lnTo>
                <a:lnTo>
                  <a:pt x="2423" y="530"/>
                </a:lnTo>
                <a:lnTo>
                  <a:pt x="2403" y="530"/>
                </a:lnTo>
                <a:lnTo>
                  <a:pt x="2376" y="525"/>
                </a:lnTo>
                <a:lnTo>
                  <a:pt x="2357" y="509"/>
                </a:lnTo>
                <a:lnTo>
                  <a:pt x="2357" y="498"/>
                </a:lnTo>
                <a:lnTo>
                  <a:pt x="2368" y="493"/>
                </a:lnTo>
                <a:lnTo>
                  <a:pt x="2346" y="493"/>
                </a:lnTo>
                <a:lnTo>
                  <a:pt x="2330" y="484"/>
                </a:lnTo>
                <a:lnTo>
                  <a:pt x="2327" y="473"/>
                </a:lnTo>
                <a:lnTo>
                  <a:pt x="2336" y="462"/>
                </a:lnTo>
                <a:close/>
                <a:moveTo>
                  <a:pt x="2403" y="631"/>
                </a:moveTo>
                <a:lnTo>
                  <a:pt x="2376" y="653"/>
                </a:lnTo>
                <a:lnTo>
                  <a:pt x="2357" y="658"/>
                </a:lnTo>
                <a:lnTo>
                  <a:pt x="2336" y="678"/>
                </a:lnTo>
                <a:lnTo>
                  <a:pt x="2316" y="678"/>
                </a:lnTo>
                <a:lnTo>
                  <a:pt x="2305" y="658"/>
                </a:lnTo>
                <a:lnTo>
                  <a:pt x="2305" y="642"/>
                </a:lnTo>
                <a:lnTo>
                  <a:pt x="2316" y="631"/>
                </a:lnTo>
                <a:lnTo>
                  <a:pt x="2336" y="626"/>
                </a:lnTo>
                <a:lnTo>
                  <a:pt x="2368" y="631"/>
                </a:lnTo>
                <a:lnTo>
                  <a:pt x="2403" y="631"/>
                </a:lnTo>
                <a:close/>
                <a:moveTo>
                  <a:pt x="2295" y="503"/>
                </a:moveTo>
                <a:lnTo>
                  <a:pt x="2327" y="503"/>
                </a:lnTo>
                <a:lnTo>
                  <a:pt x="2341" y="514"/>
                </a:lnTo>
                <a:lnTo>
                  <a:pt x="2336" y="525"/>
                </a:lnTo>
                <a:lnTo>
                  <a:pt x="2316" y="530"/>
                </a:lnTo>
                <a:lnTo>
                  <a:pt x="2305" y="525"/>
                </a:lnTo>
                <a:lnTo>
                  <a:pt x="2295" y="514"/>
                </a:lnTo>
                <a:lnTo>
                  <a:pt x="2295" y="503"/>
                </a:lnTo>
                <a:close/>
                <a:moveTo>
                  <a:pt x="2295" y="571"/>
                </a:moveTo>
                <a:lnTo>
                  <a:pt x="2295" y="585"/>
                </a:lnTo>
                <a:lnTo>
                  <a:pt x="2284" y="606"/>
                </a:lnTo>
                <a:lnTo>
                  <a:pt x="2259" y="606"/>
                </a:lnTo>
                <a:lnTo>
                  <a:pt x="2243" y="601"/>
                </a:lnTo>
                <a:lnTo>
                  <a:pt x="2248" y="585"/>
                </a:lnTo>
                <a:lnTo>
                  <a:pt x="2229" y="585"/>
                </a:lnTo>
                <a:lnTo>
                  <a:pt x="2234" y="566"/>
                </a:lnTo>
                <a:lnTo>
                  <a:pt x="2248" y="566"/>
                </a:lnTo>
                <a:lnTo>
                  <a:pt x="2270" y="560"/>
                </a:lnTo>
                <a:lnTo>
                  <a:pt x="2284" y="555"/>
                </a:lnTo>
                <a:lnTo>
                  <a:pt x="2295" y="571"/>
                </a:lnTo>
                <a:close/>
                <a:moveTo>
                  <a:pt x="2213" y="478"/>
                </a:moveTo>
                <a:lnTo>
                  <a:pt x="2234" y="484"/>
                </a:lnTo>
                <a:lnTo>
                  <a:pt x="2264" y="498"/>
                </a:lnTo>
                <a:lnTo>
                  <a:pt x="2275" y="514"/>
                </a:lnTo>
                <a:lnTo>
                  <a:pt x="2280" y="525"/>
                </a:lnTo>
                <a:lnTo>
                  <a:pt x="2259" y="519"/>
                </a:lnTo>
                <a:lnTo>
                  <a:pt x="2240" y="509"/>
                </a:lnTo>
                <a:lnTo>
                  <a:pt x="2213" y="503"/>
                </a:lnTo>
                <a:lnTo>
                  <a:pt x="2229" y="498"/>
                </a:lnTo>
                <a:lnTo>
                  <a:pt x="2208" y="489"/>
                </a:lnTo>
                <a:lnTo>
                  <a:pt x="2213" y="478"/>
                </a:lnTo>
                <a:close/>
                <a:moveTo>
                  <a:pt x="2188" y="647"/>
                </a:moveTo>
                <a:lnTo>
                  <a:pt x="2199" y="647"/>
                </a:lnTo>
                <a:lnTo>
                  <a:pt x="2229" y="653"/>
                </a:lnTo>
                <a:lnTo>
                  <a:pt x="2213" y="631"/>
                </a:lnTo>
                <a:lnTo>
                  <a:pt x="2234" y="621"/>
                </a:lnTo>
                <a:lnTo>
                  <a:pt x="2254" y="631"/>
                </a:lnTo>
                <a:lnTo>
                  <a:pt x="2280" y="631"/>
                </a:lnTo>
                <a:lnTo>
                  <a:pt x="2284" y="642"/>
                </a:lnTo>
                <a:lnTo>
                  <a:pt x="2264" y="653"/>
                </a:lnTo>
                <a:lnTo>
                  <a:pt x="2284" y="667"/>
                </a:lnTo>
                <a:lnTo>
                  <a:pt x="2280" y="688"/>
                </a:lnTo>
                <a:lnTo>
                  <a:pt x="2248" y="699"/>
                </a:lnTo>
                <a:lnTo>
                  <a:pt x="2234" y="694"/>
                </a:lnTo>
                <a:lnTo>
                  <a:pt x="2224" y="683"/>
                </a:lnTo>
                <a:lnTo>
                  <a:pt x="2188" y="663"/>
                </a:lnTo>
                <a:lnTo>
                  <a:pt x="2188" y="647"/>
                </a:lnTo>
                <a:lnTo>
                  <a:pt x="2188" y="647"/>
                </a:lnTo>
                <a:close/>
                <a:moveTo>
                  <a:pt x="2033" y="535"/>
                </a:moveTo>
                <a:lnTo>
                  <a:pt x="2055" y="530"/>
                </a:lnTo>
                <a:lnTo>
                  <a:pt x="2085" y="544"/>
                </a:lnTo>
                <a:lnTo>
                  <a:pt x="2106" y="566"/>
                </a:lnTo>
                <a:lnTo>
                  <a:pt x="2126" y="571"/>
                </a:lnTo>
                <a:lnTo>
                  <a:pt x="2115" y="544"/>
                </a:lnTo>
                <a:lnTo>
                  <a:pt x="2136" y="539"/>
                </a:lnTo>
                <a:lnTo>
                  <a:pt x="2152" y="544"/>
                </a:lnTo>
                <a:lnTo>
                  <a:pt x="2152" y="571"/>
                </a:lnTo>
                <a:lnTo>
                  <a:pt x="2167" y="571"/>
                </a:lnTo>
                <a:lnTo>
                  <a:pt x="2183" y="576"/>
                </a:lnTo>
                <a:lnTo>
                  <a:pt x="2183" y="590"/>
                </a:lnTo>
                <a:lnTo>
                  <a:pt x="2167" y="601"/>
                </a:lnTo>
                <a:lnTo>
                  <a:pt x="2115" y="596"/>
                </a:lnTo>
                <a:lnTo>
                  <a:pt x="2074" y="601"/>
                </a:lnTo>
                <a:lnTo>
                  <a:pt x="2049" y="580"/>
                </a:lnTo>
                <a:lnTo>
                  <a:pt x="2055" y="571"/>
                </a:lnTo>
                <a:lnTo>
                  <a:pt x="2090" y="566"/>
                </a:lnTo>
                <a:lnTo>
                  <a:pt x="2090" y="566"/>
                </a:lnTo>
                <a:lnTo>
                  <a:pt x="2074" y="564"/>
                </a:lnTo>
                <a:lnTo>
                  <a:pt x="2056" y="562"/>
                </a:lnTo>
                <a:lnTo>
                  <a:pt x="2024" y="555"/>
                </a:lnTo>
                <a:lnTo>
                  <a:pt x="2003" y="550"/>
                </a:lnTo>
                <a:lnTo>
                  <a:pt x="2033" y="535"/>
                </a:lnTo>
                <a:close/>
                <a:moveTo>
                  <a:pt x="1839" y="601"/>
                </a:moveTo>
                <a:lnTo>
                  <a:pt x="1864" y="580"/>
                </a:lnTo>
                <a:lnTo>
                  <a:pt x="1886" y="566"/>
                </a:lnTo>
                <a:lnTo>
                  <a:pt x="1886" y="544"/>
                </a:lnTo>
                <a:lnTo>
                  <a:pt x="1932" y="555"/>
                </a:lnTo>
                <a:lnTo>
                  <a:pt x="1946" y="566"/>
                </a:lnTo>
                <a:lnTo>
                  <a:pt x="1978" y="576"/>
                </a:lnTo>
                <a:lnTo>
                  <a:pt x="1987" y="585"/>
                </a:lnTo>
                <a:lnTo>
                  <a:pt x="1998" y="601"/>
                </a:lnTo>
                <a:lnTo>
                  <a:pt x="2019" y="596"/>
                </a:lnTo>
                <a:lnTo>
                  <a:pt x="2033" y="606"/>
                </a:lnTo>
                <a:lnTo>
                  <a:pt x="2019" y="617"/>
                </a:lnTo>
                <a:lnTo>
                  <a:pt x="2049" y="617"/>
                </a:lnTo>
                <a:lnTo>
                  <a:pt x="2065" y="637"/>
                </a:lnTo>
                <a:lnTo>
                  <a:pt x="2085" y="626"/>
                </a:lnTo>
                <a:lnTo>
                  <a:pt x="2095" y="637"/>
                </a:lnTo>
                <a:lnTo>
                  <a:pt x="2101" y="663"/>
                </a:lnTo>
                <a:lnTo>
                  <a:pt x="2115" y="653"/>
                </a:lnTo>
                <a:lnTo>
                  <a:pt x="2115" y="626"/>
                </a:lnTo>
                <a:lnTo>
                  <a:pt x="2131" y="626"/>
                </a:lnTo>
                <a:lnTo>
                  <a:pt x="2147" y="631"/>
                </a:lnTo>
                <a:lnTo>
                  <a:pt x="2161" y="647"/>
                </a:lnTo>
                <a:lnTo>
                  <a:pt x="2161" y="694"/>
                </a:lnTo>
                <a:lnTo>
                  <a:pt x="2161" y="694"/>
                </a:lnTo>
                <a:lnTo>
                  <a:pt x="2170" y="704"/>
                </a:lnTo>
                <a:lnTo>
                  <a:pt x="2181" y="713"/>
                </a:lnTo>
                <a:lnTo>
                  <a:pt x="2193" y="718"/>
                </a:lnTo>
                <a:lnTo>
                  <a:pt x="2208" y="724"/>
                </a:lnTo>
                <a:lnTo>
                  <a:pt x="2199" y="740"/>
                </a:lnTo>
                <a:lnTo>
                  <a:pt x="2167" y="740"/>
                </a:lnTo>
                <a:lnTo>
                  <a:pt x="2177" y="754"/>
                </a:lnTo>
                <a:lnTo>
                  <a:pt x="2167" y="765"/>
                </a:lnTo>
                <a:lnTo>
                  <a:pt x="2136" y="754"/>
                </a:lnTo>
                <a:lnTo>
                  <a:pt x="2111" y="740"/>
                </a:lnTo>
                <a:lnTo>
                  <a:pt x="2090" y="740"/>
                </a:lnTo>
                <a:lnTo>
                  <a:pt x="2049" y="745"/>
                </a:lnTo>
                <a:lnTo>
                  <a:pt x="2049" y="745"/>
                </a:lnTo>
                <a:lnTo>
                  <a:pt x="2030" y="743"/>
                </a:lnTo>
                <a:lnTo>
                  <a:pt x="2008" y="742"/>
                </a:lnTo>
                <a:lnTo>
                  <a:pt x="1989" y="740"/>
                </a:lnTo>
                <a:lnTo>
                  <a:pt x="1973" y="740"/>
                </a:lnTo>
                <a:lnTo>
                  <a:pt x="1967" y="724"/>
                </a:lnTo>
                <a:lnTo>
                  <a:pt x="1946" y="713"/>
                </a:lnTo>
                <a:lnTo>
                  <a:pt x="1926" y="713"/>
                </a:lnTo>
                <a:lnTo>
                  <a:pt x="1916" y="694"/>
                </a:lnTo>
                <a:lnTo>
                  <a:pt x="1957" y="694"/>
                </a:lnTo>
                <a:lnTo>
                  <a:pt x="1978" y="699"/>
                </a:lnTo>
                <a:lnTo>
                  <a:pt x="1998" y="699"/>
                </a:lnTo>
                <a:lnTo>
                  <a:pt x="1978" y="683"/>
                </a:lnTo>
                <a:lnTo>
                  <a:pt x="1946" y="672"/>
                </a:lnTo>
                <a:lnTo>
                  <a:pt x="1926" y="667"/>
                </a:lnTo>
                <a:lnTo>
                  <a:pt x="1926" y="658"/>
                </a:lnTo>
                <a:lnTo>
                  <a:pt x="1967" y="653"/>
                </a:lnTo>
                <a:lnTo>
                  <a:pt x="1946" y="647"/>
                </a:lnTo>
                <a:lnTo>
                  <a:pt x="1926" y="631"/>
                </a:lnTo>
                <a:lnTo>
                  <a:pt x="1946" y="617"/>
                </a:lnTo>
                <a:lnTo>
                  <a:pt x="1957" y="612"/>
                </a:lnTo>
                <a:lnTo>
                  <a:pt x="1937" y="617"/>
                </a:lnTo>
                <a:lnTo>
                  <a:pt x="1905" y="631"/>
                </a:lnTo>
                <a:lnTo>
                  <a:pt x="1905" y="631"/>
                </a:lnTo>
                <a:lnTo>
                  <a:pt x="1900" y="638"/>
                </a:lnTo>
                <a:lnTo>
                  <a:pt x="1898" y="642"/>
                </a:lnTo>
                <a:lnTo>
                  <a:pt x="1896" y="642"/>
                </a:lnTo>
                <a:lnTo>
                  <a:pt x="1850" y="647"/>
                </a:lnTo>
                <a:lnTo>
                  <a:pt x="1850" y="631"/>
                </a:lnTo>
                <a:lnTo>
                  <a:pt x="1829" y="612"/>
                </a:lnTo>
                <a:lnTo>
                  <a:pt x="1839" y="601"/>
                </a:lnTo>
                <a:close/>
                <a:moveTo>
                  <a:pt x="1777" y="64"/>
                </a:moveTo>
                <a:lnTo>
                  <a:pt x="1777" y="64"/>
                </a:lnTo>
                <a:lnTo>
                  <a:pt x="1773" y="66"/>
                </a:lnTo>
                <a:lnTo>
                  <a:pt x="1770" y="68"/>
                </a:lnTo>
                <a:lnTo>
                  <a:pt x="1757" y="68"/>
                </a:lnTo>
                <a:lnTo>
                  <a:pt x="1757" y="68"/>
                </a:lnTo>
                <a:lnTo>
                  <a:pt x="1768" y="66"/>
                </a:lnTo>
                <a:lnTo>
                  <a:pt x="1777" y="64"/>
                </a:lnTo>
                <a:lnTo>
                  <a:pt x="1777" y="64"/>
                </a:lnTo>
                <a:close/>
                <a:moveTo>
                  <a:pt x="4175" y="3224"/>
                </a:moveTo>
                <a:lnTo>
                  <a:pt x="4150" y="3285"/>
                </a:lnTo>
                <a:lnTo>
                  <a:pt x="4129" y="3310"/>
                </a:lnTo>
                <a:lnTo>
                  <a:pt x="4082" y="3372"/>
                </a:lnTo>
                <a:lnTo>
                  <a:pt x="4063" y="3413"/>
                </a:lnTo>
                <a:lnTo>
                  <a:pt x="4036" y="3448"/>
                </a:lnTo>
                <a:lnTo>
                  <a:pt x="4033" y="3454"/>
                </a:lnTo>
                <a:lnTo>
                  <a:pt x="4017" y="3480"/>
                </a:lnTo>
                <a:lnTo>
                  <a:pt x="3995" y="3541"/>
                </a:lnTo>
                <a:lnTo>
                  <a:pt x="3995" y="3541"/>
                </a:lnTo>
                <a:lnTo>
                  <a:pt x="3986" y="3557"/>
                </a:lnTo>
                <a:lnTo>
                  <a:pt x="3977" y="3575"/>
                </a:lnTo>
                <a:lnTo>
                  <a:pt x="3970" y="3591"/>
                </a:lnTo>
                <a:lnTo>
                  <a:pt x="3960" y="3609"/>
                </a:lnTo>
                <a:lnTo>
                  <a:pt x="3945" y="3623"/>
                </a:lnTo>
                <a:lnTo>
                  <a:pt x="3924" y="3664"/>
                </a:lnTo>
                <a:lnTo>
                  <a:pt x="3883" y="3710"/>
                </a:lnTo>
                <a:lnTo>
                  <a:pt x="3872" y="3740"/>
                </a:lnTo>
                <a:lnTo>
                  <a:pt x="3853" y="3761"/>
                </a:lnTo>
                <a:lnTo>
                  <a:pt x="3837" y="3781"/>
                </a:lnTo>
                <a:lnTo>
                  <a:pt x="3837" y="3781"/>
                </a:lnTo>
                <a:lnTo>
                  <a:pt x="3823" y="3786"/>
                </a:lnTo>
                <a:lnTo>
                  <a:pt x="3819" y="3788"/>
                </a:lnTo>
                <a:lnTo>
                  <a:pt x="3817" y="3792"/>
                </a:lnTo>
                <a:lnTo>
                  <a:pt x="3776" y="3813"/>
                </a:lnTo>
                <a:lnTo>
                  <a:pt x="3755" y="3833"/>
                </a:lnTo>
                <a:lnTo>
                  <a:pt x="3725" y="3854"/>
                </a:lnTo>
                <a:lnTo>
                  <a:pt x="3684" y="3884"/>
                </a:lnTo>
                <a:lnTo>
                  <a:pt x="3638" y="3914"/>
                </a:lnTo>
                <a:lnTo>
                  <a:pt x="3622" y="3936"/>
                </a:lnTo>
                <a:lnTo>
                  <a:pt x="3622" y="3946"/>
                </a:lnTo>
                <a:lnTo>
                  <a:pt x="3602" y="3971"/>
                </a:lnTo>
                <a:lnTo>
                  <a:pt x="3586" y="3987"/>
                </a:lnTo>
                <a:lnTo>
                  <a:pt x="3561" y="4007"/>
                </a:lnTo>
                <a:lnTo>
                  <a:pt x="3504" y="4058"/>
                </a:lnTo>
                <a:lnTo>
                  <a:pt x="3504" y="4058"/>
                </a:lnTo>
                <a:lnTo>
                  <a:pt x="3476" y="4078"/>
                </a:lnTo>
                <a:lnTo>
                  <a:pt x="3460" y="4087"/>
                </a:lnTo>
                <a:lnTo>
                  <a:pt x="3442" y="4094"/>
                </a:lnTo>
                <a:lnTo>
                  <a:pt x="3417" y="4115"/>
                </a:lnTo>
                <a:lnTo>
                  <a:pt x="3376" y="4156"/>
                </a:lnTo>
                <a:lnTo>
                  <a:pt x="3341" y="4176"/>
                </a:lnTo>
                <a:lnTo>
                  <a:pt x="3325" y="4176"/>
                </a:lnTo>
                <a:lnTo>
                  <a:pt x="3309" y="4181"/>
                </a:lnTo>
                <a:lnTo>
                  <a:pt x="3289" y="4176"/>
                </a:lnTo>
                <a:lnTo>
                  <a:pt x="3268" y="4181"/>
                </a:lnTo>
                <a:lnTo>
                  <a:pt x="3259" y="4170"/>
                </a:lnTo>
                <a:lnTo>
                  <a:pt x="3248" y="4187"/>
                </a:lnTo>
                <a:lnTo>
                  <a:pt x="3268" y="4203"/>
                </a:lnTo>
                <a:lnTo>
                  <a:pt x="3253" y="4217"/>
                </a:lnTo>
                <a:lnTo>
                  <a:pt x="3264" y="4222"/>
                </a:lnTo>
                <a:lnTo>
                  <a:pt x="3253" y="4233"/>
                </a:lnTo>
                <a:lnTo>
                  <a:pt x="3213" y="4263"/>
                </a:lnTo>
                <a:lnTo>
                  <a:pt x="3177" y="4274"/>
                </a:lnTo>
                <a:lnTo>
                  <a:pt x="3120" y="4290"/>
                </a:lnTo>
                <a:lnTo>
                  <a:pt x="3095" y="4293"/>
                </a:lnTo>
                <a:lnTo>
                  <a:pt x="3084" y="4304"/>
                </a:lnTo>
                <a:lnTo>
                  <a:pt x="3084" y="4315"/>
                </a:lnTo>
                <a:lnTo>
                  <a:pt x="3063" y="4325"/>
                </a:lnTo>
                <a:lnTo>
                  <a:pt x="3038" y="4331"/>
                </a:lnTo>
                <a:lnTo>
                  <a:pt x="3022" y="4320"/>
                </a:lnTo>
                <a:lnTo>
                  <a:pt x="3003" y="4331"/>
                </a:lnTo>
                <a:lnTo>
                  <a:pt x="2992" y="4350"/>
                </a:lnTo>
                <a:lnTo>
                  <a:pt x="3008" y="4355"/>
                </a:lnTo>
                <a:lnTo>
                  <a:pt x="3028" y="4345"/>
                </a:lnTo>
                <a:lnTo>
                  <a:pt x="3028" y="4355"/>
                </a:lnTo>
                <a:lnTo>
                  <a:pt x="3003" y="4366"/>
                </a:lnTo>
                <a:lnTo>
                  <a:pt x="2976" y="4380"/>
                </a:lnTo>
                <a:lnTo>
                  <a:pt x="2956" y="4402"/>
                </a:lnTo>
                <a:lnTo>
                  <a:pt x="2940" y="4412"/>
                </a:lnTo>
                <a:lnTo>
                  <a:pt x="2910" y="4407"/>
                </a:lnTo>
                <a:lnTo>
                  <a:pt x="2883" y="4418"/>
                </a:lnTo>
                <a:lnTo>
                  <a:pt x="2864" y="4432"/>
                </a:lnTo>
                <a:lnTo>
                  <a:pt x="2880" y="4443"/>
                </a:lnTo>
                <a:lnTo>
                  <a:pt x="2899" y="4443"/>
                </a:lnTo>
                <a:lnTo>
                  <a:pt x="2880" y="4459"/>
                </a:lnTo>
                <a:lnTo>
                  <a:pt x="2843" y="4468"/>
                </a:lnTo>
                <a:lnTo>
                  <a:pt x="2812" y="4489"/>
                </a:lnTo>
                <a:lnTo>
                  <a:pt x="2787" y="4500"/>
                </a:lnTo>
                <a:lnTo>
                  <a:pt x="2766" y="4494"/>
                </a:lnTo>
                <a:lnTo>
                  <a:pt x="2761" y="4505"/>
                </a:lnTo>
                <a:lnTo>
                  <a:pt x="2771" y="4508"/>
                </a:lnTo>
                <a:lnTo>
                  <a:pt x="2771" y="4508"/>
                </a:lnTo>
                <a:lnTo>
                  <a:pt x="2761" y="4508"/>
                </a:lnTo>
                <a:lnTo>
                  <a:pt x="2761" y="4514"/>
                </a:lnTo>
                <a:lnTo>
                  <a:pt x="2782" y="4519"/>
                </a:lnTo>
                <a:lnTo>
                  <a:pt x="2802" y="4519"/>
                </a:lnTo>
                <a:lnTo>
                  <a:pt x="2793" y="4524"/>
                </a:lnTo>
                <a:lnTo>
                  <a:pt x="2771" y="4530"/>
                </a:lnTo>
                <a:lnTo>
                  <a:pt x="2766" y="4530"/>
                </a:lnTo>
                <a:lnTo>
                  <a:pt x="2752" y="4535"/>
                </a:lnTo>
                <a:lnTo>
                  <a:pt x="2730" y="4540"/>
                </a:lnTo>
                <a:lnTo>
                  <a:pt x="2684" y="4540"/>
                </a:lnTo>
                <a:lnTo>
                  <a:pt x="2684" y="4540"/>
                </a:lnTo>
                <a:lnTo>
                  <a:pt x="2675" y="4539"/>
                </a:lnTo>
                <a:lnTo>
                  <a:pt x="2666" y="4537"/>
                </a:lnTo>
                <a:lnTo>
                  <a:pt x="2659" y="4535"/>
                </a:lnTo>
                <a:lnTo>
                  <a:pt x="2649" y="4535"/>
                </a:lnTo>
                <a:lnTo>
                  <a:pt x="2627" y="4519"/>
                </a:lnTo>
                <a:lnTo>
                  <a:pt x="2627" y="4519"/>
                </a:lnTo>
                <a:lnTo>
                  <a:pt x="2624" y="4514"/>
                </a:lnTo>
                <a:lnTo>
                  <a:pt x="2624" y="4508"/>
                </a:lnTo>
                <a:lnTo>
                  <a:pt x="2638" y="4500"/>
                </a:lnTo>
                <a:lnTo>
                  <a:pt x="2633" y="4489"/>
                </a:lnTo>
                <a:lnTo>
                  <a:pt x="2649" y="4468"/>
                </a:lnTo>
                <a:lnTo>
                  <a:pt x="2668" y="4453"/>
                </a:lnTo>
                <a:lnTo>
                  <a:pt x="2700" y="4437"/>
                </a:lnTo>
                <a:lnTo>
                  <a:pt x="2665" y="4437"/>
                </a:lnTo>
                <a:lnTo>
                  <a:pt x="2695" y="4421"/>
                </a:lnTo>
                <a:lnTo>
                  <a:pt x="2714" y="4396"/>
                </a:lnTo>
                <a:lnTo>
                  <a:pt x="2741" y="4402"/>
                </a:lnTo>
                <a:lnTo>
                  <a:pt x="2771" y="4371"/>
                </a:lnTo>
                <a:lnTo>
                  <a:pt x="2766" y="4371"/>
                </a:lnTo>
                <a:lnTo>
                  <a:pt x="2746" y="4391"/>
                </a:lnTo>
                <a:lnTo>
                  <a:pt x="2730" y="4391"/>
                </a:lnTo>
                <a:lnTo>
                  <a:pt x="2730" y="4391"/>
                </a:lnTo>
                <a:lnTo>
                  <a:pt x="2745" y="4377"/>
                </a:lnTo>
                <a:lnTo>
                  <a:pt x="2755" y="4363"/>
                </a:lnTo>
                <a:lnTo>
                  <a:pt x="2777" y="4334"/>
                </a:lnTo>
                <a:lnTo>
                  <a:pt x="2796" y="4320"/>
                </a:lnTo>
                <a:lnTo>
                  <a:pt x="2796" y="4299"/>
                </a:lnTo>
                <a:lnTo>
                  <a:pt x="2807" y="4279"/>
                </a:lnTo>
                <a:lnTo>
                  <a:pt x="2823" y="4279"/>
                </a:lnTo>
                <a:lnTo>
                  <a:pt x="2823" y="4279"/>
                </a:lnTo>
                <a:lnTo>
                  <a:pt x="2889" y="4211"/>
                </a:lnTo>
                <a:lnTo>
                  <a:pt x="2915" y="4181"/>
                </a:lnTo>
                <a:lnTo>
                  <a:pt x="2921" y="4151"/>
                </a:lnTo>
                <a:lnTo>
                  <a:pt x="2940" y="4130"/>
                </a:lnTo>
                <a:lnTo>
                  <a:pt x="2946" y="4105"/>
                </a:lnTo>
                <a:lnTo>
                  <a:pt x="2971" y="4074"/>
                </a:lnTo>
                <a:lnTo>
                  <a:pt x="2971" y="4074"/>
                </a:lnTo>
                <a:lnTo>
                  <a:pt x="2988" y="4032"/>
                </a:lnTo>
                <a:lnTo>
                  <a:pt x="3008" y="3991"/>
                </a:lnTo>
                <a:lnTo>
                  <a:pt x="3044" y="3914"/>
                </a:lnTo>
                <a:lnTo>
                  <a:pt x="3052" y="3868"/>
                </a:lnTo>
                <a:lnTo>
                  <a:pt x="3058" y="3833"/>
                </a:lnTo>
                <a:lnTo>
                  <a:pt x="3028" y="3818"/>
                </a:lnTo>
                <a:lnTo>
                  <a:pt x="3028" y="3802"/>
                </a:lnTo>
                <a:lnTo>
                  <a:pt x="2962" y="3781"/>
                </a:lnTo>
                <a:lnTo>
                  <a:pt x="2899" y="3756"/>
                </a:lnTo>
                <a:lnTo>
                  <a:pt x="2875" y="3737"/>
                </a:lnTo>
                <a:lnTo>
                  <a:pt x="2859" y="3715"/>
                </a:lnTo>
                <a:lnTo>
                  <a:pt x="2869" y="3705"/>
                </a:lnTo>
                <a:lnTo>
                  <a:pt x="2843" y="3669"/>
                </a:lnTo>
                <a:lnTo>
                  <a:pt x="2843" y="3669"/>
                </a:lnTo>
                <a:lnTo>
                  <a:pt x="2812" y="3610"/>
                </a:lnTo>
                <a:lnTo>
                  <a:pt x="2782" y="3552"/>
                </a:lnTo>
                <a:lnTo>
                  <a:pt x="2766" y="3536"/>
                </a:lnTo>
                <a:lnTo>
                  <a:pt x="2755" y="3516"/>
                </a:lnTo>
                <a:lnTo>
                  <a:pt x="2730" y="3495"/>
                </a:lnTo>
                <a:lnTo>
                  <a:pt x="2706" y="3480"/>
                </a:lnTo>
                <a:lnTo>
                  <a:pt x="2720" y="3464"/>
                </a:lnTo>
                <a:lnTo>
                  <a:pt x="2700" y="3434"/>
                </a:lnTo>
                <a:lnTo>
                  <a:pt x="2714" y="3413"/>
                </a:lnTo>
                <a:lnTo>
                  <a:pt x="2746" y="3393"/>
                </a:lnTo>
                <a:lnTo>
                  <a:pt x="2766" y="3367"/>
                </a:lnTo>
                <a:lnTo>
                  <a:pt x="2766" y="3326"/>
                </a:lnTo>
                <a:lnTo>
                  <a:pt x="2746" y="3347"/>
                </a:lnTo>
                <a:lnTo>
                  <a:pt x="2725" y="3331"/>
                </a:lnTo>
                <a:lnTo>
                  <a:pt x="2736" y="3320"/>
                </a:lnTo>
                <a:lnTo>
                  <a:pt x="2730" y="3290"/>
                </a:lnTo>
                <a:lnTo>
                  <a:pt x="2746" y="3285"/>
                </a:lnTo>
                <a:lnTo>
                  <a:pt x="2755" y="3265"/>
                </a:lnTo>
                <a:lnTo>
                  <a:pt x="2777" y="3244"/>
                </a:lnTo>
                <a:lnTo>
                  <a:pt x="2777" y="3228"/>
                </a:lnTo>
                <a:lnTo>
                  <a:pt x="2796" y="3219"/>
                </a:lnTo>
                <a:lnTo>
                  <a:pt x="2823" y="3203"/>
                </a:lnTo>
                <a:lnTo>
                  <a:pt x="2812" y="3182"/>
                </a:lnTo>
                <a:lnTo>
                  <a:pt x="2828" y="3178"/>
                </a:lnTo>
                <a:lnTo>
                  <a:pt x="2828" y="3157"/>
                </a:lnTo>
                <a:lnTo>
                  <a:pt x="2839" y="3141"/>
                </a:lnTo>
                <a:lnTo>
                  <a:pt x="2859" y="3137"/>
                </a:lnTo>
                <a:lnTo>
                  <a:pt x="2859" y="3137"/>
                </a:lnTo>
                <a:lnTo>
                  <a:pt x="2889" y="3091"/>
                </a:lnTo>
                <a:lnTo>
                  <a:pt x="2880" y="3086"/>
                </a:lnTo>
                <a:lnTo>
                  <a:pt x="2889" y="3064"/>
                </a:lnTo>
                <a:lnTo>
                  <a:pt x="2880" y="3029"/>
                </a:lnTo>
                <a:lnTo>
                  <a:pt x="2889" y="3018"/>
                </a:lnTo>
                <a:lnTo>
                  <a:pt x="2883" y="2988"/>
                </a:lnTo>
                <a:lnTo>
                  <a:pt x="2869" y="2972"/>
                </a:lnTo>
                <a:lnTo>
                  <a:pt x="2853" y="2963"/>
                </a:lnTo>
                <a:lnTo>
                  <a:pt x="2843" y="2942"/>
                </a:lnTo>
                <a:lnTo>
                  <a:pt x="2853" y="2931"/>
                </a:lnTo>
                <a:lnTo>
                  <a:pt x="2843" y="2931"/>
                </a:lnTo>
                <a:lnTo>
                  <a:pt x="2839" y="2922"/>
                </a:lnTo>
                <a:lnTo>
                  <a:pt x="2818" y="2911"/>
                </a:lnTo>
                <a:lnTo>
                  <a:pt x="2796" y="2906"/>
                </a:lnTo>
                <a:lnTo>
                  <a:pt x="2793" y="2922"/>
                </a:lnTo>
                <a:lnTo>
                  <a:pt x="2771" y="2931"/>
                </a:lnTo>
                <a:lnTo>
                  <a:pt x="2761" y="2931"/>
                </a:lnTo>
                <a:lnTo>
                  <a:pt x="2755" y="2942"/>
                </a:lnTo>
                <a:lnTo>
                  <a:pt x="2777" y="2963"/>
                </a:lnTo>
                <a:lnTo>
                  <a:pt x="2766" y="2963"/>
                </a:lnTo>
                <a:lnTo>
                  <a:pt x="2761" y="2968"/>
                </a:lnTo>
                <a:lnTo>
                  <a:pt x="2746" y="2972"/>
                </a:lnTo>
                <a:lnTo>
                  <a:pt x="2741" y="2952"/>
                </a:lnTo>
                <a:lnTo>
                  <a:pt x="2736" y="2958"/>
                </a:lnTo>
                <a:lnTo>
                  <a:pt x="2720" y="2958"/>
                </a:lnTo>
                <a:lnTo>
                  <a:pt x="2711" y="2942"/>
                </a:lnTo>
                <a:lnTo>
                  <a:pt x="2690" y="2942"/>
                </a:lnTo>
                <a:lnTo>
                  <a:pt x="2679" y="2936"/>
                </a:lnTo>
                <a:lnTo>
                  <a:pt x="2659" y="2936"/>
                </a:lnTo>
                <a:lnTo>
                  <a:pt x="2659" y="2947"/>
                </a:lnTo>
                <a:lnTo>
                  <a:pt x="2654" y="2942"/>
                </a:lnTo>
                <a:lnTo>
                  <a:pt x="2633" y="2931"/>
                </a:lnTo>
                <a:lnTo>
                  <a:pt x="2624" y="2922"/>
                </a:lnTo>
                <a:lnTo>
                  <a:pt x="2627" y="2917"/>
                </a:lnTo>
                <a:lnTo>
                  <a:pt x="2627" y="2906"/>
                </a:lnTo>
                <a:lnTo>
                  <a:pt x="2618" y="2895"/>
                </a:lnTo>
                <a:lnTo>
                  <a:pt x="2602" y="2885"/>
                </a:lnTo>
                <a:lnTo>
                  <a:pt x="2586" y="2881"/>
                </a:lnTo>
                <a:lnTo>
                  <a:pt x="2583" y="2870"/>
                </a:lnTo>
                <a:lnTo>
                  <a:pt x="2572" y="2854"/>
                </a:lnTo>
                <a:lnTo>
                  <a:pt x="2572" y="2865"/>
                </a:lnTo>
                <a:lnTo>
                  <a:pt x="2561" y="2876"/>
                </a:lnTo>
                <a:lnTo>
                  <a:pt x="2551" y="2870"/>
                </a:lnTo>
                <a:lnTo>
                  <a:pt x="2545" y="2860"/>
                </a:lnTo>
                <a:lnTo>
                  <a:pt x="2545" y="2844"/>
                </a:lnTo>
                <a:lnTo>
                  <a:pt x="2551" y="2830"/>
                </a:lnTo>
                <a:lnTo>
                  <a:pt x="2540" y="2824"/>
                </a:lnTo>
                <a:lnTo>
                  <a:pt x="2551" y="2814"/>
                </a:lnTo>
                <a:lnTo>
                  <a:pt x="2551" y="2814"/>
                </a:lnTo>
                <a:lnTo>
                  <a:pt x="2537" y="2799"/>
                </a:lnTo>
                <a:lnTo>
                  <a:pt x="2528" y="2792"/>
                </a:lnTo>
                <a:lnTo>
                  <a:pt x="2521" y="2789"/>
                </a:lnTo>
                <a:lnTo>
                  <a:pt x="2510" y="2778"/>
                </a:lnTo>
                <a:lnTo>
                  <a:pt x="2490" y="2762"/>
                </a:lnTo>
                <a:lnTo>
                  <a:pt x="2469" y="2742"/>
                </a:lnTo>
                <a:lnTo>
                  <a:pt x="2474" y="2737"/>
                </a:lnTo>
                <a:lnTo>
                  <a:pt x="2480" y="2742"/>
                </a:lnTo>
                <a:lnTo>
                  <a:pt x="2485" y="2737"/>
                </a:lnTo>
                <a:lnTo>
                  <a:pt x="2480" y="2721"/>
                </a:lnTo>
                <a:lnTo>
                  <a:pt x="2464" y="2716"/>
                </a:lnTo>
                <a:lnTo>
                  <a:pt x="2458" y="2726"/>
                </a:lnTo>
                <a:lnTo>
                  <a:pt x="2439" y="2726"/>
                </a:lnTo>
                <a:lnTo>
                  <a:pt x="2423" y="2721"/>
                </a:lnTo>
                <a:lnTo>
                  <a:pt x="2409" y="2716"/>
                </a:lnTo>
                <a:lnTo>
                  <a:pt x="2387" y="2712"/>
                </a:lnTo>
                <a:lnTo>
                  <a:pt x="2376" y="2721"/>
                </a:lnTo>
                <a:lnTo>
                  <a:pt x="2352" y="2716"/>
                </a:lnTo>
                <a:lnTo>
                  <a:pt x="2327" y="2716"/>
                </a:lnTo>
                <a:lnTo>
                  <a:pt x="2305" y="2707"/>
                </a:lnTo>
                <a:lnTo>
                  <a:pt x="2284" y="2685"/>
                </a:lnTo>
                <a:lnTo>
                  <a:pt x="2240" y="2645"/>
                </a:lnTo>
                <a:lnTo>
                  <a:pt x="2224" y="2625"/>
                </a:lnTo>
                <a:lnTo>
                  <a:pt x="2193" y="2614"/>
                </a:lnTo>
                <a:lnTo>
                  <a:pt x="2172" y="2614"/>
                </a:lnTo>
                <a:lnTo>
                  <a:pt x="2142" y="2629"/>
                </a:lnTo>
                <a:lnTo>
                  <a:pt x="2120" y="2634"/>
                </a:lnTo>
                <a:lnTo>
                  <a:pt x="2095" y="2620"/>
                </a:lnTo>
                <a:lnTo>
                  <a:pt x="2071" y="2609"/>
                </a:lnTo>
                <a:lnTo>
                  <a:pt x="2033" y="2588"/>
                </a:lnTo>
                <a:lnTo>
                  <a:pt x="1998" y="2584"/>
                </a:lnTo>
                <a:lnTo>
                  <a:pt x="1946" y="2563"/>
                </a:lnTo>
                <a:lnTo>
                  <a:pt x="1916" y="2541"/>
                </a:lnTo>
                <a:lnTo>
                  <a:pt x="1905" y="2533"/>
                </a:lnTo>
                <a:lnTo>
                  <a:pt x="1886" y="2527"/>
                </a:lnTo>
                <a:lnTo>
                  <a:pt x="1845" y="2511"/>
                </a:lnTo>
                <a:lnTo>
                  <a:pt x="1829" y="2492"/>
                </a:lnTo>
                <a:lnTo>
                  <a:pt x="1793" y="2465"/>
                </a:lnTo>
                <a:lnTo>
                  <a:pt x="1772" y="2440"/>
                </a:lnTo>
                <a:lnTo>
                  <a:pt x="1763" y="2419"/>
                </a:lnTo>
                <a:lnTo>
                  <a:pt x="1777" y="2419"/>
                </a:lnTo>
                <a:lnTo>
                  <a:pt x="1777" y="2410"/>
                </a:lnTo>
                <a:lnTo>
                  <a:pt x="1788" y="2399"/>
                </a:lnTo>
                <a:lnTo>
                  <a:pt x="1788" y="2383"/>
                </a:lnTo>
                <a:lnTo>
                  <a:pt x="1777" y="2364"/>
                </a:lnTo>
                <a:lnTo>
                  <a:pt x="1777" y="2348"/>
                </a:lnTo>
                <a:lnTo>
                  <a:pt x="1768" y="2328"/>
                </a:lnTo>
                <a:lnTo>
                  <a:pt x="1741" y="2285"/>
                </a:lnTo>
                <a:lnTo>
                  <a:pt x="1711" y="2244"/>
                </a:lnTo>
                <a:lnTo>
                  <a:pt x="1690" y="2220"/>
                </a:lnTo>
                <a:lnTo>
                  <a:pt x="1665" y="2200"/>
                </a:lnTo>
                <a:lnTo>
                  <a:pt x="1660" y="2189"/>
                </a:lnTo>
                <a:lnTo>
                  <a:pt x="1670" y="2168"/>
                </a:lnTo>
                <a:lnTo>
                  <a:pt x="1649" y="2154"/>
                </a:lnTo>
                <a:lnTo>
                  <a:pt x="1629" y="2132"/>
                </a:lnTo>
                <a:lnTo>
                  <a:pt x="1629" y="2102"/>
                </a:lnTo>
                <a:lnTo>
                  <a:pt x="1613" y="2102"/>
                </a:lnTo>
                <a:lnTo>
                  <a:pt x="1594" y="2081"/>
                </a:lnTo>
                <a:lnTo>
                  <a:pt x="1578" y="2061"/>
                </a:lnTo>
                <a:lnTo>
                  <a:pt x="1578" y="2045"/>
                </a:lnTo>
                <a:lnTo>
                  <a:pt x="1562" y="2015"/>
                </a:lnTo>
                <a:lnTo>
                  <a:pt x="1562" y="1988"/>
                </a:lnTo>
                <a:lnTo>
                  <a:pt x="1567" y="1974"/>
                </a:lnTo>
                <a:lnTo>
                  <a:pt x="1548" y="1953"/>
                </a:lnTo>
                <a:lnTo>
                  <a:pt x="1537" y="1953"/>
                </a:lnTo>
                <a:lnTo>
                  <a:pt x="1516" y="1939"/>
                </a:lnTo>
                <a:lnTo>
                  <a:pt x="1507" y="1953"/>
                </a:lnTo>
                <a:lnTo>
                  <a:pt x="1507" y="1999"/>
                </a:lnTo>
                <a:lnTo>
                  <a:pt x="1516" y="2020"/>
                </a:lnTo>
                <a:lnTo>
                  <a:pt x="1537" y="2051"/>
                </a:lnTo>
                <a:lnTo>
                  <a:pt x="1542" y="2061"/>
                </a:lnTo>
                <a:lnTo>
                  <a:pt x="1548" y="2067"/>
                </a:lnTo>
                <a:lnTo>
                  <a:pt x="1548" y="2081"/>
                </a:lnTo>
                <a:lnTo>
                  <a:pt x="1553" y="2081"/>
                </a:lnTo>
                <a:lnTo>
                  <a:pt x="1553" y="2102"/>
                </a:lnTo>
                <a:lnTo>
                  <a:pt x="1562" y="2113"/>
                </a:lnTo>
                <a:lnTo>
                  <a:pt x="1567" y="2127"/>
                </a:lnTo>
                <a:lnTo>
                  <a:pt x="1588" y="2148"/>
                </a:lnTo>
                <a:lnTo>
                  <a:pt x="1594" y="2184"/>
                </a:lnTo>
                <a:lnTo>
                  <a:pt x="1594" y="2184"/>
                </a:lnTo>
                <a:lnTo>
                  <a:pt x="1601" y="2202"/>
                </a:lnTo>
                <a:lnTo>
                  <a:pt x="1608" y="2220"/>
                </a:lnTo>
                <a:lnTo>
                  <a:pt x="1608" y="2241"/>
                </a:lnTo>
                <a:lnTo>
                  <a:pt x="1629" y="2244"/>
                </a:lnTo>
                <a:lnTo>
                  <a:pt x="1629" y="2244"/>
                </a:lnTo>
                <a:lnTo>
                  <a:pt x="1642" y="2266"/>
                </a:lnTo>
                <a:lnTo>
                  <a:pt x="1649" y="2282"/>
                </a:lnTo>
                <a:lnTo>
                  <a:pt x="1649" y="2285"/>
                </a:lnTo>
                <a:lnTo>
                  <a:pt x="1629" y="2301"/>
                </a:lnTo>
                <a:lnTo>
                  <a:pt x="1624" y="2301"/>
                </a:lnTo>
                <a:lnTo>
                  <a:pt x="1619" y="2282"/>
                </a:lnTo>
                <a:lnTo>
                  <a:pt x="1599" y="2255"/>
                </a:lnTo>
                <a:lnTo>
                  <a:pt x="1578" y="2236"/>
                </a:lnTo>
                <a:lnTo>
                  <a:pt x="1558" y="2220"/>
                </a:lnTo>
                <a:lnTo>
                  <a:pt x="1562" y="2195"/>
                </a:lnTo>
                <a:lnTo>
                  <a:pt x="1562" y="2173"/>
                </a:lnTo>
                <a:lnTo>
                  <a:pt x="1562" y="2173"/>
                </a:lnTo>
                <a:lnTo>
                  <a:pt x="1526" y="2138"/>
                </a:lnTo>
                <a:lnTo>
                  <a:pt x="1526" y="2148"/>
                </a:lnTo>
                <a:lnTo>
                  <a:pt x="1521" y="2138"/>
                </a:lnTo>
                <a:lnTo>
                  <a:pt x="1501" y="2122"/>
                </a:lnTo>
                <a:lnTo>
                  <a:pt x="1485" y="2086"/>
                </a:lnTo>
                <a:lnTo>
                  <a:pt x="1491" y="2081"/>
                </a:lnTo>
                <a:lnTo>
                  <a:pt x="1507" y="2086"/>
                </a:lnTo>
                <a:lnTo>
                  <a:pt x="1521" y="2072"/>
                </a:lnTo>
                <a:lnTo>
                  <a:pt x="1526" y="2051"/>
                </a:lnTo>
                <a:lnTo>
                  <a:pt x="1501" y="2029"/>
                </a:lnTo>
                <a:lnTo>
                  <a:pt x="1480" y="2015"/>
                </a:lnTo>
                <a:lnTo>
                  <a:pt x="1480" y="2015"/>
                </a:lnTo>
                <a:lnTo>
                  <a:pt x="1473" y="1995"/>
                </a:lnTo>
                <a:lnTo>
                  <a:pt x="1468" y="1974"/>
                </a:lnTo>
                <a:lnTo>
                  <a:pt x="1460" y="1933"/>
                </a:lnTo>
                <a:lnTo>
                  <a:pt x="1450" y="1898"/>
                </a:lnTo>
                <a:lnTo>
                  <a:pt x="1450" y="1876"/>
                </a:lnTo>
                <a:lnTo>
                  <a:pt x="1434" y="1857"/>
                </a:lnTo>
                <a:lnTo>
                  <a:pt x="1419" y="1846"/>
                </a:lnTo>
                <a:lnTo>
                  <a:pt x="1419" y="1835"/>
                </a:lnTo>
                <a:lnTo>
                  <a:pt x="1398" y="1830"/>
                </a:lnTo>
                <a:lnTo>
                  <a:pt x="1387" y="1816"/>
                </a:lnTo>
                <a:lnTo>
                  <a:pt x="1363" y="1805"/>
                </a:lnTo>
                <a:lnTo>
                  <a:pt x="1357" y="1794"/>
                </a:lnTo>
                <a:lnTo>
                  <a:pt x="1357" y="1773"/>
                </a:lnTo>
                <a:lnTo>
                  <a:pt x="1338" y="1732"/>
                </a:lnTo>
                <a:lnTo>
                  <a:pt x="1332" y="1688"/>
                </a:lnTo>
                <a:lnTo>
                  <a:pt x="1338" y="1677"/>
                </a:lnTo>
                <a:lnTo>
                  <a:pt x="1338" y="1656"/>
                </a:lnTo>
                <a:lnTo>
                  <a:pt x="1327" y="1620"/>
                </a:lnTo>
                <a:lnTo>
                  <a:pt x="1332" y="1590"/>
                </a:lnTo>
                <a:lnTo>
                  <a:pt x="1322" y="1569"/>
                </a:lnTo>
                <a:lnTo>
                  <a:pt x="1343" y="1544"/>
                </a:lnTo>
                <a:lnTo>
                  <a:pt x="1352" y="1517"/>
                </a:lnTo>
                <a:lnTo>
                  <a:pt x="1352" y="1492"/>
                </a:lnTo>
                <a:lnTo>
                  <a:pt x="1373" y="1467"/>
                </a:lnTo>
                <a:lnTo>
                  <a:pt x="1403" y="1405"/>
                </a:lnTo>
                <a:lnTo>
                  <a:pt x="1419" y="1359"/>
                </a:lnTo>
                <a:lnTo>
                  <a:pt x="1425" y="1329"/>
                </a:lnTo>
                <a:lnTo>
                  <a:pt x="1425" y="1307"/>
                </a:lnTo>
                <a:lnTo>
                  <a:pt x="1430" y="1304"/>
                </a:lnTo>
                <a:lnTo>
                  <a:pt x="1460" y="1323"/>
                </a:lnTo>
                <a:lnTo>
                  <a:pt x="1460" y="1359"/>
                </a:lnTo>
                <a:lnTo>
                  <a:pt x="1475" y="1348"/>
                </a:lnTo>
                <a:lnTo>
                  <a:pt x="1485" y="1323"/>
                </a:lnTo>
                <a:lnTo>
                  <a:pt x="1491" y="1298"/>
                </a:lnTo>
                <a:lnTo>
                  <a:pt x="1485" y="1298"/>
                </a:lnTo>
                <a:lnTo>
                  <a:pt x="1455" y="1252"/>
                </a:lnTo>
                <a:lnTo>
                  <a:pt x="1444" y="1231"/>
                </a:lnTo>
                <a:lnTo>
                  <a:pt x="1414" y="1211"/>
                </a:lnTo>
                <a:lnTo>
                  <a:pt x="1419" y="1179"/>
                </a:lnTo>
                <a:lnTo>
                  <a:pt x="1434" y="1160"/>
                </a:lnTo>
                <a:lnTo>
                  <a:pt x="1414" y="1138"/>
                </a:lnTo>
                <a:lnTo>
                  <a:pt x="1425" y="1113"/>
                </a:lnTo>
                <a:lnTo>
                  <a:pt x="1414" y="1083"/>
                </a:lnTo>
                <a:lnTo>
                  <a:pt x="1425" y="1067"/>
                </a:lnTo>
                <a:lnTo>
                  <a:pt x="1419" y="1051"/>
                </a:lnTo>
                <a:lnTo>
                  <a:pt x="1409" y="1037"/>
                </a:lnTo>
                <a:lnTo>
                  <a:pt x="1425" y="1010"/>
                </a:lnTo>
                <a:lnTo>
                  <a:pt x="1414" y="980"/>
                </a:lnTo>
                <a:lnTo>
                  <a:pt x="1425" y="950"/>
                </a:lnTo>
                <a:lnTo>
                  <a:pt x="1398" y="923"/>
                </a:lnTo>
                <a:lnTo>
                  <a:pt x="1373" y="914"/>
                </a:lnTo>
                <a:lnTo>
                  <a:pt x="1357" y="898"/>
                </a:lnTo>
                <a:lnTo>
                  <a:pt x="1347" y="857"/>
                </a:lnTo>
                <a:lnTo>
                  <a:pt x="1347" y="857"/>
                </a:lnTo>
                <a:lnTo>
                  <a:pt x="1332" y="841"/>
                </a:lnTo>
                <a:lnTo>
                  <a:pt x="1327" y="834"/>
                </a:lnTo>
                <a:lnTo>
                  <a:pt x="1322" y="827"/>
                </a:lnTo>
                <a:lnTo>
                  <a:pt x="1302" y="816"/>
                </a:lnTo>
                <a:lnTo>
                  <a:pt x="1281" y="786"/>
                </a:lnTo>
                <a:lnTo>
                  <a:pt x="1275" y="765"/>
                </a:lnTo>
                <a:lnTo>
                  <a:pt x="1256" y="759"/>
                </a:lnTo>
                <a:lnTo>
                  <a:pt x="1234" y="781"/>
                </a:lnTo>
                <a:lnTo>
                  <a:pt x="1229" y="781"/>
                </a:lnTo>
                <a:lnTo>
                  <a:pt x="1210" y="775"/>
                </a:lnTo>
                <a:lnTo>
                  <a:pt x="1188" y="775"/>
                </a:lnTo>
                <a:lnTo>
                  <a:pt x="1178" y="770"/>
                </a:lnTo>
                <a:lnTo>
                  <a:pt x="1194" y="754"/>
                </a:lnTo>
                <a:lnTo>
                  <a:pt x="1218" y="735"/>
                </a:lnTo>
                <a:lnTo>
                  <a:pt x="1215" y="740"/>
                </a:lnTo>
                <a:lnTo>
                  <a:pt x="1188" y="754"/>
                </a:lnTo>
                <a:lnTo>
                  <a:pt x="1153" y="765"/>
                </a:lnTo>
                <a:lnTo>
                  <a:pt x="1147" y="786"/>
                </a:lnTo>
                <a:lnTo>
                  <a:pt x="1122" y="791"/>
                </a:lnTo>
                <a:lnTo>
                  <a:pt x="1076" y="791"/>
                </a:lnTo>
                <a:lnTo>
                  <a:pt x="1060" y="800"/>
                </a:lnTo>
                <a:lnTo>
                  <a:pt x="1030" y="800"/>
                </a:lnTo>
                <a:lnTo>
                  <a:pt x="1014" y="811"/>
                </a:lnTo>
                <a:lnTo>
                  <a:pt x="994" y="811"/>
                </a:lnTo>
                <a:lnTo>
                  <a:pt x="989" y="800"/>
                </a:lnTo>
                <a:lnTo>
                  <a:pt x="932" y="800"/>
                </a:lnTo>
                <a:lnTo>
                  <a:pt x="913" y="791"/>
                </a:lnTo>
                <a:lnTo>
                  <a:pt x="918" y="786"/>
                </a:lnTo>
                <a:lnTo>
                  <a:pt x="959" y="786"/>
                </a:lnTo>
                <a:lnTo>
                  <a:pt x="978" y="781"/>
                </a:lnTo>
                <a:lnTo>
                  <a:pt x="994" y="791"/>
                </a:lnTo>
                <a:lnTo>
                  <a:pt x="1009" y="786"/>
                </a:lnTo>
                <a:lnTo>
                  <a:pt x="1041" y="781"/>
                </a:lnTo>
                <a:lnTo>
                  <a:pt x="1049" y="775"/>
                </a:lnTo>
                <a:lnTo>
                  <a:pt x="1071" y="770"/>
                </a:lnTo>
                <a:lnTo>
                  <a:pt x="1090" y="749"/>
                </a:lnTo>
                <a:lnTo>
                  <a:pt x="1112" y="740"/>
                </a:lnTo>
                <a:lnTo>
                  <a:pt x="1090" y="740"/>
                </a:lnTo>
                <a:lnTo>
                  <a:pt x="1090" y="735"/>
                </a:lnTo>
                <a:lnTo>
                  <a:pt x="1071" y="740"/>
                </a:lnTo>
                <a:lnTo>
                  <a:pt x="1082" y="718"/>
                </a:lnTo>
                <a:lnTo>
                  <a:pt x="1066" y="724"/>
                </a:lnTo>
                <a:lnTo>
                  <a:pt x="1076" y="708"/>
                </a:lnTo>
                <a:lnTo>
                  <a:pt x="1055" y="708"/>
                </a:lnTo>
                <a:lnTo>
                  <a:pt x="1049" y="704"/>
                </a:lnTo>
                <a:lnTo>
                  <a:pt x="1071" y="688"/>
                </a:lnTo>
                <a:lnTo>
                  <a:pt x="1087" y="678"/>
                </a:lnTo>
                <a:lnTo>
                  <a:pt x="1090" y="663"/>
                </a:lnTo>
                <a:lnTo>
                  <a:pt x="1076" y="667"/>
                </a:lnTo>
                <a:lnTo>
                  <a:pt x="1090" y="637"/>
                </a:lnTo>
                <a:lnTo>
                  <a:pt x="1112" y="621"/>
                </a:lnTo>
                <a:lnTo>
                  <a:pt x="1122" y="606"/>
                </a:lnTo>
                <a:lnTo>
                  <a:pt x="1142" y="596"/>
                </a:lnTo>
                <a:lnTo>
                  <a:pt x="1163" y="590"/>
                </a:lnTo>
                <a:lnTo>
                  <a:pt x="1183" y="580"/>
                </a:lnTo>
                <a:lnTo>
                  <a:pt x="1194" y="585"/>
                </a:lnTo>
                <a:lnTo>
                  <a:pt x="1194" y="596"/>
                </a:lnTo>
                <a:lnTo>
                  <a:pt x="1215" y="590"/>
                </a:lnTo>
                <a:lnTo>
                  <a:pt x="1210" y="596"/>
                </a:lnTo>
                <a:lnTo>
                  <a:pt x="1224" y="596"/>
                </a:lnTo>
                <a:lnTo>
                  <a:pt x="1240" y="585"/>
                </a:lnTo>
                <a:lnTo>
                  <a:pt x="1240" y="576"/>
                </a:lnTo>
                <a:lnTo>
                  <a:pt x="1259" y="571"/>
                </a:lnTo>
                <a:lnTo>
                  <a:pt x="1256" y="566"/>
                </a:lnTo>
                <a:lnTo>
                  <a:pt x="1240" y="560"/>
                </a:lnTo>
                <a:lnTo>
                  <a:pt x="1229" y="566"/>
                </a:lnTo>
                <a:lnTo>
                  <a:pt x="1215" y="555"/>
                </a:lnTo>
                <a:lnTo>
                  <a:pt x="1215" y="539"/>
                </a:lnTo>
                <a:lnTo>
                  <a:pt x="1224" y="530"/>
                </a:lnTo>
                <a:lnTo>
                  <a:pt x="1240" y="509"/>
                </a:lnTo>
                <a:lnTo>
                  <a:pt x="1259" y="509"/>
                </a:lnTo>
                <a:lnTo>
                  <a:pt x="1286" y="514"/>
                </a:lnTo>
                <a:lnTo>
                  <a:pt x="1291" y="519"/>
                </a:lnTo>
                <a:lnTo>
                  <a:pt x="1270" y="530"/>
                </a:lnTo>
                <a:lnTo>
                  <a:pt x="1286" y="544"/>
                </a:lnTo>
                <a:lnTo>
                  <a:pt x="1302" y="525"/>
                </a:lnTo>
                <a:lnTo>
                  <a:pt x="1306" y="509"/>
                </a:lnTo>
                <a:lnTo>
                  <a:pt x="1322" y="493"/>
                </a:lnTo>
                <a:lnTo>
                  <a:pt x="1332" y="478"/>
                </a:lnTo>
                <a:lnTo>
                  <a:pt x="1338" y="462"/>
                </a:lnTo>
                <a:lnTo>
                  <a:pt x="1357" y="457"/>
                </a:lnTo>
                <a:lnTo>
                  <a:pt x="1368" y="468"/>
                </a:lnTo>
                <a:lnTo>
                  <a:pt x="1387" y="468"/>
                </a:lnTo>
                <a:lnTo>
                  <a:pt x="1409" y="457"/>
                </a:lnTo>
                <a:lnTo>
                  <a:pt x="1430" y="452"/>
                </a:lnTo>
                <a:lnTo>
                  <a:pt x="1439" y="457"/>
                </a:lnTo>
                <a:lnTo>
                  <a:pt x="1466" y="462"/>
                </a:lnTo>
                <a:lnTo>
                  <a:pt x="1471" y="468"/>
                </a:lnTo>
                <a:lnTo>
                  <a:pt x="1485" y="468"/>
                </a:lnTo>
                <a:lnTo>
                  <a:pt x="1491" y="484"/>
                </a:lnTo>
                <a:lnTo>
                  <a:pt x="1480" y="498"/>
                </a:lnTo>
                <a:lnTo>
                  <a:pt x="1491" y="498"/>
                </a:lnTo>
                <a:lnTo>
                  <a:pt x="1507" y="509"/>
                </a:lnTo>
                <a:lnTo>
                  <a:pt x="1496" y="509"/>
                </a:lnTo>
                <a:lnTo>
                  <a:pt x="1507" y="525"/>
                </a:lnTo>
                <a:lnTo>
                  <a:pt x="1521" y="530"/>
                </a:lnTo>
                <a:lnTo>
                  <a:pt x="1532" y="550"/>
                </a:lnTo>
                <a:lnTo>
                  <a:pt x="1553" y="566"/>
                </a:lnTo>
                <a:lnTo>
                  <a:pt x="1558" y="576"/>
                </a:lnTo>
                <a:lnTo>
                  <a:pt x="1578" y="580"/>
                </a:lnTo>
                <a:lnTo>
                  <a:pt x="1588" y="596"/>
                </a:lnTo>
                <a:lnTo>
                  <a:pt x="1588" y="596"/>
                </a:lnTo>
                <a:lnTo>
                  <a:pt x="1603" y="608"/>
                </a:lnTo>
                <a:lnTo>
                  <a:pt x="1606" y="612"/>
                </a:lnTo>
                <a:lnTo>
                  <a:pt x="1608" y="617"/>
                </a:lnTo>
                <a:lnTo>
                  <a:pt x="1619" y="637"/>
                </a:lnTo>
                <a:lnTo>
                  <a:pt x="1629" y="647"/>
                </a:lnTo>
                <a:lnTo>
                  <a:pt x="1649" y="642"/>
                </a:lnTo>
                <a:lnTo>
                  <a:pt x="1670" y="642"/>
                </a:lnTo>
                <a:lnTo>
                  <a:pt x="1690" y="653"/>
                </a:lnTo>
                <a:lnTo>
                  <a:pt x="1722" y="647"/>
                </a:lnTo>
                <a:lnTo>
                  <a:pt x="1741" y="647"/>
                </a:lnTo>
                <a:lnTo>
                  <a:pt x="1741" y="663"/>
                </a:lnTo>
                <a:lnTo>
                  <a:pt x="1757" y="658"/>
                </a:lnTo>
                <a:lnTo>
                  <a:pt x="1772" y="647"/>
                </a:lnTo>
                <a:lnTo>
                  <a:pt x="1782" y="653"/>
                </a:lnTo>
                <a:lnTo>
                  <a:pt x="1788" y="678"/>
                </a:lnTo>
                <a:lnTo>
                  <a:pt x="1818" y="663"/>
                </a:lnTo>
                <a:lnTo>
                  <a:pt x="1804" y="683"/>
                </a:lnTo>
                <a:lnTo>
                  <a:pt x="1823" y="683"/>
                </a:lnTo>
                <a:lnTo>
                  <a:pt x="1834" y="678"/>
                </a:lnTo>
                <a:lnTo>
                  <a:pt x="1855" y="683"/>
                </a:lnTo>
                <a:lnTo>
                  <a:pt x="1875" y="704"/>
                </a:lnTo>
                <a:lnTo>
                  <a:pt x="1905" y="724"/>
                </a:lnTo>
                <a:lnTo>
                  <a:pt x="1926" y="735"/>
                </a:lnTo>
                <a:lnTo>
                  <a:pt x="1946" y="735"/>
                </a:lnTo>
                <a:lnTo>
                  <a:pt x="1967" y="754"/>
                </a:lnTo>
                <a:lnTo>
                  <a:pt x="1937" y="765"/>
                </a:lnTo>
                <a:lnTo>
                  <a:pt x="1962" y="781"/>
                </a:lnTo>
                <a:lnTo>
                  <a:pt x="2014" y="786"/>
                </a:lnTo>
                <a:lnTo>
                  <a:pt x="2033" y="781"/>
                </a:lnTo>
                <a:lnTo>
                  <a:pt x="2049" y="800"/>
                </a:lnTo>
                <a:lnTo>
                  <a:pt x="2074" y="791"/>
                </a:lnTo>
                <a:lnTo>
                  <a:pt x="2060" y="775"/>
                </a:lnTo>
                <a:lnTo>
                  <a:pt x="2074" y="765"/>
                </a:lnTo>
                <a:lnTo>
                  <a:pt x="2101" y="765"/>
                </a:lnTo>
                <a:lnTo>
                  <a:pt x="2115" y="775"/>
                </a:lnTo>
                <a:lnTo>
                  <a:pt x="2131" y="795"/>
                </a:lnTo>
                <a:lnTo>
                  <a:pt x="2152" y="795"/>
                </a:lnTo>
                <a:lnTo>
                  <a:pt x="2183" y="816"/>
                </a:lnTo>
                <a:lnTo>
                  <a:pt x="2213" y="816"/>
                </a:lnTo>
                <a:lnTo>
                  <a:pt x="2240" y="822"/>
                </a:lnTo>
                <a:lnTo>
                  <a:pt x="2240" y="800"/>
                </a:lnTo>
                <a:lnTo>
                  <a:pt x="2259" y="795"/>
                </a:lnTo>
                <a:lnTo>
                  <a:pt x="2284" y="811"/>
                </a:lnTo>
                <a:lnTo>
                  <a:pt x="2280" y="836"/>
                </a:lnTo>
                <a:lnTo>
                  <a:pt x="2295" y="816"/>
                </a:lnTo>
                <a:lnTo>
                  <a:pt x="2311" y="816"/>
                </a:lnTo>
                <a:lnTo>
                  <a:pt x="2327" y="791"/>
                </a:lnTo>
                <a:lnTo>
                  <a:pt x="2305" y="770"/>
                </a:lnTo>
                <a:lnTo>
                  <a:pt x="2284" y="754"/>
                </a:lnTo>
                <a:lnTo>
                  <a:pt x="2289" y="724"/>
                </a:lnTo>
                <a:lnTo>
                  <a:pt x="2311" y="704"/>
                </a:lnTo>
                <a:lnTo>
                  <a:pt x="2330" y="708"/>
                </a:lnTo>
                <a:lnTo>
                  <a:pt x="2352" y="724"/>
                </a:lnTo>
                <a:lnTo>
                  <a:pt x="2371" y="754"/>
                </a:lnTo>
                <a:lnTo>
                  <a:pt x="2352" y="770"/>
                </a:lnTo>
                <a:lnTo>
                  <a:pt x="2387" y="781"/>
                </a:lnTo>
                <a:lnTo>
                  <a:pt x="2387" y="806"/>
                </a:lnTo>
                <a:lnTo>
                  <a:pt x="2412" y="786"/>
                </a:lnTo>
                <a:lnTo>
                  <a:pt x="2433" y="806"/>
                </a:lnTo>
                <a:lnTo>
                  <a:pt x="2428" y="827"/>
                </a:lnTo>
                <a:lnTo>
                  <a:pt x="2449" y="847"/>
                </a:lnTo>
                <a:lnTo>
                  <a:pt x="2469" y="827"/>
                </a:lnTo>
                <a:lnTo>
                  <a:pt x="2485" y="806"/>
                </a:lnTo>
                <a:lnTo>
                  <a:pt x="2485" y="775"/>
                </a:lnTo>
                <a:lnTo>
                  <a:pt x="2485" y="775"/>
                </a:lnTo>
                <a:lnTo>
                  <a:pt x="2499" y="775"/>
                </a:lnTo>
                <a:lnTo>
                  <a:pt x="2513" y="777"/>
                </a:lnTo>
                <a:lnTo>
                  <a:pt x="2526" y="779"/>
                </a:lnTo>
                <a:lnTo>
                  <a:pt x="2540" y="781"/>
                </a:lnTo>
                <a:lnTo>
                  <a:pt x="2567" y="795"/>
                </a:lnTo>
                <a:lnTo>
                  <a:pt x="2572" y="811"/>
                </a:lnTo>
                <a:lnTo>
                  <a:pt x="2556" y="827"/>
                </a:lnTo>
                <a:lnTo>
                  <a:pt x="2567" y="836"/>
                </a:lnTo>
                <a:lnTo>
                  <a:pt x="2561" y="847"/>
                </a:lnTo>
                <a:lnTo>
                  <a:pt x="2537" y="852"/>
                </a:lnTo>
                <a:lnTo>
                  <a:pt x="2510" y="841"/>
                </a:lnTo>
                <a:lnTo>
                  <a:pt x="2505" y="857"/>
                </a:lnTo>
                <a:lnTo>
                  <a:pt x="2485" y="877"/>
                </a:lnTo>
                <a:lnTo>
                  <a:pt x="2480" y="893"/>
                </a:lnTo>
                <a:lnTo>
                  <a:pt x="2458" y="914"/>
                </a:lnTo>
                <a:lnTo>
                  <a:pt x="2428" y="914"/>
                </a:lnTo>
                <a:lnTo>
                  <a:pt x="2398" y="923"/>
                </a:lnTo>
                <a:lnTo>
                  <a:pt x="2398" y="944"/>
                </a:lnTo>
                <a:lnTo>
                  <a:pt x="2371" y="950"/>
                </a:lnTo>
                <a:lnTo>
                  <a:pt x="2341" y="969"/>
                </a:lnTo>
                <a:lnTo>
                  <a:pt x="2316" y="1001"/>
                </a:lnTo>
                <a:lnTo>
                  <a:pt x="2300" y="1026"/>
                </a:lnTo>
                <a:lnTo>
                  <a:pt x="2295" y="1062"/>
                </a:lnTo>
                <a:lnTo>
                  <a:pt x="2330" y="1072"/>
                </a:lnTo>
                <a:lnTo>
                  <a:pt x="2341" y="1103"/>
                </a:lnTo>
                <a:lnTo>
                  <a:pt x="2352" y="1124"/>
                </a:lnTo>
                <a:lnTo>
                  <a:pt x="2387" y="1119"/>
                </a:lnTo>
                <a:lnTo>
                  <a:pt x="2439" y="1133"/>
                </a:lnTo>
                <a:lnTo>
                  <a:pt x="2464" y="1149"/>
                </a:lnTo>
                <a:lnTo>
                  <a:pt x="2485" y="1165"/>
                </a:lnTo>
                <a:lnTo>
                  <a:pt x="2515" y="1176"/>
                </a:lnTo>
                <a:lnTo>
                  <a:pt x="2540" y="1190"/>
                </a:lnTo>
                <a:lnTo>
                  <a:pt x="2540" y="1190"/>
                </a:lnTo>
                <a:lnTo>
                  <a:pt x="2577" y="1192"/>
                </a:lnTo>
                <a:lnTo>
                  <a:pt x="2595" y="1192"/>
                </a:lnTo>
                <a:lnTo>
                  <a:pt x="2613" y="1195"/>
                </a:lnTo>
                <a:lnTo>
                  <a:pt x="2613" y="1220"/>
                </a:lnTo>
                <a:lnTo>
                  <a:pt x="2627" y="1252"/>
                </a:lnTo>
                <a:lnTo>
                  <a:pt x="2649" y="1288"/>
                </a:lnTo>
                <a:lnTo>
                  <a:pt x="2695" y="1318"/>
                </a:lnTo>
                <a:lnTo>
                  <a:pt x="2714" y="1304"/>
                </a:lnTo>
                <a:lnTo>
                  <a:pt x="2725" y="1266"/>
                </a:lnTo>
                <a:lnTo>
                  <a:pt x="2706" y="1216"/>
                </a:lnTo>
                <a:lnTo>
                  <a:pt x="2684" y="1195"/>
                </a:lnTo>
                <a:lnTo>
                  <a:pt x="2725" y="1176"/>
                </a:lnTo>
                <a:lnTo>
                  <a:pt x="2746" y="1154"/>
                </a:lnTo>
                <a:lnTo>
                  <a:pt x="2755" y="1133"/>
                </a:lnTo>
                <a:lnTo>
                  <a:pt x="2752" y="1113"/>
                </a:lnTo>
                <a:lnTo>
                  <a:pt x="2730" y="1088"/>
                </a:lnTo>
                <a:lnTo>
                  <a:pt x="2700" y="1067"/>
                </a:lnTo>
                <a:lnTo>
                  <a:pt x="2720" y="1037"/>
                </a:lnTo>
                <a:lnTo>
                  <a:pt x="2700" y="1010"/>
                </a:lnTo>
                <a:lnTo>
                  <a:pt x="2679" y="964"/>
                </a:lnTo>
                <a:lnTo>
                  <a:pt x="2695" y="955"/>
                </a:lnTo>
                <a:lnTo>
                  <a:pt x="2736" y="960"/>
                </a:lnTo>
                <a:lnTo>
                  <a:pt x="2755" y="960"/>
                </a:lnTo>
                <a:lnTo>
                  <a:pt x="2771" y="950"/>
                </a:lnTo>
                <a:lnTo>
                  <a:pt x="2793" y="960"/>
                </a:lnTo>
                <a:lnTo>
                  <a:pt x="2823" y="975"/>
                </a:lnTo>
                <a:lnTo>
                  <a:pt x="2834" y="985"/>
                </a:lnTo>
                <a:lnTo>
                  <a:pt x="2875" y="985"/>
                </a:lnTo>
                <a:lnTo>
                  <a:pt x="2883" y="1010"/>
                </a:lnTo>
                <a:lnTo>
                  <a:pt x="2905" y="1048"/>
                </a:lnTo>
                <a:lnTo>
                  <a:pt x="2924" y="1051"/>
                </a:lnTo>
                <a:lnTo>
                  <a:pt x="2946" y="1072"/>
                </a:lnTo>
                <a:lnTo>
                  <a:pt x="2971" y="1051"/>
                </a:lnTo>
                <a:lnTo>
                  <a:pt x="2981" y="1016"/>
                </a:lnTo>
                <a:lnTo>
                  <a:pt x="2992" y="996"/>
                </a:lnTo>
                <a:lnTo>
                  <a:pt x="2992" y="996"/>
                </a:lnTo>
                <a:lnTo>
                  <a:pt x="3047" y="1044"/>
                </a:lnTo>
                <a:lnTo>
                  <a:pt x="3074" y="1069"/>
                </a:lnTo>
                <a:lnTo>
                  <a:pt x="3104" y="1092"/>
                </a:lnTo>
                <a:lnTo>
                  <a:pt x="3104" y="1113"/>
                </a:lnTo>
                <a:lnTo>
                  <a:pt x="3140" y="1129"/>
                </a:lnTo>
                <a:lnTo>
                  <a:pt x="3166" y="1144"/>
                </a:lnTo>
                <a:lnTo>
                  <a:pt x="3202" y="1144"/>
                </a:lnTo>
                <a:lnTo>
                  <a:pt x="3223" y="1154"/>
                </a:lnTo>
                <a:lnTo>
                  <a:pt x="3243" y="1179"/>
                </a:lnTo>
                <a:lnTo>
                  <a:pt x="3264" y="1179"/>
                </a:lnTo>
                <a:lnTo>
                  <a:pt x="3278" y="1190"/>
                </a:lnTo>
                <a:lnTo>
                  <a:pt x="3300" y="1225"/>
                </a:lnTo>
                <a:lnTo>
                  <a:pt x="3300" y="1225"/>
                </a:lnTo>
                <a:lnTo>
                  <a:pt x="3289" y="1241"/>
                </a:lnTo>
                <a:lnTo>
                  <a:pt x="3278" y="1257"/>
                </a:lnTo>
                <a:lnTo>
                  <a:pt x="3248" y="1277"/>
                </a:lnTo>
                <a:lnTo>
                  <a:pt x="3227" y="1307"/>
                </a:lnTo>
                <a:lnTo>
                  <a:pt x="3191" y="1323"/>
                </a:lnTo>
                <a:lnTo>
                  <a:pt x="3136" y="1323"/>
                </a:lnTo>
                <a:lnTo>
                  <a:pt x="3099" y="1329"/>
                </a:lnTo>
                <a:lnTo>
                  <a:pt x="3074" y="1334"/>
                </a:lnTo>
                <a:lnTo>
                  <a:pt x="3058" y="1359"/>
                </a:lnTo>
                <a:lnTo>
                  <a:pt x="3033" y="1380"/>
                </a:lnTo>
                <a:lnTo>
                  <a:pt x="3008" y="1432"/>
                </a:lnTo>
                <a:lnTo>
                  <a:pt x="2987" y="1467"/>
                </a:lnTo>
                <a:lnTo>
                  <a:pt x="3008" y="1457"/>
                </a:lnTo>
                <a:lnTo>
                  <a:pt x="3038" y="1405"/>
                </a:lnTo>
                <a:lnTo>
                  <a:pt x="3084" y="1369"/>
                </a:lnTo>
                <a:lnTo>
                  <a:pt x="3120" y="1359"/>
                </a:lnTo>
                <a:lnTo>
                  <a:pt x="3145" y="1375"/>
                </a:lnTo>
                <a:lnTo>
                  <a:pt x="3125" y="1400"/>
                </a:lnTo>
                <a:lnTo>
                  <a:pt x="3145" y="1435"/>
                </a:lnTo>
                <a:lnTo>
                  <a:pt x="3166" y="1457"/>
                </a:lnTo>
                <a:lnTo>
                  <a:pt x="3207" y="1473"/>
                </a:lnTo>
                <a:lnTo>
                  <a:pt x="3248" y="1457"/>
                </a:lnTo>
                <a:lnTo>
                  <a:pt x="3264" y="1416"/>
                </a:lnTo>
                <a:lnTo>
                  <a:pt x="3273" y="1435"/>
                </a:lnTo>
                <a:lnTo>
                  <a:pt x="3294" y="1446"/>
                </a:lnTo>
                <a:lnTo>
                  <a:pt x="3273" y="1473"/>
                </a:lnTo>
                <a:lnTo>
                  <a:pt x="3223" y="1503"/>
                </a:lnTo>
                <a:lnTo>
                  <a:pt x="3202" y="1522"/>
                </a:lnTo>
                <a:lnTo>
                  <a:pt x="3181" y="1549"/>
                </a:lnTo>
                <a:lnTo>
                  <a:pt x="3161" y="1549"/>
                </a:lnTo>
                <a:lnTo>
                  <a:pt x="3150" y="1522"/>
                </a:lnTo>
                <a:lnTo>
                  <a:pt x="3191" y="1487"/>
                </a:lnTo>
                <a:lnTo>
                  <a:pt x="3131" y="1508"/>
                </a:lnTo>
                <a:lnTo>
                  <a:pt x="3104" y="1517"/>
                </a:lnTo>
                <a:lnTo>
                  <a:pt x="3115" y="1528"/>
                </a:lnTo>
                <a:lnTo>
                  <a:pt x="3090" y="1549"/>
                </a:lnTo>
                <a:lnTo>
                  <a:pt x="3038" y="1579"/>
                </a:lnTo>
                <a:lnTo>
                  <a:pt x="3022" y="1595"/>
                </a:lnTo>
                <a:lnTo>
                  <a:pt x="3017" y="1601"/>
                </a:lnTo>
                <a:lnTo>
                  <a:pt x="3022" y="1620"/>
                </a:lnTo>
                <a:lnTo>
                  <a:pt x="3038" y="1642"/>
                </a:lnTo>
                <a:lnTo>
                  <a:pt x="3052" y="1642"/>
                </a:lnTo>
                <a:lnTo>
                  <a:pt x="3049" y="1631"/>
                </a:lnTo>
                <a:lnTo>
                  <a:pt x="3058" y="1642"/>
                </a:lnTo>
                <a:lnTo>
                  <a:pt x="3038" y="1650"/>
                </a:lnTo>
                <a:lnTo>
                  <a:pt x="3022" y="1650"/>
                </a:lnTo>
                <a:lnTo>
                  <a:pt x="3003" y="1656"/>
                </a:lnTo>
                <a:lnTo>
                  <a:pt x="3003" y="1656"/>
                </a:lnTo>
                <a:lnTo>
                  <a:pt x="2994" y="1659"/>
                </a:lnTo>
                <a:lnTo>
                  <a:pt x="2987" y="1661"/>
                </a:lnTo>
                <a:lnTo>
                  <a:pt x="2971" y="1661"/>
                </a:lnTo>
                <a:lnTo>
                  <a:pt x="2951" y="1677"/>
                </a:lnTo>
                <a:lnTo>
                  <a:pt x="2997" y="1666"/>
                </a:lnTo>
                <a:lnTo>
                  <a:pt x="3008" y="1672"/>
                </a:lnTo>
                <a:lnTo>
                  <a:pt x="2967" y="1688"/>
                </a:lnTo>
                <a:lnTo>
                  <a:pt x="2946" y="1688"/>
                </a:lnTo>
                <a:lnTo>
                  <a:pt x="2946" y="1682"/>
                </a:lnTo>
                <a:lnTo>
                  <a:pt x="2935" y="1691"/>
                </a:lnTo>
                <a:lnTo>
                  <a:pt x="2946" y="1691"/>
                </a:lnTo>
                <a:lnTo>
                  <a:pt x="2940" y="1718"/>
                </a:lnTo>
                <a:lnTo>
                  <a:pt x="2921" y="1754"/>
                </a:lnTo>
                <a:lnTo>
                  <a:pt x="2910" y="1743"/>
                </a:lnTo>
                <a:lnTo>
                  <a:pt x="2899" y="1743"/>
                </a:lnTo>
                <a:lnTo>
                  <a:pt x="2883" y="1732"/>
                </a:lnTo>
                <a:lnTo>
                  <a:pt x="2894" y="1754"/>
                </a:lnTo>
                <a:lnTo>
                  <a:pt x="2905" y="1759"/>
                </a:lnTo>
                <a:lnTo>
                  <a:pt x="2910" y="1773"/>
                </a:lnTo>
                <a:lnTo>
                  <a:pt x="2905" y="1789"/>
                </a:lnTo>
                <a:lnTo>
                  <a:pt x="2889" y="1819"/>
                </a:lnTo>
                <a:lnTo>
                  <a:pt x="2883" y="1819"/>
                </a:lnTo>
                <a:lnTo>
                  <a:pt x="2894" y="1794"/>
                </a:lnTo>
                <a:lnTo>
                  <a:pt x="2875" y="1778"/>
                </a:lnTo>
                <a:lnTo>
                  <a:pt x="2869" y="1743"/>
                </a:lnTo>
                <a:lnTo>
                  <a:pt x="2864" y="1764"/>
                </a:lnTo>
                <a:lnTo>
                  <a:pt x="2875" y="1784"/>
                </a:lnTo>
                <a:lnTo>
                  <a:pt x="2853" y="1778"/>
                </a:lnTo>
                <a:lnTo>
                  <a:pt x="2875" y="1789"/>
                </a:lnTo>
                <a:lnTo>
                  <a:pt x="2880" y="1825"/>
                </a:lnTo>
                <a:lnTo>
                  <a:pt x="2889" y="1825"/>
                </a:lnTo>
                <a:lnTo>
                  <a:pt x="2894" y="1841"/>
                </a:lnTo>
                <a:lnTo>
                  <a:pt x="2905" y="1876"/>
                </a:lnTo>
                <a:lnTo>
                  <a:pt x="2883" y="1901"/>
                </a:lnTo>
                <a:lnTo>
                  <a:pt x="2853" y="1917"/>
                </a:lnTo>
                <a:lnTo>
                  <a:pt x="2834" y="1939"/>
                </a:lnTo>
                <a:lnTo>
                  <a:pt x="2812" y="1947"/>
                </a:lnTo>
                <a:lnTo>
                  <a:pt x="2793" y="1963"/>
                </a:lnTo>
                <a:lnTo>
                  <a:pt x="2787" y="1979"/>
                </a:lnTo>
                <a:lnTo>
                  <a:pt x="2752" y="2004"/>
                </a:lnTo>
                <a:lnTo>
                  <a:pt x="2730" y="2026"/>
                </a:lnTo>
                <a:lnTo>
                  <a:pt x="2714" y="2045"/>
                </a:lnTo>
                <a:lnTo>
                  <a:pt x="2714" y="2072"/>
                </a:lnTo>
                <a:lnTo>
                  <a:pt x="2725" y="2097"/>
                </a:lnTo>
                <a:lnTo>
                  <a:pt x="2741" y="2127"/>
                </a:lnTo>
                <a:lnTo>
                  <a:pt x="2761" y="2154"/>
                </a:lnTo>
                <a:lnTo>
                  <a:pt x="2761" y="2173"/>
                </a:lnTo>
                <a:lnTo>
                  <a:pt x="2782" y="2220"/>
                </a:lnTo>
                <a:lnTo>
                  <a:pt x="2782" y="2260"/>
                </a:lnTo>
                <a:lnTo>
                  <a:pt x="2766" y="2285"/>
                </a:lnTo>
                <a:lnTo>
                  <a:pt x="2755" y="2291"/>
                </a:lnTo>
                <a:lnTo>
                  <a:pt x="2736" y="2285"/>
                </a:lnTo>
                <a:lnTo>
                  <a:pt x="2730" y="2266"/>
                </a:lnTo>
                <a:lnTo>
                  <a:pt x="2714" y="2255"/>
                </a:lnTo>
                <a:lnTo>
                  <a:pt x="2714" y="2255"/>
                </a:lnTo>
                <a:lnTo>
                  <a:pt x="2704" y="2241"/>
                </a:lnTo>
                <a:lnTo>
                  <a:pt x="2695" y="2225"/>
                </a:lnTo>
                <a:lnTo>
                  <a:pt x="2679" y="2195"/>
                </a:lnTo>
                <a:lnTo>
                  <a:pt x="2674" y="2179"/>
                </a:lnTo>
                <a:lnTo>
                  <a:pt x="2684" y="2154"/>
                </a:lnTo>
                <a:lnTo>
                  <a:pt x="2674" y="2132"/>
                </a:lnTo>
                <a:lnTo>
                  <a:pt x="2649" y="2102"/>
                </a:lnTo>
                <a:lnTo>
                  <a:pt x="2638" y="2102"/>
                </a:lnTo>
                <a:lnTo>
                  <a:pt x="2583" y="2113"/>
                </a:lnTo>
                <a:lnTo>
                  <a:pt x="2577" y="2113"/>
                </a:lnTo>
                <a:lnTo>
                  <a:pt x="2561" y="2097"/>
                </a:lnTo>
                <a:lnTo>
                  <a:pt x="2540" y="2086"/>
                </a:lnTo>
                <a:lnTo>
                  <a:pt x="2496" y="2091"/>
                </a:lnTo>
                <a:lnTo>
                  <a:pt x="2458" y="2086"/>
                </a:lnTo>
                <a:lnTo>
                  <a:pt x="2433" y="2086"/>
                </a:lnTo>
                <a:lnTo>
                  <a:pt x="2412" y="2091"/>
                </a:lnTo>
                <a:lnTo>
                  <a:pt x="2423" y="2102"/>
                </a:lnTo>
                <a:lnTo>
                  <a:pt x="2423" y="2116"/>
                </a:lnTo>
                <a:lnTo>
                  <a:pt x="2433" y="2127"/>
                </a:lnTo>
                <a:lnTo>
                  <a:pt x="2423" y="2132"/>
                </a:lnTo>
                <a:lnTo>
                  <a:pt x="2409" y="2122"/>
                </a:lnTo>
                <a:lnTo>
                  <a:pt x="2392" y="2127"/>
                </a:lnTo>
                <a:lnTo>
                  <a:pt x="2368" y="2127"/>
                </a:lnTo>
                <a:lnTo>
                  <a:pt x="2336" y="2102"/>
                </a:lnTo>
                <a:lnTo>
                  <a:pt x="2305" y="2107"/>
                </a:lnTo>
                <a:lnTo>
                  <a:pt x="2280" y="2102"/>
                </a:lnTo>
                <a:lnTo>
                  <a:pt x="2254" y="2102"/>
                </a:lnTo>
                <a:lnTo>
                  <a:pt x="2224" y="2113"/>
                </a:lnTo>
                <a:lnTo>
                  <a:pt x="2188" y="2138"/>
                </a:lnTo>
                <a:lnTo>
                  <a:pt x="2152" y="2154"/>
                </a:lnTo>
                <a:lnTo>
                  <a:pt x="2126" y="2168"/>
                </a:lnTo>
                <a:lnTo>
                  <a:pt x="2115" y="2189"/>
                </a:lnTo>
                <a:lnTo>
                  <a:pt x="2111" y="2214"/>
                </a:lnTo>
                <a:lnTo>
                  <a:pt x="2111" y="2236"/>
                </a:lnTo>
                <a:lnTo>
                  <a:pt x="2115" y="2250"/>
                </a:lnTo>
                <a:lnTo>
                  <a:pt x="2095" y="2282"/>
                </a:lnTo>
                <a:lnTo>
                  <a:pt x="2085" y="2307"/>
                </a:lnTo>
                <a:lnTo>
                  <a:pt x="2085" y="2358"/>
                </a:lnTo>
                <a:lnTo>
                  <a:pt x="2074" y="2378"/>
                </a:lnTo>
                <a:lnTo>
                  <a:pt x="2079" y="2399"/>
                </a:lnTo>
                <a:lnTo>
                  <a:pt x="2090" y="2419"/>
                </a:lnTo>
                <a:lnTo>
                  <a:pt x="2095" y="2451"/>
                </a:lnTo>
                <a:lnTo>
                  <a:pt x="2115" y="2481"/>
                </a:lnTo>
                <a:lnTo>
                  <a:pt x="2126" y="2501"/>
                </a:lnTo>
                <a:lnTo>
                  <a:pt x="2142" y="2522"/>
                </a:lnTo>
                <a:lnTo>
                  <a:pt x="2183" y="2538"/>
                </a:lnTo>
                <a:lnTo>
                  <a:pt x="2199" y="2557"/>
                </a:lnTo>
                <a:lnTo>
                  <a:pt x="2234" y="2547"/>
                </a:lnTo>
                <a:lnTo>
                  <a:pt x="2264" y="2541"/>
                </a:lnTo>
                <a:lnTo>
                  <a:pt x="2264" y="2541"/>
                </a:lnTo>
                <a:lnTo>
                  <a:pt x="2293" y="2536"/>
                </a:lnTo>
                <a:lnTo>
                  <a:pt x="2305" y="2533"/>
                </a:lnTo>
                <a:lnTo>
                  <a:pt x="2321" y="2533"/>
                </a:lnTo>
                <a:lnTo>
                  <a:pt x="2346" y="2517"/>
                </a:lnTo>
                <a:lnTo>
                  <a:pt x="2357" y="2497"/>
                </a:lnTo>
                <a:lnTo>
                  <a:pt x="2362" y="2465"/>
                </a:lnTo>
                <a:lnTo>
                  <a:pt x="2371" y="2456"/>
                </a:lnTo>
                <a:lnTo>
                  <a:pt x="2398" y="2445"/>
                </a:lnTo>
                <a:lnTo>
                  <a:pt x="2439" y="2435"/>
                </a:lnTo>
                <a:lnTo>
                  <a:pt x="2474" y="2435"/>
                </a:lnTo>
                <a:lnTo>
                  <a:pt x="2496" y="2429"/>
                </a:lnTo>
                <a:lnTo>
                  <a:pt x="2505" y="2440"/>
                </a:lnTo>
                <a:lnTo>
                  <a:pt x="2505" y="2460"/>
                </a:lnTo>
                <a:lnTo>
                  <a:pt x="2485" y="2481"/>
                </a:lnTo>
                <a:lnTo>
                  <a:pt x="2474" y="2501"/>
                </a:lnTo>
                <a:lnTo>
                  <a:pt x="2485" y="2506"/>
                </a:lnTo>
                <a:lnTo>
                  <a:pt x="2485" y="2506"/>
                </a:lnTo>
                <a:lnTo>
                  <a:pt x="2480" y="2518"/>
                </a:lnTo>
                <a:lnTo>
                  <a:pt x="2474" y="2529"/>
                </a:lnTo>
                <a:lnTo>
                  <a:pt x="2469" y="2541"/>
                </a:lnTo>
                <a:lnTo>
                  <a:pt x="2464" y="2552"/>
                </a:lnTo>
                <a:lnTo>
                  <a:pt x="2458" y="2538"/>
                </a:lnTo>
                <a:lnTo>
                  <a:pt x="2449" y="2538"/>
                </a:lnTo>
                <a:lnTo>
                  <a:pt x="2449" y="2541"/>
                </a:lnTo>
                <a:lnTo>
                  <a:pt x="2458" y="2541"/>
                </a:lnTo>
                <a:lnTo>
                  <a:pt x="2458" y="2552"/>
                </a:lnTo>
                <a:lnTo>
                  <a:pt x="2449" y="2573"/>
                </a:lnTo>
                <a:lnTo>
                  <a:pt x="2455" y="2579"/>
                </a:lnTo>
                <a:lnTo>
                  <a:pt x="2449" y="2593"/>
                </a:lnTo>
                <a:lnTo>
                  <a:pt x="2455" y="2598"/>
                </a:lnTo>
                <a:lnTo>
                  <a:pt x="2449" y="2620"/>
                </a:lnTo>
                <a:lnTo>
                  <a:pt x="2439" y="2629"/>
                </a:lnTo>
                <a:lnTo>
                  <a:pt x="2428" y="2629"/>
                </a:lnTo>
                <a:lnTo>
                  <a:pt x="2417" y="2645"/>
                </a:lnTo>
                <a:lnTo>
                  <a:pt x="2433" y="2655"/>
                </a:lnTo>
                <a:lnTo>
                  <a:pt x="2439" y="2650"/>
                </a:lnTo>
                <a:lnTo>
                  <a:pt x="2439" y="2650"/>
                </a:lnTo>
                <a:lnTo>
                  <a:pt x="2442" y="2653"/>
                </a:lnTo>
                <a:lnTo>
                  <a:pt x="2446" y="2653"/>
                </a:lnTo>
                <a:lnTo>
                  <a:pt x="2455" y="2655"/>
                </a:lnTo>
                <a:lnTo>
                  <a:pt x="2464" y="2650"/>
                </a:lnTo>
                <a:lnTo>
                  <a:pt x="2480" y="2650"/>
                </a:lnTo>
                <a:lnTo>
                  <a:pt x="2485" y="2655"/>
                </a:lnTo>
                <a:lnTo>
                  <a:pt x="2490" y="2655"/>
                </a:lnTo>
                <a:lnTo>
                  <a:pt x="2510" y="2661"/>
                </a:lnTo>
                <a:lnTo>
                  <a:pt x="2531" y="2661"/>
                </a:lnTo>
                <a:lnTo>
                  <a:pt x="2545" y="2655"/>
                </a:lnTo>
                <a:lnTo>
                  <a:pt x="2551" y="2650"/>
                </a:lnTo>
                <a:lnTo>
                  <a:pt x="2561" y="2650"/>
                </a:lnTo>
                <a:lnTo>
                  <a:pt x="2572" y="2655"/>
                </a:lnTo>
                <a:lnTo>
                  <a:pt x="2583" y="2655"/>
                </a:lnTo>
                <a:lnTo>
                  <a:pt x="2592" y="2650"/>
                </a:lnTo>
                <a:lnTo>
                  <a:pt x="2613" y="2655"/>
                </a:lnTo>
                <a:lnTo>
                  <a:pt x="2618" y="2655"/>
                </a:lnTo>
                <a:lnTo>
                  <a:pt x="2633" y="2666"/>
                </a:lnTo>
                <a:lnTo>
                  <a:pt x="2643" y="2675"/>
                </a:lnTo>
                <a:lnTo>
                  <a:pt x="2659" y="2680"/>
                </a:lnTo>
                <a:lnTo>
                  <a:pt x="2668" y="2691"/>
                </a:lnTo>
                <a:lnTo>
                  <a:pt x="2665" y="2696"/>
                </a:lnTo>
                <a:lnTo>
                  <a:pt x="2665" y="2707"/>
                </a:lnTo>
                <a:lnTo>
                  <a:pt x="2668" y="2721"/>
                </a:lnTo>
                <a:lnTo>
                  <a:pt x="2649" y="2716"/>
                </a:lnTo>
                <a:lnTo>
                  <a:pt x="2643" y="2732"/>
                </a:lnTo>
                <a:lnTo>
                  <a:pt x="2643" y="2783"/>
                </a:lnTo>
                <a:lnTo>
                  <a:pt x="2638" y="2789"/>
                </a:lnTo>
                <a:lnTo>
                  <a:pt x="2633" y="2808"/>
                </a:lnTo>
                <a:lnTo>
                  <a:pt x="2638" y="2819"/>
                </a:lnTo>
                <a:lnTo>
                  <a:pt x="2627" y="2819"/>
                </a:lnTo>
                <a:lnTo>
                  <a:pt x="2627" y="2830"/>
                </a:lnTo>
                <a:lnTo>
                  <a:pt x="2633" y="2835"/>
                </a:lnTo>
                <a:lnTo>
                  <a:pt x="2643" y="2854"/>
                </a:lnTo>
                <a:lnTo>
                  <a:pt x="2643" y="2854"/>
                </a:lnTo>
                <a:lnTo>
                  <a:pt x="2666" y="2876"/>
                </a:lnTo>
                <a:lnTo>
                  <a:pt x="2679" y="2886"/>
                </a:lnTo>
                <a:lnTo>
                  <a:pt x="2690" y="2901"/>
                </a:lnTo>
                <a:lnTo>
                  <a:pt x="2690" y="2911"/>
                </a:lnTo>
                <a:lnTo>
                  <a:pt x="2706" y="2911"/>
                </a:lnTo>
                <a:lnTo>
                  <a:pt x="2711" y="2906"/>
                </a:lnTo>
                <a:lnTo>
                  <a:pt x="2720" y="2917"/>
                </a:lnTo>
                <a:lnTo>
                  <a:pt x="2741" y="2911"/>
                </a:lnTo>
                <a:lnTo>
                  <a:pt x="2761" y="2901"/>
                </a:lnTo>
                <a:lnTo>
                  <a:pt x="2782" y="2890"/>
                </a:lnTo>
                <a:lnTo>
                  <a:pt x="2796" y="2876"/>
                </a:lnTo>
                <a:lnTo>
                  <a:pt x="2818" y="2876"/>
                </a:lnTo>
                <a:lnTo>
                  <a:pt x="2818" y="2881"/>
                </a:lnTo>
                <a:lnTo>
                  <a:pt x="2839" y="2881"/>
                </a:lnTo>
                <a:lnTo>
                  <a:pt x="2859" y="2885"/>
                </a:lnTo>
                <a:lnTo>
                  <a:pt x="2875" y="2895"/>
                </a:lnTo>
                <a:lnTo>
                  <a:pt x="2889" y="2906"/>
                </a:lnTo>
                <a:lnTo>
                  <a:pt x="2910" y="2906"/>
                </a:lnTo>
                <a:lnTo>
                  <a:pt x="2935" y="2881"/>
                </a:lnTo>
                <a:lnTo>
                  <a:pt x="2956" y="2876"/>
                </a:lnTo>
                <a:lnTo>
                  <a:pt x="2956" y="2860"/>
                </a:lnTo>
                <a:lnTo>
                  <a:pt x="2967" y="2830"/>
                </a:lnTo>
                <a:lnTo>
                  <a:pt x="2987" y="2808"/>
                </a:lnTo>
                <a:lnTo>
                  <a:pt x="3008" y="2803"/>
                </a:lnTo>
                <a:lnTo>
                  <a:pt x="3012" y="2794"/>
                </a:lnTo>
                <a:lnTo>
                  <a:pt x="3038" y="2794"/>
                </a:lnTo>
                <a:lnTo>
                  <a:pt x="3038" y="2794"/>
                </a:lnTo>
                <a:lnTo>
                  <a:pt x="3060" y="2778"/>
                </a:lnTo>
                <a:lnTo>
                  <a:pt x="3070" y="2771"/>
                </a:lnTo>
                <a:lnTo>
                  <a:pt x="3084" y="2762"/>
                </a:lnTo>
                <a:lnTo>
                  <a:pt x="3104" y="2742"/>
                </a:lnTo>
                <a:lnTo>
                  <a:pt x="3120" y="2742"/>
                </a:lnTo>
                <a:lnTo>
                  <a:pt x="3131" y="2753"/>
                </a:lnTo>
                <a:lnTo>
                  <a:pt x="3115" y="2767"/>
                </a:lnTo>
                <a:lnTo>
                  <a:pt x="3115" y="2778"/>
                </a:lnTo>
                <a:lnTo>
                  <a:pt x="3095" y="2783"/>
                </a:lnTo>
                <a:lnTo>
                  <a:pt x="3109" y="2803"/>
                </a:lnTo>
                <a:lnTo>
                  <a:pt x="3109" y="2819"/>
                </a:lnTo>
                <a:lnTo>
                  <a:pt x="3095" y="2849"/>
                </a:lnTo>
                <a:lnTo>
                  <a:pt x="3109" y="2876"/>
                </a:lnTo>
                <a:lnTo>
                  <a:pt x="3131" y="2870"/>
                </a:lnTo>
                <a:lnTo>
                  <a:pt x="3140" y="2844"/>
                </a:lnTo>
                <a:lnTo>
                  <a:pt x="3131" y="2830"/>
                </a:lnTo>
                <a:lnTo>
                  <a:pt x="3131" y="2803"/>
                </a:lnTo>
                <a:lnTo>
                  <a:pt x="3177" y="2783"/>
                </a:lnTo>
                <a:lnTo>
                  <a:pt x="3161" y="2767"/>
                </a:lnTo>
                <a:lnTo>
                  <a:pt x="3177" y="2753"/>
                </a:lnTo>
                <a:lnTo>
                  <a:pt x="3191" y="2778"/>
                </a:lnTo>
                <a:lnTo>
                  <a:pt x="3218" y="2778"/>
                </a:lnTo>
                <a:lnTo>
                  <a:pt x="3237" y="2798"/>
                </a:lnTo>
                <a:lnTo>
                  <a:pt x="3237" y="2814"/>
                </a:lnTo>
                <a:lnTo>
                  <a:pt x="3268" y="2808"/>
                </a:lnTo>
                <a:lnTo>
                  <a:pt x="3305" y="2798"/>
                </a:lnTo>
                <a:lnTo>
                  <a:pt x="3325" y="2814"/>
                </a:lnTo>
                <a:lnTo>
                  <a:pt x="3351" y="2814"/>
                </a:lnTo>
                <a:lnTo>
                  <a:pt x="3371" y="2798"/>
                </a:lnTo>
                <a:lnTo>
                  <a:pt x="3371" y="2789"/>
                </a:lnTo>
                <a:lnTo>
                  <a:pt x="3371" y="2789"/>
                </a:lnTo>
                <a:lnTo>
                  <a:pt x="3453" y="2773"/>
                </a:lnTo>
                <a:lnTo>
                  <a:pt x="3433" y="2794"/>
                </a:lnTo>
                <a:lnTo>
                  <a:pt x="3447" y="2814"/>
                </a:lnTo>
                <a:lnTo>
                  <a:pt x="3474" y="2814"/>
                </a:lnTo>
                <a:lnTo>
                  <a:pt x="3499" y="2830"/>
                </a:lnTo>
                <a:lnTo>
                  <a:pt x="3504" y="2854"/>
                </a:lnTo>
                <a:lnTo>
                  <a:pt x="3524" y="2849"/>
                </a:lnTo>
                <a:lnTo>
                  <a:pt x="3524" y="2849"/>
                </a:lnTo>
                <a:lnTo>
                  <a:pt x="3540" y="2858"/>
                </a:lnTo>
                <a:lnTo>
                  <a:pt x="3561" y="2870"/>
                </a:lnTo>
                <a:lnTo>
                  <a:pt x="3581" y="2890"/>
                </a:lnTo>
                <a:lnTo>
                  <a:pt x="3581" y="2911"/>
                </a:lnTo>
                <a:lnTo>
                  <a:pt x="3597" y="2911"/>
                </a:lnTo>
                <a:lnTo>
                  <a:pt x="3622" y="2936"/>
                </a:lnTo>
                <a:lnTo>
                  <a:pt x="3657" y="2936"/>
                </a:lnTo>
                <a:lnTo>
                  <a:pt x="3663" y="2926"/>
                </a:lnTo>
                <a:lnTo>
                  <a:pt x="3689" y="2917"/>
                </a:lnTo>
                <a:lnTo>
                  <a:pt x="3719" y="2922"/>
                </a:lnTo>
                <a:lnTo>
                  <a:pt x="3719" y="2922"/>
                </a:lnTo>
                <a:lnTo>
                  <a:pt x="3727" y="2922"/>
                </a:lnTo>
                <a:lnTo>
                  <a:pt x="3735" y="2924"/>
                </a:lnTo>
                <a:lnTo>
                  <a:pt x="3743" y="2926"/>
                </a:lnTo>
                <a:lnTo>
                  <a:pt x="3750" y="2926"/>
                </a:lnTo>
                <a:lnTo>
                  <a:pt x="3780" y="2947"/>
                </a:lnTo>
                <a:lnTo>
                  <a:pt x="3785" y="2963"/>
                </a:lnTo>
                <a:lnTo>
                  <a:pt x="3796" y="2958"/>
                </a:lnTo>
                <a:lnTo>
                  <a:pt x="3801" y="2977"/>
                </a:lnTo>
                <a:lnTo>
                  <a:pt x="3817" y="3039"/>
                </a:lnTo>
                <a:lnTo>
                  <a:pt x="3832" y="3039"/>
                </a:lnTo>
                <a:lnTo>
                  <a:pt x="3832" y="3064"/>
                </a:lnTo>
                <a:lnTo>
                  <a:pt x="3812" y="3100"/>
                </a:lnTo>
                <a:lnTo>
                  <a:pt x="3821" y="3111"/>
                </a:lnTo>
                <a:lnTo>
                  <a:pt x="3872" y="3100"/>
                </a:lnTo>
                <a:lnTo>
                  <a:pt x="3864" y="3137"/>
                </a:lnTo>
                <a:lnTo>
                  <a:pt x="3883" y="3105"/>
                </a:lnTo>
                <a:lnTo>
                  <a:pt x="3913" y="3111"/>
                </a:lnTo>
                <a:lnTo>
                  <a:pt x="3954" y="3121"/>
                </a:lnTo>
                <a:lnTo>
                  <a:pt x="3965" y="3141"/>
                </a:lnTo>
                <a:lnTo>
                  <a:pt x="3965" y="3162"/>
                </a:lnTo>
                <a:lnTo>
                  <a:pt x="3995" y="3141"/>
                </a:lnTo>
                <a:lnTo>
                  <a:pt x="4041" y="3141"/>
                </a:lnTo>
                <a:lnTo>
                  <a:pt x="4077" y="3127"/>
                </a:lnTo>
                <a:lnTo>
                  <a:pt x="4109" y="3141"/>
                </a:lnTo>
                <a:lnTo>
                  <a:pt x="4129" y="3167"/>
                </a:lnTo>
                <a:lnTo>
                  <a:pt x="4145" y="3173"/>
                </a:lnTo>
                <a:lnTo>
                  <a:pt x="4164" y="3162"/>
                </a:lnTo>
                <a:lnTo>
                  <a:pt x="4170" y="3173"/>
                </a:lnTo>
                <a:lnTo>
                  <a:pt x="4170" y="3203"/>
                </a:lnTo>
                <a:lnTo>
                  <a:pt x="4175" y="3203"/>
                </a:lnTo>
                <a:lnTo>
                  <a:pt x="4175" y="3224"/>
                </a:lnTo>
                <a:lnTo>
                  <a:pt x="4175" y="3224"/>
                </a:lnTo>
                <a:close/>
                <a:moveTo>
                  <a:pt x="3074" y="2533"/>
                </a:moveTo>
                <a:lnTo>
                  <a:pt x="3052" y="2538"/>
                </a:lnTo>
                <a:lnTo>
                  <a:pt x="3033" y="2538"/>
                </a:lnTo>
                <a:lnTo>
                  <a:pt x="3012" y="2547"/>
                </a:lnTo>
                <a:lnTo>
                  <a:pt x="2992" y="2533"/>
                </a:lnTo>
                <a:lnTo>
                  <a:pt x="2992" y="2517"/>
                </a:lnTo>
                <a:lnTo>
                  <a:pt x="2997" y="2517"/>
                </a:lnTo>
                <a:lnTo>
                  <a:pt x="2997" y="2517"/>
                </a:lnTo>
                <a:lnTo>
                  <a:pt x="3012" y="2518"/>
                </a:lnTo>
                <a:lnTo>
                  <a:pt x="3028" y="2520"/>
                </a:lnTo>
                <a:lnTo>
                  <a:pt x="3045" y="2522"/>
                </a:lnTo>
                <a:lnTo>
                  <a:pt x="3063" y="2522"/>
                </a:lnTo>
                <a:lnTo>
                  <a:pt x="3079" y="2511"/>
                </a:lnTo>
                <a:lnTo>
                  <a:pt x="3058" y="2497"/>
                </a:lnTo>
                <a:lnTo>
                  <a:pt x="3058" y="2481"/>
                </a:lnTo>
                <a:lnTo>
                  <a:pt x="3038" y="2476"/>
                </a:lnTo>
                <a:lnTo>
                  <a:pt x="3049" y="2465"/>
                </a:lnTo>
                <a:lnTo>
                  <a:pt x="3068" y="2465"/>
                </a:lnTo>
                <a:lnTo>
                  <a:pt x="3099" y="2470"/>
                </a:lnTo>
                <a:lnTo>
                  <a:pt x="3104" y="2465"/>
                </a:lnTo>
                <a:lnTo>
                  <a:pt x="3131" y="2460"/>
                </a:lnTo>
                <a:lnTo>
                  <a:pt x="3150" y="2470"/>
                </a:lnTo>
                <a:lnTo>
                  <a:pt x="3161" y="2470"/>
                </a:lnTo>
                <a:lnTo>
                  <a:pt x="3172" y="2486"/>
                </a:lnTo>
                <a:lnTo>
                  <a:pt x="3191" y="2481"/>
                </a:lnTo>
                <a:lnTo>
                  <a:pt x="3191" y="2497"/>
                </a:lnTo>
                <a:lnTo>
                  <a:pt x="3207" y="2497"/>
                </a:lnTo>
                <a:lnTo>
                  <a:pt x="3227" y="2511"/>
                </a:lnTo>
                <a:lnTo>
                  <a:pt x="3213" y="2533"/>
                </a:lnTo>
                <a:lnTo>
                  <a:pt x="3191" y="2527"/>
                </a:lnTo>
                <a:lnTo>
                  <a:pt x="3172" y="2533"/>
                </a:lnTo>
                <a:lnTo>
                  <a:pt x="3156" y="2533"/>
                </a:lnTo>
                <a:lnTo>
                  <a:pt x="3150" y="2541"/>
                </a:lnTo>
                <a:lnTo>
                  <a:pt x="3136" y="2547"/>
                </a:lnTo>
                <a:lnTo>
                  <a:pt x="3131" y="2522"/>
                </a:lnTo>
                <a:lnTo>
                  <a:pt x="3115" y="2527"/>
                </a:lnTo>
                <a:lnTo>
                  <a:pt x="3099" y="2552"/>
                </a:lnTo>
                <a:lnTo>
                  <a:pt x="3090" y="2547"/>
                </a:lnTo>
                <a:lnTo>
                  <a:pt x="3090" y="2538"/>
                </a:lnTo>
                <a:lnTo>
                  <a:pt x="3074" y="2533"/>
                </a:lnTo>
                <a:close/>
                <a:moveTo>
                  <a:pt x="2880" y="2451"/>
                </a:moveTo>
                <a:lnTo>
                  <a:pt x="2859" y="2451"/>
                </a:lnTo>
                <a:lnTo>
                  <a:pt x="2843" y="2440"/>
                </a:lnTo>
                <a:lnTo>
                  <a:pt x="2834" y="2419"/>
                </a:lnTo>
                <a:lnTo>
                  <a:pt x="2812" y="2419"/>
                </a:lnTo>
                <a:lnTo>
                  <a:pt x="2771" y="2410"/>
                </a:lnTo>
                <a:lnTo>
                  <a:pt x="2755" y="2399"/>
                </a:lnTo>
                <a:lnTo>
                  <a:pt x="2711" y="2399"/>
                </a:lnTo>
                <a:lnTo>
                  <a:pt x="2695" y="2388"/>
                </a:lnTo>
                <a:lnTo>
                  <a:pt x="2711" y="2378"/>
                </a:lnTo>
                <a:lnTo>
                  <a:pt x="2674" y="2378"/>
                </a:lnTo>
                <a:lnTo>
                  <a:pt x="2649" y="2399"/>
                </a:lnTo>
                <a:lnTo>
                  <a:pt x="2627" y="2399"/>
                </a:lnTo>
                <a:lnTo>
                  <a:pt x="2624" y="2410"/>
                </a:lnTo>
                <a:lnTo>
                  <a:pt x="2602" y="2413"/>
                </a:lnTo>
                <a:lnTo>
                  <a:pt x="2586" y="2410"/>
                </a:lnTo>
                <a:lnTo>
                  <a:pt x="2608" y="2394"/>
                </a:lnTo>
                <a:lnTo>
                  <a:pt x="2618" y="2378"/>
                </a:lnTo>
                <a:lnTo>
                  <a:pt x="2659" y="2358"/>
                </a:lnTo>
                <a:lnTo>
                  <a:pt x="2684" y="2353"/>
                </a:lnTo>
                <a:lnTo>
                  <a:pt x="2695" y="2348"/>
                </a:lnTo>
                <a:lnTo>
                  <a:pt x="2761" y="2348"/>
                </a:lnTo>
                <a:lnTo>
                  <a:pt x="2796" y="2364"/>
                </a:lnTo>
                <a:lnTo>
                  <a:pt x="2812" y="2378"/>
                </a:lnTo>
                <a:lnTo>
                  <a:pt x="2848" y="2372"/>
                </a:lnTo>
                <a:lnTo>
                  <a:pt x="2848" y="2372"/>
                </a:lnTo>
                <a:lnTo>
                  <a:pt x="2882" y="2396"/>
                </a:lnTo>
                <a:lnTo>
                  <a:pt x="2915" y="2419"/>
                </a:lnTo>
                <a:lnTo>
                  <a:pt x="2930" y="2419"/>
                </a:lnTo>
                <a:lnTo>
                  <a:pt x="2951" y="2424"/>
                </a:lnTo>
                <a:lnTo>
                  <a:pt x="2951" y="2435"/>
                </a:lnTo>
                <a:lnTo>
                  <a:pt x="2976" y="2435"/>
                </a:lnTo>
                <a:lnTo>
                  <a:pt x="3003" y="2451"/>
                </a:lnTo>
                <a:lnTo>
                  <a:pt x="2997" y="2460"/>
                </a:lnTo>
                <a:lnTo>
                  <a:pt x="2976" y="2465"/>
                </a:lnTo>
                <a:lnTo>
                  <a:pt x="2956" y="2481"/>
                </a:lnTo>
                <a:lnTo>
                  <a:pt x="2869" y="2481"/>
                </a:lnTo>
                <a:lnTo>
                  <a:pt x="2889" y="2460"/>
                </a:lnTo>
                <a:lnTo>
                  <a:pt x="2880" y="2451"/>
                </a:lnTo>
                <a:close/>
                <a:moveTo>
                  <a:pt x="1224" y="735"/>
                </a:moveTo>
                <a:lnTo>
                  <a:pt x="1224" y="735"/>
                </a:lnTo>
                <a:lnTo>
                  <a:pt x="1224" y="735"/>
                </a:lnTo>
                <a:lnTo>
                  <a:pt x="1224" y="735"/>
                </a:lnTo>
                <a:close/>
                <a:moveTo>
                  <a:pt x="2746" y="4505"/>
                </a:moveTo>
                <a:lnTo>
                  <a:pt x="2725" y="4508"/>
                </a:lnTo>
                <a:lnTo>
                  <a:pt x="2711" y="4519"/>
                </a:lnTo>
                <a:lnTo>
                  <a:pt x="2690" y="4524"/>
                </a:lnTo>
                <a:lnTo>
                  <a:pt x="2668" y="4524"/>
                </a:lnTo>
                <a:lnTo>
                  <a:pt x="2649" y="4519"/>
                </a:lnTo>
                <a:lnTo>
                  <a:pt x="2627" y="4519"/>
                </a:lnTo>
                <a:lnTo>
                  <a:pt x="2643" y="4530"/>
                </a:lnTo>
                <a:lnTo>
                  <a:pt x="2665" y="4535"/>
                </a:lnTo>
                <a:lnTo>
                  <a:pt x="2695" y="4535"/>
                </a:lnTo>
                <a:lnTo>
                  <a:pt x="2711" y="4524"/>
                </a:lnTo>
                <a:lnTo>
                  <a:pt x="2711" y="4524"/>
                </a:lnTo>
                <a:lnTo>
                  <a:pt x="2746" y="4514"/>
                </a:lnTo>
                <a:lnTo>
                  <a:pt x="2746" y="4514"/>
                </a:lnTo>
                <a:lnTo>
                  <a:pt x="2750" y="4512"/>
                </a:lnTo>
                <a:lnTo>
                  <a:pt x="2754" y="4510"/>
                </a:lnTo>
                <a:lnTo>
                  <a:pt x="2761" y="4508"/>
                </a:lnTo>
                <a:lnTo>
                  <a:pt x="2761" y="4505"/>
                </a:lnTo>
                <a:lnTo>
                  <a:pt x="2746" y="4505"/>
                </a:lnTo>
                <a:close/>
                <a:moveTo>
                  <a:pt x="4001" y="811"/>
                </a:moveTo>
                <a:lnTo>
                  <a:pt x="4001" y="811"/>
                </a:lnTo>
                <a:lnTo>
                  <a:pt x="4001" y="800"/>
                </a:lnTo>
                <a:lnTo>
                  <a:pt x="3986" y="781"/>
                </a:lnTo>
                <a:lnTo>
                  <a:pt x="3981" y="775"/>
                </a:lnTo>
                <a:lnTo>
                  <a:pt x="3986" y="786"/>
                </a:lnTo>
                <a:lnTo>
                  <a:pt x="3986" y="786"/>
                </a:lnTo>
                <a:lnTo>
                  <a:pt x="3993" y="797"/>
                </a:lnTo>
                <a:lnTo>
                  <a:pt x="4001" y="811"/>
                </a:lnTo>
                <a:lnTo>
                  <a:pt x="4001" y="811"/>
                </a:lnTo>
                <a:close/>
                <a:moveTo>
                  <a:pt x="2464" y="498"/>
                </a:moveTo>
                <a:lnTo>
                  <a:pt x="2464" y="498"/>
                </a:lnTo>
                <a:lnTo>
                  <a:pt x="2449" y="489"/>
                </a:lnTo>
                <a:lnTo>
                  <a:pt x="2449" y="493"/>
                </a:lnTo>
                <a:lnTo>
                  <a:pt x="2464" y="498"/>
                </a:lnTo>
                <a:close/>
                <a:moveTo>
                  <a:pt x="3602" y="397"/>
                </a:moveTo>
                <a:lnTo>
                  <a:pt x="3611" y="402"/>
                </a:lnTo>
                <a:lnTo>
                  <a:pt x="3611" y="402"/>
                </a:lnTo>
                <a:lnTo>
                  <a:pt x="3609" y="400"/>
                </a:lnTo>
                <a:lnTo>
                  <a:pt x="3607" y="398"/>
                </a:lnTo>
                <a:lnTo>
                  <a:pt x="3604" y="397"/>
                </a:lnTo>
                <a:lnTo>
                  <a:pt x="3602" y="397"/>
                </a:lnTo>
                <a:lnTo>
                  <a:pt x="3602" y="397"/>
                </a:lnTo>
                <a:close/>
                <a:moveTo>
                  <a:pt x="4330" y="1304"/>
                </a:moveTo>
                <a:lnTo>
                  <a:pt x="4333" y="1298"/>
                </a:lnTo>
                <a:lnTo>
                  <a:pt x="4333" y="1293"/>
                </a:lnTo>
                <a:lnTo>
                  <a:pt x="4324" y="1266"/>
                </a:lnTo>
                <a:lnTo>
                  <a:pt x="4319" y="1247"/>
                </a:lnTo>
                <a:lnTo>
                  <a:pt x="4319" y="1247"/>
                </a:lnTo>
                <a:lnTo>
                  <a:pt x="4314" y="1236"/>
                </a:lnTo>
                <a:lnTo>
                  <a:pt x="4308" y="1225"/>
                </a:lnTo>
                <a:lnTo>
                  <a:pt x="4301" y="1202"/>
                </a:lnTo>
                <a:lnTo>
                  <a:pt x="4294" y="1177"/>
                </a:lnTo>
                <a:lnTo>
                  <a:pt x="4289" y="1154"/>
                </a:lnTo>
                <a:lnTo>
                  <a:pt x="4289" y="1154"/>
                </a:lnTo>
                <a:lnTo>
                  <a:pt x="4287" y="1149"/>
                </a:lnTo>
                <a:lnTo>
                  <a:pt x="4283" y="1144"/>
                </a:lnTo>
                <a:lnTo>
                  <a:pt x="4283" y="1144"/>
                </a:lnTo>
                <a:lnTo>
                  <a:pt x="4290" y="1160"/>
                </a:lnTo>
                <a:lnTo>
                  <a:pt x="4301" y="1176"/>
                </a:lnTo>
                <a:lnTo>
                  <a:pt x="4310" y="1190"/>
                </a:lnTo>
                <a:lnTo>
                  <a:pt x="4319" y="1206"/>
                </a:lnTo>
                <a:lnTo>
                  <a:pt x="4319" y="1206"/>
                </a:lnTo>
                <a:lnTo>
                  <a:pt x="4328" y="1220"/>
                </a:lnTo>
                <a:lnTo>
                  <a:pt x="4333" y="1229"/>
                </a:lnTo>
                <a:lnTo>
                  <a:pt x="4339" y="1236"/>
                </a:lnTo>
                <a:lnTo>
                  <a:pt x="4339" y="1236"/>
                </a:lnTo>
                <a:lnTo>
                  <a:pt x="4296" y="1158"/>
                </a:lnTo>
                <a:lnTo>
                  <a:pt x="4250" y="1081"/>
                </a:lnTo>
                <a:lnTo>
                  <a:pt x="4202" y="1007"/>
                </a:lnTo>
                <a:lnTo>
                  <a:pt x="4150" y="934"/>
                </a:lnTo>
                <a:lnTo>
                  <a:pt x="4150" y="934"/>
                </a:lnTo>
                <a:lnTo>
                  <a:pt x="4134" y="914"/>
                </a:lnTo>
                <a:lnTo>
                  <a:pt x="4114" y="893"/>
                </a:lnTo>
                <a:lnTo>
                  <a:pt x="4114" y="898"/>
                </a:lnTo>
                <a:lnTo>
                  <a:pt x="4109" y="898"/>
                </a:lnTo>
                <a:lnTo>
                  <a:pt x="4109" y="898"/>
                </a:lnTo>
                <a:lnTo>
                  <a:pt x="4113" y="905"/>
                </a:lnTo>
                <a:lnTo>
                  <a:pt x="4120" y="912"/>
                </a:lnTo>
                <a:lnTo>
                  <a:pt x="4129" y="923"/>
                </a:lnTo>
                <a:lnTo>
                  <a:pt x="4129" y="923"/>
                </a:lnTo>
                <a:lnTo>
                  <a:pt x="4139" y="939"/>
                </a:lnTo>
                <a:lnTo>
                  <a:pt x="4150" y="955"/>
                </a:lnTo>
                <a:lnTo>
                  <a:pt x="4150" y="975"/>
                </a:lnTo>
                <a:lnTo>
                  <a:pt x="4164" y="1001"/>
                </a:lnTo>
                <a:lnTo>
                  <a:pt x="4164" y="1001"/>
                </a:lnTo>
                <a:lnTo>
                  <a:pt x="4173" y="1010"/>
                </a:lnTo>
                <a:lnTo>
                  <a:pt x="4180" y="1017"/>
                </a:lnTo>
                <a:lnTo>
                  <a:pt x="4186" y="1024"/>
                </a:lnTo>
                <a:lnTo>
                  <a:pt x="4191" y="1032"/>
                </a:lnTo>
                <a:lnTo>
                  <a:pt x="4210" y="1062"/>
                </a:lnTo>
                <a:lnTo>
                  <a:pt x="4216" y="1083"/>
                </a:lnTo>
                <a:lnTo>
                  <a:pt x="4226" y="1092"/>
                </a:lnTo>
                <a:lnTo>
                  <a:pt x="4226" y="1092"/>
                </a:lnTo>
                <a:lnTo>
                  <a:pt x="4241" y="1120"/>
                </a:lnTo>
                <a:lnTo>
                  <a:pt x="4248" y="1133"/>
                </a:lnTo>
                <a:lnTo>
                  <a:pt x="4251" y="1144"/>
                </a:lnTo>
                <a:lnTo>
                  <a:pt x="4262" y="1160"/>
                </a:lnTo>
                <a:lnTo>
                  <a:pt x="4273" y="1179"/>
                </a:lnTo>
                <a:lnTo>
                  <a:pt x="4289" y="1200"/>
                </a:lnTo>
                <a:lnTo>
                  <a:pt x="4292" y="1216"/>
                </a:lnTo>
                <a:lnTo>
                  <a:pt x="4308" y="1247"/>
                </a:lnTo>
                <a:lnTo>
                  <a:pt x="4308" y="1272"/>
                </a:lnTo>
                <a:lnTo>
                  <a:pt x="4314" y="1293"/>
                </a:lnTo>
                <a:lnTo>
                  <a:pt x="4319" y="1313"/>
                </a:lnTo>
                <a:lnTo>
                  <a:pt x="4330" y="1318"/>
                </a:lnTo>
                <a:lnTo>
                  <a:pt x="4330" y="1304"/>
                </a:lnTo>
                <a:lnTo>
                  <a:pt x="4330" y="1304"/>
                </a:lnTo>
                <a:close/>
                <a:moveTo>
                  <a:pt x="4251" y="1092"/>
                </a:moveTo>
                <a:lnTo>
                  <a:pt x="4251" y="1092"/>
                </a:lnTo>
                <a:lnTo>
                  <a:pt x="4251" y="1088"/>
                </a:lnTo>
                <a:lnTo>
                  <a:pt x="4250" y="1085"/>
                </a:lnTo>
                <a:lnTo>
                  <a:pt x="4248" y="1081"/>
                </a:lnTo>
                <a:lnTo>
                  <a:pt x="4248" y="1078"/>
                </a:lnTo>
                <a:lnTo>
                  <a:pt x="4257" y="1097"/>
                </a:lnTo>
                <a:lnTo>
                  <a:pt x="4251" y="1092"/>
                </a:lnTo>
                <a:close/>
                <a:moveTo>
                  <a:pt x="4267" y="1119"/>
                </a:moveTo>
                <a:lnTo>
                  <a:pt x="4267" y="1119"/>
                </a:lnTo>
                <a:lnTo>
                  <a:pt x="4274" y="1129"/>
                </a:lnTo>
                <a:lnTo>
                  <a:pt x="4276" y="1135"/>
                </a:lnTo>
                <a:lnTo>
                  <a:pt x="4278" y="1138"/>
                </a:lnTo>
                <a:lnTo>
                  <a:pt x="4278" y="1138"/>
                </a:lnTo>
                <a:lnTo>
                  <a:pt x="4276" y="1135"/>
                </a:lnTo>
                <a:lnTo>
                  <a:pt x="4274" y="1131"/>
                </a:lnTo>
                <a:lnTo>
                  <a:pt x="4267" y="1119"/>
                </a:lnTo>
                <a:lnTo>
                  <a:pt x="4267" y="1119"/>
                </a:lnTo>
                <a:close/>
              </a:path>
            </a:pathLst>
          </a:custGeom>
          <a:solidFill>
            <a:srgbClr val="1F497D">
              <a:lumMod val="20000"/>
              <a:lumOff val="80000"/>
            </a:srgbClr>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cxnSp>
        <p:nvCxnSpPr>
          <p:cNvPr id="26" name="Straight Connector 25"/>
          <p:cNvCxnSpPr/>
          <p:nvPr/>
        </p:nvCxnSpPr>
        <p:spPr>
          <a:xfrm flipH="1" flipV="1">
            <a:off x="4980797" y="3502115"/>
            <a:ext cx="1021022" cy="628725"/>
          </a:xfrm>
          <a:prstGeom prst="line">
            <a:avLst/>
          </a:prstGeom>
          <a:noFill/>
          <a:ln w="12700" cap="flat" cmpd="sng" algn="ctr">
            <a:solidFill>
              <a:schemeClr val="accent2"/>
            </a:solidFill>
            <a:prstDash val="sysDash"/>
          </a:ln>
          <a:effectLst/>
        </p:spPr>
      </p:cxnSp>
      <p:cxnSp>
        <p:nvCxnSpPr>
          <p:cNvPr id="27" name="Straight Connector 26"/>
          <p:cNvCxnSpPr/>
          <p:nvPr/>
        </p:nvCxnSpPr>
        <p:spPr>
          <a:xfrm flipH="1">
            <a:off x="4980796" y="3053904"/>
            <a:ext cx="640220" cy="448213"/>
          </a:xfrm>
          <a:prstGeom prst="line">
            <a:avLst/>
          </a:prstGeom>
          <a:noFill/>
          <a:ln w="12700" cap="flat" cmpd="sng" algn="ctr">
            <a:solidFill>
              <a:schemeClr val="accent2"/>
            </a:solidFill>
            <a:prstDash val="sysDash"/>
          </a:ln>
          <a:effectLst/>
        </p:spPr>
      </p:cxnSp>
      <p:grpSp>
        <p:nvGrpSpPr>
          <p:cNvPr id="28" name="Group 27"/>
          <p:cNvGrpSpPr/>
          <p:nvPr/>
        </p:nvGrpSpPr>
        <p:grpSpPr>
          <a:xfrm>
            <a:off x="5757724" y="3532879"/>
            <a:ext cx="174833" cy="178673"/>
            <a:chOff x="9041773" y="4236370"/>
            <a:chExt cx="429206" cy="429205"/>
          </a:xfrm>
        </p:grpSpPr>
        <p:sp>
          <p:nvSpPr>
            <p:cNvPr id="29" name="Oval 28"/>
            <p:cNvSpPr/>
            <p:nvPr/>
          </p:nvSpPr>
          <p:spPr>
            <a:xfrm>
              <a:off x="9041773" y="4236370"/>
              <a:ext cx="429206" cy="429205"/>
            </a:xfrm>
            <a:prstGeom prst="ellipse">
              <a:avLst/>
            </a:prstGeom>
            <a:solidFill>
              <a:srgbClr val="D71F13"/>
            </a:solidFill>
            <a:ln w="25400" cap="flat" cmpd="sng" algn="ctr">
              <a:solidFill>
                <a:srgbClr val="FFFFFF"/>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30" name="Freeform 29"/>
            <p:cNvSpPr>
              <a:spLocks noEditPoints="1"/>
            </p:cNvSpPr>
            <p:nvPr/>
          </p:nvSpPr>
          <p:spPr bwMode="auto">
            <a:xfrm rot="212959">
              <a:off x="9142935" y="4345962"/>
              <a:ext cx="232022" cy="183786"/>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31" name="Group 30"/>
          <p:cNvGrpSpPr/>
          <p:nvPr/>
        </p:nvGrpSpPr>
        <p:grpSpPr>
          <a:xfrm>
            <a:off x="5921007" y="4050228"/>
            <a:ext cx="135914" cy="138901"/>
            <a:chOff x="6171415" y="2330238"/>
            <a:chExt cx="673457" cy="673457"/>
          </a:xfrm>
        </p:grpSpPr>
        <p:sp>
          <p:nvSpPr>
            <p:cNvPr id="32" name="Oval 31"/>
            <p:cNvSpPr/>
            <p:nvPr/>
          </p:nvSpPr>
          <p:spPr>
            <a:xfrm>
              <a:off x="6171415" y="2330238"/>
              <a:ext cx="673457" cy="673457"/>
            </a:xfrm>
            <a:prstGeom prst="ellipse">
              <a:avLst/>
            </a:prstGeom>
            <a:solidFill>
              <a:srgbClr val="214794"/>
            </a:solidFill>
            <a:ln w="254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33" name="Group 32"/>
            <p:cNvGrpSpPr/>
            <p:nvPr/>
          </p:nvGrpSpPr>
          <p:grpSpPr>
            <a:xfrm>
              <a:off x="6264557" y="2550606"/>
              <a:ext cx="483738" cy="260476"/>
              <a:chOff x="2701925" y="1518496"/>
              <a:chExt cx="1506538" cy="811213"/>
            </a:xfrm>
            <a:solidFill>
              <a:srgbClr val="2462B2"/>
            </a:solidFill>
          </p:grpSpPr>
          <p:sp>
            <p:nvSpPr>
              <p:cNvPr id="34"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5"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6"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7"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8"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9"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40"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cxnSp>
        <p:nvCxnSpPr>
          <p:cNvPr id="41" name="Straight Connector 40"/>
          <p:cNvCxnSpPr>
            <a:stCxn id="53" idx="4"/>
          </p:cNvCxnSpPr>
          <p:nvPr/>
        </p:nvCxnSpPr>
        <p:spPr>
          <a:xfrm flipH="1">
            <a:off x="4980797" y="3215698"/>
            <a:ext cx="714234" cy="286418"/>
          </a:xfrm>
          <a:prstGeom prst="line">
            <a:avLst/>
          </a:prstGeom>
          <a:noFill/>
          <a:ln w="12700" cap="flat" cmpd="sng" algn="ctr">
            <a:solidFill>
              <a:schemeClr val="accent2"/>
            </a:solidFill>
            <a:prstDash val="sysDash"/>
          </a:ln>
          <a:effectLst/>
        </p:spPr>
      </p:cxnSp>
      <p:cxnSp>
        <p:nvCxnSpPr>
          <p:cNvPr id="42" name="Straight Connector 41"/>
          <p:cNvCxnSpPr>
            <a:stCxn id="85" idx="0"/>
          </p:cNvCxnSpPr>
          <p:nvPr/>
        </p:nvCxnSpPr>
        <p:spPr>
          <a:xfrm flipH="1">
            <a:off x="4980797" y="3329411"/>
            <a:ext cx="953803" cy="172705"/>
          </a:xfrm>
          <a:prstGeom prst="line">
            <a:avLst/>
          </a:prstGeom>
          <a:noFill/>
          <a:ln w="12700" cap="flat" cmpd="sng" algn="ctr">
            <a:solidFill>
              <a:schemeClr val="accent2"/>
            </a:solidFill>
            <a:prstDash val="sysDash"/>
          </a:ln>
          <a:effectLst/>
        </p:spPr>
      </p:cxnSp>
      <p:cxnSp>
        <p:nvCxnSpPr>
          <p:cNvPr id="43" name="Straight Connector 42"/>
          <p:cNvCxnSpPr>
            <a:stCxn id="63" idx="4"/>
          </p:cNvCxnSpPr>
          <p:nvPr/>
        </p:nvCxnSpPr>
        <p:spPr>
          <a:xfrm flipH="1" flipV="1">
            <a:off x="4980797" y="3502115"/>
            <a:ext cx="1176841" cy="350037"/>
          </a:xfrm>
          <a:prstGeom prst="line">
            <a:avLst/>
          </a:prstGeom>
          <a:noFill/>
          <a:ln w="12700" cap="flat" cmpd="sng" algn="ctr">
            <a:solidFill>
              <a:schemeClr val="accent2"/>
            </a:solidFill>
            <a:prstDash val="sysDash"/>
          </a:ln>
          <a:effectLst/>
        </p:spPr>
      </p:cxnSp>
      <p:grpSp>
        <p:nvGrpSpPr>
          <p:cNvPr id="44" name="Group 43"/>
          <p:cNvGrpSpPr/>
          <p:nvPr/>
        </p:nvGrpSpPr>
        <p:grpSpPr>
          <a:xfrm>
            <a:off x="5620797" y="3156124"/>
            <a:ext cx="123559" cy="126274"/>
            <a:chOff x="6171415" y="2330238"/>
            <a:chExt cx="673457" cy="673457"/>
          </a:xfrm>
        </p:grpSpPr>
        <p:sp>
          <p:nvSpPr>
            <p:cNvPr id="45" name="Oval 44"/>
            <p:cNvSpPr/>
            <p:nvPr/>
          </p:nvSpPr>
          <p:spPr>
            <a:xfrm>
              <a:off x="6171415" y="2330238"/>
              <a:ext cx="673457" cy="673457"/>
            </a:xfrm>
            <a:prstGeom prst="ellipse">
              <a:avLst/>
            </a:prstGeom>
            <a:solidFill>
              <a:srgbClr val="214794"/>
            </a:solidFill>
            <a:ln w="254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46" name="Group 45"/>
            <p:cNvGrpSpPr/>
            <p:nvPr/>
          </p:nvGrpSpPr>
          <p:grpSpPr>
            <a:xfrm>
              <a:off x="6264557" y="2550606"/>
              <a:ext cx="483738" cy="260476"/>
              <a:chOff x="2701925" y="1518496"/>
              <a:chExt cx="1506538" cy="811213"/>
            </a:xfrm>
            <a:solidFill>
              <a:srgbClr val="2462B2"/>
            </a:solidFill>
          </p:grpSpPr>
          <p:sp>
            <p:nvSpPr>
              <p:cNvPr id="47"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48"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49"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0"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1"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2"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3"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grpSp>
        <p:nvGrpSpPr>
          <p:cNvPr id="54" name="Group 53"/>
          <p:cNvGrpSpPr/>
          <p:nvPr/>
        </p:nvGrpSpPr>
        <p:grpSpPr>
          <a:xfrm>
            <a:off x="6083403" y="3792579"/>
            <a:ext cx="123559" cy="126274"/>
            <a:chOff x="6171415" y="2330238"/>
            <a:chExt cx="673457" cy="673457"/>
          </a:xfrm>
        </p:grpSpPr>
        <p:sp>
          <p:nvSpPr>
            <p:cNvPr id="55" name="Oval 54"/>
            <p:cNvSpPr/>
            <p:nvPr/>
          </p:nvSpPr>
          <p:spPr>
            <a:xfrm>
              <a:off x="6171415" y="2330238"/>
              <a:ext cx="673457" cy="673457"/>
            </a:xfrm>
            <a:prstGeom prst="ellipse">
              <a:avLst/>
            </a:prstGeom>
            <a:solidFill>
              <a:srgbClr val="214794"/>
            </a:solidFill>
            <a:ln w="254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56" name="Group 55"/>
            <p:cNvGrpSpPr/>
            <p:nvPr/>
          </p:nvGrpSpPr>
          <p:grpSpPr>
            <a:xfrm>
              <a:off x="6264557" y="2550606"/>
              <a:ext cx="483738" cy="260476"/>
              <a:chOff x="2701925" y="1518496"/>
              <a:chExt cx="1506538" cy="811213"/>
            </a:xfrm>
            <a:solidFill>
              <a:srgbClr val="2462B2"/>
            </a:solidFill>
          </p:grpSpPr>
          <p:sp>
            <p:nvSpPr>
              <p:cNvPr id="57"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8"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59"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0"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1"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2"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3"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grpSp>
        <p:nvGrpSpPr>
          <p:cNvPr id="64" name="Group 63"/>
          <p:cNvGrpSpPr/>
          <p:nvPr/>
        </p:nvGrpSpPr>
        <p:grpSpPr>
          <a:xfrm>
            <a:off x="5542659" y="2995508"/>
            <a:ext cx="123559" cy="126274"/>
            <a:chOff x="6171415" y="2330238"/>
            <a:chExt cx="673457" cy="673457"/>
          </a:xfrm>
        </p:grpSpPr>
        <p:sp>
          <p:nvSpPr>
            <p:cNvPr id="65" name="Oval 64"/>
            <p:cNvSpPr/>
            <p:nvPr/>
          </p:nvSpPr>
          <p:spPr>
            <a:xfrm>
              <a:off x="6171415" y="2330238"/>
              <a:ext cx="673457" cy="673457"/>
            </a:xfrm>
            <a:prstGeom prst="ellipse">
              <a:avLst/>
            </a:prstGeom>
            <a:solidFill>
              <a:srgbClr val="214794"/>
            </a:solidFill>
            <a:ln w="254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66" name="Group 65"/>
            <p:cNvGrpSpPr/>
            <p:nvPr/>
          </p:nvGrpSpPr>
          <p:grpSpPr>
            <a:xfrm>
              <a:off x="6264557" y="2550606"/>
              <a:ext cx="483738" cy="260476"/>
              <a:chOff x="2701925" y="1518496"/>
              <a:chExt cx="1506538" cy="811213"/>
            </a:xfrm>
            <a:solidFill>
              <a:srgbClr val="2462B2"/>
            </a:solidFill>
          </p:grpSpPr>
          <p:sp>
            <p:nvSpPr>
              <p:cNvPr id="67"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8"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69"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70"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71"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72"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73"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grpSp>
        <p:nvGrpSpPr>
          <p:cNvPr id="4" name="Group 3"/>
          <p:cNvGrpSpPr/>
          <p:nvPr/>
        </p:nvGrpSpPr>
        <p:grpSpPr>
          <a:xfrm>
            <a:off x="5939803" y="3111237"/>
            <a:ext cx="1339507" cy="399706"/>
            <a:chOff x="7951159" y="4357162"/>
            <a:chExt cx="1277947" cy="532940"/>
          </a:xfrm>
        </p:grpSpPr>
        <p:sp>
          <p:nvSpPr>
            <p:cNvPr id="74" name="Rectangle 73"/>
            <p:cNvSpPr/>
            <p:nvPr/>
          </p:nvSpPr>
          <p:spPr>
            <a:xfrm>
              <a:off x="7951159" y="4482299"/>
              <a:ext cx="1277947" cy="407803"/>
            </a:xfrm>
            <a:prstGeom prst="rect">
              <a:avLst/>
            </a:prstGeom>
            <a:solidFill>
              <a:srgbClr val="FFFFFF">
                <a:alpha val="74902"/>
              </a:srgbClr>
            </a:solidFill>
            <a:ln>
              <a:solidFill>
                <a:srgbClr val="2462B2"/>
              </a:solidFill>
            </a:ln>
          </p:spPr>
          <p:txBody>
            <a:bodyPr wrap="square" anchor="t">
              <a:spAutoFit/>
            </a:bodyPr>
            <a:lstStyle/>
            <a:p>
              <a:pPr marL="128588" indent="-128588" defTabSz="801221" fontAlgn="auto">
                <a:spcBef>
                  <a:spcPts val="0"/>
                </a:spcBef>
                <a:spcAft>
                  <a:spcPts val="225"/>
                </a:spcAft>
                <a:buClr>
                  <a:srgbClr val="2462B2"/>
                </a:buClr>
                <a:buSzPct val="150000"/>
                <a:buFont typeface="Arial" panose="020B0604020202020204" pitchFamily="34" charset="0"/>
                <a:buChar char="•"/>
                <a:defRPr/>
              </a:pPr>
              <a:r>
                <a:rPr lang="ja-JP" altLang="en-US" sz="600" kern="0" dirty="0" smtClean="0">
                  <a:solidFill>
                    <a:srgbClr val="676767">
                      <a:lumMod val="75000"/>
                    </a:srgbClr>
                  </a:solidFill>
                  <a:latin typeface="メイリオ"/>
                  <a:ea typeface="メイリオ"/>
                  <a:cs typeface="メイリオ"/>
                </a:rPr>
                <a:t>オフラインインポート</a:t>
              </a:r>
            </a:p>
            <a:p>
              <a:pPr marL="128588" indent="-128588" defTabSz="801221" fontAlgn="auto">
                <a:spcBef>
                  <a:spcPts val="0"/>
                </a:spcBef>
                <a:spcAft>
                  <a:spcPts val="225"/>
                </a:spcAft>
                <a:buClr>
                  <a:srgbClr val="2462B2"/>
                </a:buClr>
                <a:buSzPct val="150000"/>
                <a:buFont typeface="Arial" panose="020B0604020202020204" pitchFamily="34" charset="0"/>
                <a:buChar char="•"/>
                <a:defRPr/>
              </a:pPr>
              <a:r>
                <a:rPr lang="ja-JP" altLang="en-US" sz="600" kern="0" dirty="0" smtClean="0">
                  <a:solidFill>
                    <a:srgbClr val="676767">
                      <a:lumMod val="75000"/>
                    </a:srgbClr>
                  </a:solidFill>
                  <a:latin typeface="メイリオ"/>
                  <a:ea typeface="メイリオ"/>
                  <a:cs typeface="メイリオ"/>
                </a:rPr>
                <a:t>直接デバイスから検出</a:t>
              </a:r>
              <a:endParaRPr lang="en-US" altLang="ja-JP" sz="600" kern="0" dirty="0" smtClean="0">
                <a:solidFill>
                  <a:srgbClr val="676767">
                    <a:lumMod val="75000"/>
                  </a:srgbClr>
                </a:solidFill>
                <a:latin typeface="メイリオ"/>
                <a:ea typeface="メイリオ"/>
                <a:cs typeface="メイリオ"/>
              </a:endParaRPr>
            </a:p>
          </p:txBody>
        </p:sp>
        <p:sp>
          <p:nvSpPr>
            <p:cNvPr id="75" name="Rectangle 74"/>
            <p:cNvSpPr/>
            <p:nvPr/>
          </p:nvSpPr>
          <p:spPr>
            <a:xfrm>
              <a:off x="7951159" y="4357162"/>
              <a:ext cx="1277947" cy="142617"/>
            </a:xfrm>
            <a:prstGeom prst="rect">
              <a:avLst/>
            </a:prstGeom>
            <a:solidFill>
              <a:srgbClr val="2462B2"/>
            </a:solidFill>
            <a:ln>
              <a:solidFill>
                <a:srgbClr val="2462B2"/>
              </a:solidFill>
            </a:ln>
          </p:spPr>
          <p:txBody>
            <a:bodyPr wrap="square" lIns="182880" tIns="0" rIns="45720" bIns="9144" anchor="ctr">
              <a:noAutofit/>
            </a:bodyPr>
            <a:lstStyle/>
            <a:p>
              <a:pPr defTabSz="801221" fontAlgn="auto">
                <a:spcBef>
                  <a:spcPts val="0"/>
                </a:spcBef>
                <a:spcAft>
                  <a:spcPts val="0"/>
                </a:spcAft>
                <a:defRPr/>
              </a:pPr>
              <a:r>
                <a:rPr lang="ja-JP" altLang="en-US" sz="600" kern="0" dirty="0" smtClean="0">
                  <a:solidFill>
                    <a:prstClr val="white"/>
                  </a:solidFill>
                  <a:latin typeface="メイリオ"/>
                  <a:ea typeface="メイリオ"/>
                  <a:cs typeface="メイリオ"/>
                </a:rPr>
                <a:t>デバイスオンボーディング</a:t>
              </a:r>
              <a:endParaRPr lang="en-US" sz="600" kern="0" dirty="0">
                <a:solidFill>
                  <a:prstClr val="white"/>
                </a:solidFill>
                <a:latin typeface="メイリオ"/>
                <a:ea typeface="メイリオ"/>
                <a:cs typeface="メイリオ"/>
              </a:endParaRPr>
            </a:p>
          </p:txBody>
        </p:sp>
      </p:grpSp>
      <p:grpSp>
        <p:nvGrpSpPr>
          <p:cNvPr id="76" name="Group 75"/>
          <p:cNvGrpSpPr/>
          <p:nvPr/>
        </p:nvGrpSpPr>
        <p:grpSpPr>
          <a:xfrm>
            <a:off x="5885803" y="3257411"/>
            <a:ext cx="123559" cy="126274"/>
            <a:chOff x="6171415" y="2330238"/>
            <a:chExt cx="673457" cy="673457"/>
          </a:xfrm>
        </p:grpSpPr>
        <p:sp>
          <p:nvSpPr>
            <p:cNvPr id="77" name="Oval 76"/>
            <p:cNvSpPr/>
            <p:nvPr/>
          </p:nvSpPr>
          <p:spPr>
            <a:xfrm>
              <a:off x="6171415" y="2330238"/>
              <a:ext cx="673457" cy="673457"/>
            </a:xfrm>
            <a:prstGeom prst="ellipse">
              <a:avLst/>
            </a:prstGeom>
            <a:solidFill>
              <a:srgbClr val="214794"/>
            </a:solidFill>
            <a:ln w="254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78" name="Group 77"/>
            <p:cNvGrpSpPr/>
            <p:nvPr/>
          </p:nvGrpSpPr>
          <p:grpSpPr>
            <a:xfrm>
              <a:off x="6264557" y="2550606"/>
              <a:ext cx="483738" cy="260476"/>
              <a:chOff x="2701925" y="1518496"/>
              <a:chExt cx="1506538" cy="811213"/>
            </a:xfrm>
            <a:solidFill>
              <a:srgbClr val="2462B2"/>
            </a:solidFill>
          </p:grpSpPr>
          <p:sp>
            <p:nvSpPr>
              <p:cNvPr id="79"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0"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1"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2"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3"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4"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85"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cxnSp>
        <p:nvCxnSpPr>
          <p:cNvPr id="86" name="Straight Connector 85"/>
          <p:cNvCxnSpPr>
            <a:stCxn id="92" idx="46"/>
          </p:cNvCxnSpPr>
          <p:nvPr/>
        </p:nvCxnSpPr>
        <p:spPr>
          <a:xfrm flipH="1" flipV="1">
            <a:off x="4980797" y="3502116"/>
            <a:ext cx="756032" cy="48331"/>
          </a:xfrm>
          <a:prstGeom prst="line">
            <a:avLst/>
          </a:prstGeom>
          <a:noFill/>
          <a:ln w="12700" cap="flat" cmpd="sng" algn="ctr">
            <a:solidFill>
              <a:schemeClr val="accent2"/>
            </a:solidFill>
            <a:prstDash val="sysDash"/>
          </a:ln>
          <a:effectLst/>
        </p:spPr>
      </p:cxnSp>
      <p:grpSp>
        <p:nvGrpSpPr>
          <p:cNvPr id="87" name="Group 86"/>
          <p:cNvGrpSpPr/>
          <p:nvPr/>
        </p:nvGrpSpPr>
        <p:grpSpPr>
          <a:xfrm>
            <a:off x="5664178" y="3477472"/>
            <a:ext cx="137815" cy="140841"/>
            <a:chOff x="6940978" y="2643782"/>
            <a:chExt cx="338328" cy="338328"/>
          </a:xfrm>
        </p:grpSpPr>
        <p:sp>
          <p:nvSpPr>
            <p:cNvPr id="88" name="Oval 87"/>
            <p:cNvSpPr/>
            <p:nvPr/>
          </p:nvSpPr>
          <p:spPr>
            <a:xfrm>
              <a:off x="6940978" y="2643782"/>
              <a:ext cx="338328" cy="338328"/>
            </a:xfrm>
            <a:prstGeom prst="ellipse">
              <a:avLst/>
            </a:prstGeom>
            <a:solidFill>
              <a:srgbClr val="D71F13"/>
            </a:solidFill>
            <a:ln w="25400" cap="flat" cmpd="sng" algn="ctr">
              <a:solidFill>
                <a:srgbClr val="FFFFFF"/>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nvGrpSpPr>
            <p:cNvPr id="89" name="Group 88"/>
            <p:cNvGrpSpPr/>
            <p:nvPr/>
          </p:nvGrpSpPr>
          <p:grpSpPr>
            <a:xfrm>
              <a:off x="6990927" y="2696394"/>
              <a:ext cx="243018" cy="196844"/>
              <a:chOff x="6199837" y="1521232"/>
              <a:chExt cx="156655" cy="126890"/>
            </a:xfrm>
          </p:grpSpPr>
          <p:grpSp>
            <p:nvGrpSpPr>
              <p:cNvPr id="90" name="Group 89"/>
              <p:cNvGrpSpPr/>
              <p:nvPr/>
            </p:nvGrpSpPr>
            <p:grpSpPr>
              <a:xfrm>
                <a:off x="6199837" y="1563769"/>
                <a:ext cx="156655" cy="84353"/>
                <a:chOff x="2701925" y="1518496"/>
                <a:chExt cx="1506538" cy="811213"/>
              </a:xfrm>
              <a:solidFill>
                <a:srgbClr val="2462B2"/>
              </a:solidFill>
            </p:grpSpPr>
            <p:sp>
              <p:nvSpPr>
                <p:cNvPr id="94"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5"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6"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7"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8"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9"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91" name="Group 90"/>
              <p:cNvGrpSpPr/>
              <p:nvPr/>
            </p:nvGrpSpPr>
            <p:grpSpPr>
              <a:xfrm>
                <a:off x="6241982" y="1521232"/>
                <a:ext cx="72367" cy="105773"/>
                <a:chOff x="71438" y="1097809"/>
                <a:chExt cx="1468438" cy="2146300"/>
              </a:xfrm>
              <a:solidFill>
                <a:srgbClr val="FFFFFF"/>
              </a:solidFill>
            </p:grpSpPr>
            <p:sp>
              <p:nvSpPr>
                <p:cNvPr id="92" name="Freeform 34"/>
                <p:cNvSpPr>
                  <a:spLocks/>
                </p:cNvSpPr>
                <p:nvPr/>
              </p:nvSpPr>
              <p:spPr bwMode="auto">
                <a:xfrm>
                  <a:off x="71438" y="1097809"/>
                  <a:ext cx="1171575" cy="2146300"/>
                </a:xfrm>
                <a:custGeom>
                  <a:avLst/>
                  <a:gdLst>
                    <a:gd name="T0" fmla="*/ 1750 w 2953"/>
                    <a:gd name="T1" fmla="*/ 5351 h 5406"/>
                    <a:gd name="T2" fmla="*/ 1429 w 2953"/>
                    <a:gd name="T3" fmla="*/ 5223 h 5406"/>
                    <a:gd name="T4" fmla="*/ 1122 w 2953"/>
                    <a:gd name="T5" fmla="*/ 5071 h 5406"/>
                    <a:gd name="T6" fmla="*/ 828 w 2953"/>
                    <a:gd name="T7" fmla="*/ 4893 h 5406"/>
                    <a:gd name="T8" fmla="*/ 629 w 2953"/>
                    <a:gd name="T9" fmla="*/ 4746 h 5406"/>
                    <a:gd name="T10" fmla="*/ 465 w 2953"/>
                    <a:gd name="T11" fmla="*/ 4597 h 5406"/>
                    <a:gd name="T12" fmla="*/ 317 w 2953"/>
                    <a:gd name="T13" fmla="*/ 4433 h 5406"/>
                    <a:gd name="T14" fmla="*/ 215 w 2953"/>
                    <a:gd name="T15" fmla="*/ 4292 h 5406"/>
                    <a:gd name="T16" fmla="*/ 114 w 2953"/>
                    <a:gd name="T17" fmla="*/ 4109 h 5406"/>
                    <a:gd name="T18" fmla="*/ 44 w 2953"/>
                    <a:gd name="T19" fmla="*/ 3913 h 5406"/>
                    <a:gd name="T20" fmla="*/ 11 w 2953"/>
                    <a:gd name="T21" fmla="*/ 3748 h 5406"/>
                    <a:gd name="T22" fmla="*/ 0 w 2953"/>
                    <a:gd name="T23" fmla="*/ 3556 h 5406"/>
                    <a:gd name="T24" fmla="*/ 18 w 2953"/>
                    <a:gd name="T25" fmla="*/ 3366 h 5406"/>
                    <a:gd name="T26" fmla="*/ 62 w 2953"/>
                    <a:gd name="T27" fmla="*/ 3179 h 5406"/>
                    <a:gd name="T28" fmla="*/ 148 w 2953"/>
                    <a:gd name="T29" fmla="*/ 2947 h 5406"/>
                    <a:gd name="T30" fmla="*/ 313 w 2953"/>
                    <a:gd name="T31" fmla="*/ 2640 h 5406"/>
                    <a:gd name="T32" fmla="*/ 453 w 2953"/>
                    <a:gd name="T33" fmla="*/ 2437 h 5406"/>
                    <a:gd name="T34" fmla="*/ 606 w 2953"/>
                    <a:gd name="T35" fmla="*/ 2245 h 5406"/>
                    <a:gd name="T36" fmla="*/ 777 w 2953"/>
                    <a:gd name="T37" fmla="*/ 2067 h 5406"/>
                    <a:gd name="T38" fmla="*/ 977 w 2953"/>
                    <a:gd name="T39" fmla="*/ 1839 h 5406"/>
                    <a:gd name="T40" fmla="*/ 1161 w 2953"/>
                    <a:gd name="T41" fmla="*/ 1597 h 5406"/>
                    <a:gd name="T42" fmla="*/ 1322 w 2953"/>
                    <a:gd name="T43" fmla="*/ 1342 h 5406"/>
                    <a:gd name="T44" fmla="*/ 1443 w 2953"/>
                    <a:gd name="T45" fmla="*/ 1107 h 5406"/>
                    <a:gd name="T46" fmla="*/ 1514 w 2953"/>
                    <a:gd name="T47" fmla="*/ 920 h 5406"/>
                    <a:gd name="T48" fmla="*/ 1564 w 2953"/>
                    <a:gd name="T49" fmla="*/ 724 h 5406"/>
                    <a:gd name="T50" fmla="*/ 1585 w 2953"/>
                    <a:gd name="T51" fmla="*/ 578 h 5406"/>
                    <a:gd name="T52" fmla="*/ 1585 w 2953"/>
                    <a:gd name="T53" fmla="*/ 405 h 5406"/>
                    <a:gd name="T54" fmla="*/ 1551 w 2953"/>
                    <a:gd name="T55" fmla="*/ 233 h 5406"/>
                    <a:gd name="T56" fmla="*/ 1495 w 2953"/>
                    <a:gd name="T57" fmla="*/ 105 h 5406"/>
                    <a:gd name="T58" fmla="*/ 1434 w 2953"/>
                    <a:gd name="T59" fmla="*/ 6 h 5406"/>
                    <a:gd name="T60" fmla="*/ 1490 w 2953"/>
                    <a:gd name="T61" fmla="*/ 27 h 5406"/>
                    <a:gd name="T62" fmla="*/ 1828 w 2953"/>
                    <a:gd name="T63" fmla="*/ 216 h 5406"/>
                    <a:gd name="T64" fmla="*/ 2138 w 2953"/>
                    <a:gd name="T65" fmla="*/ 444 h 5406"/>
                    <a:gd name="T66" fmla="*/ 2416 w 2953"/>
                    <a:gd name="T67" fmla="*/ 711 h 5406"/>
                    <a:gd name="T68" fmla="*/ 2579 w 2953"/>
                    <a:gd name="T69" fmla="*/ 910 h 5406"/>
                    <a:gd name="T70" fmla="*/ 2735 w 2953"/>
                    <a:gd name="T71" fmla="*/ 1159 h 5406"/>
                    <a:gd name="T72" fmla="*/ 2852 w 2953"/>
                    <a:gd name="T73" fmla="*/ 1428 h 5406"/>
                    <a:gd name="T74" fmla="*/ 2917 w 2953"/>
                    <a:gd name="T75" fmla="*/ 1666 h 5406"/>
                    <a:gd name="T76" fmla="*/ 2953 w 2953"/>
                    <a:gd name="T77" fmla="*/ 1997 h 5406"/>
                    <a:gd name="T78" fmla="*/ 2941 w 2953"/>
                    <a:gd name="T79" fmla="*/ 2257 h 5406"/>
                    <a:gd name="T80" fmla="*/ 2887 w 2953"/>
                    <a:gd name="T81" fmla="*/ 2564 h 5406"/>
                    <a:gd name="T82" fmla="*/ 2793 w 2953"/>
                    <a:gd name="T83" fmla="*/ 2862 h 5406"/>
                    <a:gd name="T84" fmla="*/ 2694 w 2953"/>
                    <a:gd name="T85" fmla="*/ 3094 h 5406"/>
                    <a:gd name="T86" fmla="*/ 2572 w 2953"/>
                    <a:gd name="T87" fmla="*/ 3334 h 5406"/>
                    <a:gd name="T88" fmla="*/ 2431 w 2953"/>
                    <a:gd name="T89" fmla="*/ 3561 h 5406"/>
                    <a:gd name="T90" fmla="*/ 2239 w 2953"/>
                    <a:gd name="T91" fmla="*/ 3820 h 5406"/>
                    <a:gd name="T92" fmla="*/ 2078 w 2953"/>
                    <a:gd name="T93" fmla="*/ 4042 h 5406"/>
                    <a:gd name="T94" fmla="*/ 1946 w 2953"/>
                    <a:gd name="T95" fmla="*/ 4283 h 5406"/>
                    <a:gd name="T96" fmla="*/ 1870 w 2953"/>
                    <a:gd name="T97" fmla="*/ 4488 h 5406"/>
                    <a:gd name="T98" fmla="*/ 1828 w 2953"/>
                    <a:gd name="T99" fmla="*/ 4701 h 5406"/>
                    <a:gd name="T100" fmla="*/ 1821 w 2953"/>
                    <a:gd name="T101" fmla="*/ 4918 h 5406"/>
                    <a:gd name="T102" fmla="*/ 1841 w 2953"/>
                    <a:gd name="T103" fmla="*/ 5120 h 5406"/>
                    <a:gd name="T104" fmla="*/ 1906 w 2953"/>
                    <a:gd name="T105" fmla="*/ 5378 h 5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3" h="5406">
                      <a:moveTo>
                        <a:pt x="1914" y="5406"/>
                      </a:moveTo>
                      <a:lnTo>
                        <a:pt x="1914" y="5406"/>
                      </a:lnTo>
                      <a:lnTo>
                        <a:pt x="1830" y="5378"/>
                      </a:lnTo>
                      <a:lnTo>
                        <a:pt x="1750" y="5351"/>
                      </a:lnTo>
                      <a:lnTo>
                        <a:pt x="1750" y="5351"/>
                      </a:lnTo>
                      <a:lnTo>
                        <a:pt x="1684" y="5327"/>
                      </a:lnTo>
                      <a:lnTo>
                        <a:pt x="1620" y="5302"/>
                      </a:lnTo>
                      <a:lnTo>
                        <a:pt x="1557" y="5277"/>
                      </a:lnTo>
                      <a:lnTo>
                        <a:pt x="1492" y="5250"/>
                      </a:lnTo>
                      <a:lnTo>
                        <a:pt x="1429" y="5223"/>
                      </a:lnTo>
                      <a:lnTo>
                        <a:pt x="1367" y="5195"/>
                      </a:lnTo>
                      <a:lnTo>
                        <a:pt x="1305" y="5166"/>
                      </a:lnTo>
                      <a:lnTo>
                        <a:pt x="1243" y="5136"/>
                      </a:lnTo>
                      <a:lnTo>
                        <a:pt x="1182" y="5104"/>
                      </a:lnTo>
                      <a:lnTo>
                        <a:pt x="1122" y="5071"/>
                      </a:lnTo>
                      <a:lnTo>
                        <a:pt x="1062" y="5039"/>
                      </a:lnTo>
                      <a:lnTo>
                        <a:pt x="1003" y="5003"/>
                      </a:lnTo>
                      <a:lnTo>
                        <a:pt x="944" y="4968"/>
                      </a:lnTo>
                      <a:lnTo>
                        <a:pt x="886" y="4930"/>
                      </a:lnTo>
                      <a:lnTo>
                        <a:pt x="828" y="4893"/>
                      </a:lnTo>
                      <a:lnTo>
                        <a:pt x="772" y="4853"/>
                      </a:lnTo>
                      <a:lnTo>
                        <a:pt x="772" y="4853"/>
                      </a:lnTo>
                      <a:lnTo>
                        <a:pt x="700" y="4800"/>
                      </a:lnTo>
                      <a:lnTo>
                        <a:pt x="665" y="4772"/>
                      </a:lnTo>
                      <a:lnTo>
                        <a:pt x="629" y="4746"/>
                      </a:lnTo>
                      <a:lnTo>
                        <a:pt x="595" y="4717"/>
                      </a:lnTo>
                      <a:lnTo>
                        <a:pt x="563" y="4689"/>
                      </a:lnTo>
                      <a:lnTo>
                        <a:pt x="530" y="4658"/>
                      </a:lnTo>
                      <a:lnTo>
                        <a:pt x="497" y="4629"/>
                      </a:lnTo>
                      <a:lnTo>
                        <a:pt x="465" y="4597"/>
                      </a:lnTo>
                      <a:lnTo>
                        <a:pt x="434" y="4567"/>
                      </a:lnTo>
                      <a:lnTo>
                        <a:pt x="403" y="4534"/>
                      </a:lnTo>
                      <a:lnTo>
                        <a:pt x="374" y="4501"/>
                      </a:lnTo>
                      <a:lnTo>
                        <a:pt x="345" y="4469"/>
                      </a:lnTo>
                      <a:lnTo>
                        <a:pt x="317" y="4433"/>
                      </a:lnTo>
                      <a:lnTo>
                        <a:pt x="289" y="4398"/>
                      </a:lnTo>
                      <a:lnTo>
                        <a:pt x="262" y="4363"/>
                      </a:lnTo>
                      <a:lnTo>
                        <a:pt x="262" y="4363"/>
                      </a:lnTo>
                      <a:lnTo>
                        <a:pt x="238" y="4328"/>
                      </a:lnTo>
                      <a:lnTo>
                        <a:pt x="215" y="4292"/>
                      </a:lnTo>
                      <a:lnTo>
                        <a:pt x="192" y="4257"/>
                      </a:lnTo>
                      <a:lnTo>
                        <a:pt x="171" y="4221"/>
                      </a:lnTo>
                      <a:lnTo>
                        <a:pt x="151" y="4184"/>
                      </a:lnTo>
                      <a:lnTo>
                        <a:pt x="132" y="4147"/>
                      </a:lnTo>
                      <a:lnTo>
                        <a:pt x="114" y="4109"/>
                      </a:lnTo>
                      <a:lnTo>
                        <a:pt x="97" y="4071"/>
                      </a:lnTo>
                      <a:lnTo>
                        <a:pt x="83" y="4032"/>
                      </a:lnTo>
                      <a:lnTo>
                        <a:pt x="68" y="3993"/>
                      </a:lnTo>
                      <a:lnTo>
                        <a:pt x="55" y="3953"/>
                      </a:lnTo>
                      <a:lnTo>
                        <a:pt x="44" y="3913"/>
                      </a:lnTo>
                      <a:lnTo>
                        <a:pt x="33" y="3873"/>
                      </a:lnTo>
                      <a:lnTo>
                        <a:pt x="24" y="3832"/>
                      </a:lnTo>
                      <a:lnTo>
                        <a:pt x="17" y="3791"/>
                      </a:lnTo>
                      <a:lnTo>
                        <a:pt x="11" y="3748"/>
                      </a:lnTo>
                      <a:lnTo>
                        <a:pt x="11" y="3748"/>
                      </a:lnTo>
                      <a:lnTo>
                        <a:pt x="6" y="3709"/>
                      </a:lnTo>
                      <a:lnTo>
                        <a:pt x="2" y="3670"/>
                      </a:lnTo>
                      <a:lnTo>
                        <a:pt x="1" y="3633"/>
                      </a:lnTo>
                      <a:lnTo>
                        <a:pt x="0" y="3594"/>
                      </a:lnTo>
                      <a:lnTo>
                        <a:pt x="0" y="3556"/>
                      </a:lnTo>
                      <a:lnTo>
                        <a:pt x="2" y="3517"/>
                      </a:lnTo>
                      <a:lnTo>
                        <a:pt x="5" y="3479"/>
                      </a:lnTo>
                      <a:lnTo>
                        <a:pt x="8" y="3442"/>
                      </a:lnTo>
                      <a:lnTo>
                        <a:pt x="13" y="3404"/>
                      </a:lnTo>
                      <a:lnTo>
                        <a:pt x="18" y="3366"/>
                      </a:lnTo>
                      <a:lnTo>
                        <a:pt x="25" y="3329"/>
                      </a:lnTo>
                      <a:lnTo>
                        <a:pt x="33" y="3291"/>
                      </a:lnTo>
                      <a:lnTo>
                        <a:pt x="41" y="3253"/>
                      </a:lnTo>
                      <a:lnTo>
                        <a:pt x="51" y="3216"/>
                      </a:lnTo>
                      <a:lnTo>
                        <a:pt x="62" y="3179"/>
                      </a:lnTo>
                      <a:lnTo>
                        <a:pt x="73" y="3142"/>
                      </a:lnTo>
                      <a:lnTo>
                        <a:pt x="73" y="3142"/>
                      </a:lnTo>
                      <a:lnTo>
                        <a:pt x="96" y="3076"/>
                      </a:lnTo>
                      <a:lnTo>
                        <a:pt x="121" y="3010"/>
                      </a:lnTo>
                      <a:lnTo>
                        <a:pt x="148" y="2947"/>
                      </a:lnTo>
                      <a:lnTo>
                        <a:pt x="177" y="2884"/>
                      </a:lnTo>
                      <a:lnTo>
                        <a:pt x="209" y="2822"/>
                      </a:lnTo>
                      <a:lnTo>
                        <a:pt x="242" y="2760"/>
                      </a:lnTo>
                      <a:lnTo>
                        <a:pt x="277" y="2700"/>
                      </a:lnTo>
                      <a:lnTo>
                        <a:pt x="313" y="2640"/>
                      </a:lnTo>
                      <a:lnTo>
                        <a:pt x="313" y="2640"/>
                      </a:lnTo>
                      <a:lnTo>
                        <a:pt x="346" y="2589"/>
                      </a:lnTo>
                      <a:lnTo>
                        <a:pt x="382" y="2538"/>
                      </a:lnTo>
                      <a:lnTo>
                        <a:pt x="417" y="2486"/>
                      </a:lnTo>
                      <a:lnTo>
                        <a:pt x="453" y="2437"/>
                      </a:lnTo>
                      <a:lnTo>
                        <a:pt x="490" y="2388"/>
                      </a:lnTo>
                      <a:lnTo>
                        <a:pt x="529" y="2339"/>
                      </a:lnTo>
                      <a:lnTo>
                        <a:pt x="567" y="2292"/>
                      </a:lnTo>
                      <a:lnTo>
                        <a:pt x="606" y="2245"/>
                      </a:lnTo>
                      <a:lnTo>
                        <a:pt x="606" y="2245"/>
                      </a:lnTo>
                      <a:lnTo>
                        <a:pt x="627" y="2222"/>
                      </a:lnTo>
                      <a:lnTo>
                        <a:pt x="648" y="2200"/>
                      </a:lnTo>
                      <a:lnTo>
                        <a:pt x="691" y="2155"/>
                      </a:lnTo>
                      <a:lnTo>
                        <a:pt x="734" y="2111"/>
                      </a:lnTo>
                      <a:lnTo>
                        <a:pt x="777" y="2067"/>
                      </a:lnTo>
                      <a:lnTo>
                        <a:pt x="777" y="2067"/>
                      </a:lnTo>
                      <a:lnTo>
                        <a:pt x="858" y="1977"/>
                      </a:lnTo>
                      <a:lnTo>
                        <a:pt x="898" y="1931"/>
                      </a:lnTo>
                      <a:lnTo>
                        <a:pt x="938" y="1885"/>
                      </a:lnTo>
                      <a:lnTo>
                        <a:pt x="977" y="1839"/>
                      </a:lnTo>
                      <a:lnTo>
                        <a:pt x="1015" y="1791"/>
                      </a:lnTo>
                      <a:lnTo>
                        <a:pt x="1052" y="1744"/>
                      </a:lnTo>
                      <a:lnTo>
                        <a:pt x="1089" y="1695"/>
                      </a:lnTo>
                      <a:lnTo>
                        <a:pt x="1125" y="1647"/>
                      </a:lnTo>
                      <a:lnTo>
                        <a:pt x="1161" y="1597"/>
                      </a:lnTo>
                      <a:lnTo>
                        <a:pt x="1195" y="1547"/>
                      </a:lnTo>
                      <a:lnTo>
                        <a:pt x="1227" y="1497"/>
                      </a:lnTo>
                      <a:lnTo>
                        <a:pt x="1260" y="1446"/>
                      </a:lnTo>
                      <a:lnTo>
                        <a:pt x="1292" y="1394"/>
                      </a:lnTo>
                      <a:lnTo>
                        <a:pt x="1322" y="1342"/>
                      </a:lnTo>
                      <a:lnTo>
                        <a:pt x="1353" y="1288"/>
                      </a:lnTo>
                      <a:lnTo>
                        <a:pt x="1353" y="1288"/>
                      </a:lnTo>
                      <a:lnTo>
                        <a:pt x="1390" y="1217"/>
                      </a:lnTo>
                      <a:lnTo>
                        <a:pt x="1426" y="1144"/>
                      </a:lnTo>
                      <a:lnTo>
                        <a:pt x="1443" y="1107"/>
                      </a:lnTo>
                      <a:lnTo>
                        <a:pt x="1458" y="1069"/>
                      </a:lnTo>
                      <a:lnTo>
                        <a:pt x="1473" y="1033"/>
                      </a:lnTo>
                      <a:lnTo>
                        <a:pt x="1488" y="995"/>
                      </a:lnTo>
                      <a:lnTo>
                        <a:pt x="1501" y="958"/>
                      </a:lnTo>
                      <a:lnTo>
                        <a:pt x="1514" y="920"/>
                      </a:lnTo>
                      <a:lnTo>
                        <a:pt x="1526" y="881"/>
                      </a:lnTo>
                      <a:lnTo>
                        <a:pt x="1537" y="842"/>
                      </a:lnTo>
                      <a:lnTo>
                        <a:pt x="1547" y="803"/>
                      </a:lnTo>
                      <a:lnTo>
                        <a:pt x="1557" y="764"/>
                      </a:lnTo>
                      <a:lnTo>
                        <a:pt x="1564" y="724"/>
                      </a:lnTo>
                      <a:lnTo>
                        <a:pt x="1571" y="684"/>
                      </a:lnTo>
                      <a:lnTo>
                        <a:pt x="1571" y="684"/>
                      </a:lnTo>
                      <a:lnTo>
                        <a:pt x="1576" y="649"/>
                      </a:lnTo>
                      <a:lnTo>
                        <a:pt x="1581" y="614"/>
                      </a:lnTo>
                      <a:lnTo>
                        <a:pt x="1585" y="578"/>
                      </a:lnTo>
                      <a:lnTo>
                        <a:pt x="1587" y="543"/>
                      </a:lnTo>
                      <a:lnTo>
                        <a:pt x="1588" y="508"/>
                      </a:lnTo>
                      <a:lnTo>
                        <a:pt x="1588" y="474"/>
                      </a:lnTo>
                      <a:lnTo>
                        <a:pt x="1587" y="439"/>
                      </a:lnTo>
                      <a:lnTo>
                        <a:pt x="1585" y="405"/>
                      </a:lnTo>
                      <a:lnTo>
                        <a:pt x="1580" y="369"/>
                      </a:lnTo>
                      <a:lnTo>
                        <a:pt x="1575" y="335"/>
                      </a:lnTo>
                      <a:lnTo>
                        <a:pt x="1568" y="301"/>
                      </a:lnTo>
                      <a:lnTo>
                        <a:pt x="1560" y="267"/>
                      </a:lnTo>
                      <a:lnTo>
                        <a:pt x="1551" y="233"/>
                      </a:lnTo>
                      <a:lnTo>
                        <a:pt x="1539" y="201"/>
                      </a:lnTo>
                      <a:lnTo>
                        <a:pt x="1525" y="166"/>
                      </a:lnTo>
                      <a:lnTo>
                        <a:pt x="1511" y="134"/>
                      </a:lnTo>
                      <a:lnTo>
                        <a:pt x="1511" y="134"/>
                      </a:lnTo>
                      <a:lnTo>
                        <a:pt x="1495" y="105"/>
                      </a:lnTo>
                      <a:lnTo>
                        <a:pt x="1478" y="78"/>
                      </a:lnTo>
                      <a:lnTo>
                        <a:pt x="1443" y="22"/>
                      </a:lnTo>
                      <a:lnTo>
                        <a:pt x="1443" y="22"/>
                      </a:lnTo>
                      <a:lnTo>
                        <a:pt x="1437" y="12"/>
                      </a:lnTo>
                      <a:lnTo>
                        <a:pt x="1434" y="6"/>
                      </a:lnTo>
                      <a:lnTo>
                        <a:pt x="1432" y="0"/>
                      </a:lnTo>
                      <a:lnTo>
                        <a:pt x="1432" y="0"/>
                      </a:lnTo>
                      <a:lnTo>
                        <a:pt x="1461" y="13"/>
                      </a:lnTo>
                      <a:lnTo>
                        <a:pt x="1490" y="27"/>
                      </a:lnTo>
                      <a:lnTo>
                        <a:pt x="1490" y="27"/>
                      </a:lnTo>
                      <a:lnTo>
                        <a:pt x="1560" y="62"/>
                      </a:lnTo>
                      <a:lnTo>
                        <a:pt x="1629" y="98"/>
                      </a:lnTo>
                      <a:lnTo>
                        <a:pt x="1697" y="136"/>
                      </a:lnTo>
                      <a:lnTo>
                        <a:pt x="1763" y="176"/>
                      </a:lnTo>
                      <a:lnTo>
                        <a:pt x="1828" y="216"/>
                      </a:lnTo>
                      <a:lnTo>
                        <a:pt x="1892" y="259"/>
                      </a:lnTo>
                      <a:lnTo>
                        <a:pt x="1956" y="303"/>
                      </a:lnTo>
                      <a:lnTo>
                        <a:pt x="2017" y="348"/>
                      </a:lnTo>
                      <a:lnTo>
                        <a:pt x="2078" y="395"/>
                      </a:lnTo>
                      <a:lnTo>
                        <a:pt x="2138" y="444"/>
                      </a:lnTo>
                      <a:lnTo>
                        <a:pt x="2196" y="493"/>
                      </a:lnTo>
                      <a:lnTo>
                        <a:pt x="2253" y="546"/>
                      </a:lnTo>
                      <a:lnTo>
                        <a:pt x="2309" y="599"/>
                      </a:lnTo>
                      <a:lnTo>
                        <a:pt x="2364" y="654"/>
                      </a:lnTo>
                      <a:lnTo>
                        <a:pt x="2416" y="711"/>
                      </a:lnTo>
                      <a:lnTo>
                        <a:pt x="2468" y="769"/>
                      </a:lnTo>
                      <a:lnTo>
                        <a:pt x="2468" y="769"/>
                      </a:lnTo>
                      <a:lnTo>
                        <a:pt x="2506" y="815"/>
                      </a:lnTo>
                      <a:lnTo>
                        <a:pt x="2544" y="863"/>
                      </a:lnTo>
                      <a:lnTo>
                        <a:pt x="2579" y="910"/>
                      </a:lnTo>
                      <a:lnTo>
                        <a:pt x="2613" y="958"/>
                      </a:lnTo>
                      <a:lnTo>
                        <a:pt x="2646" y="1007"/>
                      </a:lnTo>
                      <a:lnTo>
                        <a:pt x="2677" y="1057"/>
                      </a:lnTo>
                      <a:lnTo>
                        <a:pt x="2707" y="1107"/>
                      </a:lnTo>
                      <a:lnTo>
                        <a:pt x="2735" y="1159"/>
                      </a:lnTo>
                      <a:lnTo>
                        <a:pt x="2761" y="1212"/>
                      </a:lnTo>
                      <a:lnTo>
                        <a:pt x="2787" y="1264"/>
                      </a:lnTo>
                      <a:lnTo>
                        <a:pt x="2810" y="1319"/>
                      </a:lnTo>
                      <a:lnTo>
                        <a:pt x="2832" y="1373"/>
                      </a:lnTo>
                      <a:lnTo>
                        <a:pt x="2852" y="1428"/>
                      </a:lnTo>
                      <a:lnTo>
                        <a:pt x="2871" y="1485"/>
                      </a:lnTo>
                      <a:lnTo>
                        <a:pt x="2888" y="1542"/>
                      </a:lnTo>
                      <a:lnTo>
                        <a:pt x="2902" y="1601"/>
                      </a:lnTo>
                      <a:lnTo>
                        <a:pt x="2902" y="1601"/>
                      </a:lnTo>
                      <a:lnTo>
                        <a:pt x="2917" y="1666"/>
                      </a:lnTo>
                      <a:lnTo>
                        <a:pt x="2929" y="1732"/>
                      </a:lnTo>
                      <a:lnTo>
                        <a:pt x="2939" y="1797"/>
                      </a:lnTo>
                      <a:lnTo>
                        <a:pt x="2946" y="1863"/>
                      </a:lnTo>
                      <a:lnTo>
                        <a:pt x="2951" y="1930"/>
                      </a:lnTo>
                      <a:lnTo>
                        <a:pt x="2953" y="1997"/>
                      </a:lnTo>
                      <a:lnTo>
                        <a:pt x="2953" y="2064"/>
                      </a:lnTo>
                      <a:lnTo>
                        <a:pt x="2951" y="2130"/>
                      </a:lnTo>
                      <a:lnTo>
                        <a:pt x="2951" y="2130"/>
                      </a:lnTo>
                      <a:lnTo>
                        <a:pt x="2947" y="2194"/>
                      </a:lnTo>
                      <a:lnTo>
                        <a:pt x="2941" y="2257"/>
                      </a:lnTo>
                      <a:lnTo>
                        <a:pt x="2934" y="2319"/>
                      </a:lnTo>
                      <a:lnTo>
                        <a:pt x="2924" y="2381"/>
                      </a:lnTo>
                      <a:lnTo>
                        <a:pt x="2913" y="2443"/>
                      </a:lnTo>
                      <a:lnTo>
                        <a:pt x="2900" y="2504"/>
                      </a:lnTo>
                      <a:lnTo>
                        <a:pt x="2887" y="2564"/>
                      </a:lnTo>
                      <a:lnTo>
                        <a:pt x="2871" y="2625"/>
                      </a:lnTo>
                      <a:lnTo>
                        <a:pt x="2852" y="2685"/>
                      </a:lnTo>
                      <a:lnTo>
                        <a:pt x="2834" y="2744"/>
                      </a:lnTo>
                      <a:lnTo>
                        <a:pt x="2814" y="2804"/>
                      </a:lnTo>
                      <a:lnTo>
                        <a:pt x="2793" y="2862"/>
                      </a:lnTo>
                      <a:lnTo>
                        <a:pt x="2770" y="2920"/>
                      </a:lnTo>
                      <a:lnTo>
                        <a:pt x="2746" y="2979"/>
                      </a:lnTo>
                      <a:lnTo>
                        <a:pt x="2721" y="3037"/>
                      </a:lnTo>
                      <a:lnTo>
                        <a:pt x="2694" y="3094"/>
                      </a:lnTo>
                      <a:lnTo>
                        <a:pt x="2694" y="3094"/>
                      </a:lnTo>
                      <a:lnTo>
                        <a:pt x="2671" y="3143"/>
                      </a:lnTo>
                      <a:lnTo>
                        <a:pt x="2648" y="3191"/>
                      </a:lnTo>
                      <a:lnTo>
                        <a:pt x="2623" y="3239"/>
                      </a:lnTo>
                      <a:lnTo>
                        <a:pt x="2598" y="3286"/>
                      </a:lnTo>
                      <a:lnTo>
                        <a:pt x="2572" y="3334"/>
                      </a:lnTo>
                      <a:lnTo>
                        <a:pt x="2545" y="3380"/>
                      </a:lnTo>
                      <a:lnTo>
                        <a:pt x="2517" y="3425"/>
                      </a:lnTo>
                      <a:lnTo>
                        <a:pt x="2489" y="3471"/>
                      </a:lnTo>
                      <a:lnTo>
                        <a:pt x="2460" y="3516"/>
                      </a:lnTo>
                      <a:lnTo>
                        <a:pt x="2431" y="3561"/>
                      </a:lnTo>
                      <a:lnTo>
                        <a:pt x="2400" y="3605"/>
                      </a:lnTo>
                      <a:lnTo>
                        <a:pt x="2369" y="3648"/>
                      </a:lnTo>
                      <a:lnTo>
                        <a:pt x="2337" y="3692"/>
                      </a:lnTo>
                      <a:lnTo>
                        <a:pt x="2304" y="3735"/>
                      </a:lnTo>
                      <a:lnTo>
                        <a:pt x="2239" y="3820"/>
                      </a:lnTo>
                      <a:lnTo>
                        <a:pt x="2239" y="3820"/>
                      </a:lnTo>
                      <a:lnTo>
                        <a:pt x="2196" y="3873"/>
                      </a:lnTo>
                      <a:lnTo>
                        <a:pt x="2155" y="3929"/>
                      </a:lnTo>
                      <a:lnTo>
                        <a:pt x="2116" y="3985"/>
                      </a:lnTo>
                      <a:lnTo>
                        <a:pt x="2078" y="4042"/>
                      </a:lnTo>
                      <a:lnTo>
                        <a:pt x="2042" y="4100"/>
                      </a:lnTo>
                      <a:lnTo>
                        <a:pt x="2008" y="4160"/>
                      </a:lnTo>
                      <a:lnTo>
                        <a:pt x="1976" y="4221"/>
                      </a:lnTo>
                      <a:lnTo>
                        <a:pt x="1946" y="4283"/>
                      </a:lnTo>
                      <a:lnTo>
                        <a:pt x="1946" y="4283"/>
                      </a:lnTo>
                      <a:lnTo>
                        <a:pt x="1929" y="4323"/>
                      </a:lnTo>
                      <a:lnTo>
                        <a:pt x="1912" y="4364"/>
                      </a:lnTo>
                      <a:lnTo>
                        <a:pt x="1896" y="4405"/>
                      </a:lnTo>
                      <a:lnTo>
                        <a:pt x="1883" y="4447"/>
                      </a:lnTo>
                      <a:lnTo>
                        <a:pt x="1870" y="4488"/>
                      </a:lnTo>
                      <a:lnTo>
                        <a:pt x="1859" y="4531"/>
                      </a:lnTo>
                      <a:lnTo>
                        <a:pt x="1850" y="4572"/>
                      </a:lnTo>
                      <a:lnTo>
                        <a:pt x="1841" y="4614"/>
                      </a:lnTo>
                      <a:lnTo>
                        <a:pt x="1834" y="4657"/>
                      </a:lnTo>
                      <a:lnTo>
                        <a:pt x="1828" y="4701"/>
                      </a:lnTo>
                      <a:lnTo>
                        <a:pt x="1824" y="4743"/>
                      </a:lnTo>
                      <a:lnTo>
                        <a:pt x="1821" y="4787"/>
                      </a:lnTo>
                      <a:lnTo>
                        <a:pt x="1819" y="4831"/>
                      </a:lnTo>
                      <a:lnTo>
                        <a:pt x="1819" y="4875"/>
                      </a:lnTo>
                      <a:lnTo>
                        <a:pt x="1821" y="4918"/>
                      </a:lnTo>
                      <a:lnTo>
                        <a:pt x="1823" y="4962"/>
                      </a:lnTo>
                      <a:lnTo>
                        <a:pt x="1823" y="4962"/>
                      </a:lnTo>
                      <a:lnTo>
                        <a:pt x="1827" y="5016"/>
                      </a:lnTo>
                      <a:lnTo>
                        <a:pt x="1834" y="5068"/>
                      </a:lnTo>
                      <a:lnTo>
                        <a:pt x="1841" y="5120"/>
                      </a:lnTo>
                      <a:lnTo>
                        <a:pt x="1852" y="5172"/>
                      </a:lnTo>
                      <a:lnTo>
                        <a:pt x="1863" y="5225"/>
                      </a:lnTo>
                      <a:lnTo>
                        <a:pt x="1877" y="5276"/>
                      </a:lnTo>
                      <a:lnTo>
                        <a:pt x="1890" y="5327"/>
                      </a:lnTo>
                      <a:lnTo>
                        <a:pt x="1906" y="5378"/>
                      </a:lnTo>
                      <a:lnTo>
                        <a:pt x="1906" y="5378"/>
                      </a:lnTo>
                      <a:lnTo>
                        <a:pt x="1914" y="5406"/>
                      </a:lnTo>
                      <a:lnTo>
                        <a:pt x="1914" y="5406"/>
                      </a:lnTo>
                      <a:close/>
                    </a:path>
                  </a:pathLst>
                </a:custGeom>
                <a:solidFill>
                  <a:srgbClr val="D71F13">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93" name="Freeform 35"/>
                <p:cNvSpPr>
                  <a:spLocks/>
                </p:cNvSpPr>
                <p:nvPr/>
              </p:nvSpPr>
              <p:spPr bwMode="auto">
                <a:xfrm>
                  <a:off x="909638" y="1920134"/>
                  <a:ext cx="630238" cy="1298575"/>
                </a:xfrm>
                <a:custGeom>
                  <a:avLst/>
                  <a:gdLst>
                    <a:gd name="T0" fmla="*/ 1148 w 1586"/>
                    <a:gd name="T1" fmla="*/ 100 h 3274"/>
                    <a:gd name="T2" fmla="*/ 1210 w 1586"/>
                    <a:gd name="T3" fmla="*/ 200 h 3274"/>
                    <a:gd name="T4" fmla="*/ 1290 w 1586"/>
                    <a:gd name="T5" fmla="*/ 344 h 3274"/>
                    <a:gd name="T6" fmla="*/ 1363 w 1586"/>
                    <a:gd name="T7" fmla="*/ 494 h 3274"/>
                    <a:gd name="T8" fmla="*/ 1427 w 1586"/>
                    <a:gd name="T9" fmla="*/ 646 h 3274"/>
                    <a:gd name="T10" fmla="*/ 1482 w 1586"/>
                    <a:gd name="T11" fmla="*/ 801 h 3274"/>
                    <a:gd name="T12" fmla="*/ 1527 w 1586"/>
                    <a:gd name="T13" fmla="*/ 962 h 3274"/>
                    <a:gd name="T14" fmla="*/ 1554 w 1586"/>
                    <a:gd name="T15" fmla="*/ 1082 h 3274"/>
                    <a:gd name="T16" fmla="*/ 1580 w 1586"/>
                    <a:gd name="T17" fmla="*/ 1283 h 3274"/>
                    <a:gd name="T18" fmla="*/ 1585 w 1586"/>
                    <a:gd name="T19" fmla="*/ 1484 h 3274"/>
                    <a:gd name="T20" fmla="*/ 1580 w 1586"/>
                    <a:gd name="T21" fmla="*/ 1551 h 3274"/>
                    <a:gd name="T22" fmla="*/ 1554 w 1586"/>
                    <a:gd name="T23" fmla="*/ 1732 h 3274"/>
                    <a:gd name="T24" fmla="*/ 1507 w 1586"/>
                    <a:gd name="T25" fmla="*/ 1902 h 3274"/>
                    <a:gd name="T26" fmla="*/ 1439 w 1586"/>
                    <a:gd name="T27" fmla="*/ 2064 h 3274"/>
                    <a:gd name="T28" fmla="*/ 1351 w 1586"/>
                    <a:gd name="T29" fmla="*/ 2217 h 3274"/>
                    <a:gd name="T30" fmla="*/ 1242 w 1586"/>
                    <a:gd name="T31" fmla="*/ 2361 h 3274"/>
                    <a:gd name="T32" fmla="*/ 1162 w 1586"/>
                    <a:gd name="T33" fmla="*/ 2448 h 3274"/>
                    <a:gd name="T34" fmla="*/ 1037 w 1586"/>
                    <a:gd name="T35" fmla="*/ 2562 h 3274"/>
                    <a:gd name="T36" fmla="*/ 903 w 1586"/>
                    <a:gd name="T37" fmla="*/ 2666 h 3274"/>
                    <a:gd name="T38" fmla="*/ 694 w 1586"/>
                    <a:gd name="T39" fmla="*/ 2815 h 3274"/>
                    <a:gd name="T40" fmla="*/ 207 w 1586"/>
                    <a:gd name="T41" fmla="*/ 3166 h 3274"/>
                    <a:gd name="T42" fmla="*/ 78 w 1586"/>
                    <a:gd name="T43" fmla="*/ 3274 h 3274"/>
                    <a:gd name="T44" fmla="*/ 38 w 1586"/>
                    <a:gd name="T45" fmla="*/ 3140 h 3274"/>
                    <a:gd name="T46" fmla="*/ 17 w 1586"/>
                    <a:gd name="T47" fmla="*/ 3051 h 3274"/>
                    <a:gd name="T48" fmla="*/ 2 w 1586"/>
                    <a:gd name="T49" fmla="*/ 2922 h 3274"/>
                    <a:gd name="T50" fmla="*/ 3 w 1586"/>
                    <a:gd name="T51" fmla="*/ 2796 h 3274"/>
                    <a:gd name="T52" fmla="*/ 21 w 1586"/>
                    <a:gd name="T53" fmla="*/ 2670 h 3274"/>
                    <a:gd name="T54" fmla="*/ 53 w 1586"/>
                    <a:gd name="T55" fmla="*/ 2548 h 3274"/>
                    <a:gd name="T56" fmla="*/ 96 w 1586"/>
                    <a:gd name="T57" fmla="*/ 2425 h 3274"/>
                    <a:gd name="T58" fmla="*/ 130 w 1586"/>
                    <a:gd name="T59" fmla="*/ 2350 h 3274"/>
                    <a:gd name="T60" fmla="*/ 186 w 1586"/>
                    <a:gd name="T61" fmla="*/ 2239 h 3274"/>
                    <a:gd name="T62" fmla="*/ 248 w 1586"/>
                    <a:gd name="T63" fmla="*/ 2132 h 3274"/>
                    <a:gd name="T64" fmla="*/ 388 w 1586"/>
                    <a:gd name="T65" fmla="*/ 1929 h 3274"/>
                    <a:gd name="T66" fmla="*/ 491 w 1586"/>
                    <a:gd name="T67" fmla="*/ 1794 h 3274"/>
                    <a:gd name="T68" fmla="*/ 624 w 1586"/>
                    <a:gd name="T69" fmla="*/ 1622 h 3274"/>
                    <a:gd name="T70" fmla="*/ 675 w 1586"/>
                    <a:gd name="T71" fmla="*/ 1545 h 3274"/>
                    <a:gd name="T72" fmla="*/ 749 w 1586"/>
                    <a:gd name="T73" fmla="*/ 1417 h 3274"/>
                    <a:gd name="T74" fmla="*/ 815 w 1586"/>
                    <a:gd name="T75" fmla="*/ 1286 h 3274"/>
                    <a:gd name="T76" fmla="*/ 873 w 1586"/>
                    <a:gd name="T77" fmla="*/ 1151 h 3274"/>
                    <a:gd name="T78" fmla="*/ 974 w 1586"/>
                    <a:gd name="T79" fmla="*/ 874 h 3274"/>
                    <a:gd name="T80" fmla="*/ 1013 w 1586"/>
                    <a:gd name="T81" fmla="*/ 745 h 3274"/>
                    <a:gd name="T82" fmla="*/ 1060 w 1586"/>
                    <a:gd name="T83" fmla="*/ 551 h 3274"/>
                    <a:gd name="T84" fmla="*/ 1094 w 1586"/>
                    <a:gd name="T85" fmla="*/ 353 h 3274"/>
                    <a:gd name="T86" fmla="*/ 1101 w 1586"/>
                    <a:gd name="T87" fmla="*/ 281 h 3274"/>
                    <a:gd name="T88" fmla="*/ 1106 w 1586"/>
                    <a:gd name="T89" fmla="*/ 173 h 3274"/>
                    <a:gd name="T90" fmla="*/ 1095 w 1586"/>
                    <a:gd name="T91" fmla="*/ 65 h 3274"/>
                    <a:gd name="T92" fmla="*/ 1081 w 1586"/>
                    <a:gd name="T93" fmla="*/ 4 h 3274"/>
                    <a:gd name="T94" fmla="*/ 1084 w 1586"/>
                    <a:gd name="T95" fmla="*/ 0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86" h="3274">
                      <a:moveTo>
                        <a:pt x="1084" y="0"/>
                      </a:moveTo>
                      <a:lnTo>
                        <a:pt x="1084" y="0"/>
                      </a:lnTo>
                      <a:lnTo>
                        <a:pt x="1148" y="100"/>
                      </a:lnTo>
                      <a:lnTo>
                        <a:pt x="1179" y="149"/>
                      </a:lnTo>
                      <a:lnTo>
                        <a:pt x="1210" y="200"/>
                      </a:lnTo>
                      <a:lnTo>
                        <a:pt x="1210" y="200"/>
                      </a:lnTo>
                      <a:lnTo>
                        <a:pt x="1236" y="247"/>
                      </a:lnTo>
                      <a:lnTo>
                        <a:pt x="1264" y="296"/>
                      </a:lnTo>
                      <a:lnTo>
                        <a:pt x="1290" y="344"/>
                      </a:lnTo>
                      <a:lnTo>
                        <a:pt x="1315" y="394"/>
                      </a:lnTo>
                      <a:lnTo>
                        <a:pt x="1340" y="444"/>
                      </a:lnTo>
                      <a:lnTo>
                        <a:pt x="1363" y="494"/>
                      </a:lnTo>
                      <a:lnTo>
                        <a:pt x="1386" y="544"/>
                      </a:lnTo>
                      <a:lnTo>
                        <a:pt x="1407" y="595"/>
                      </a:lnTo>
                      <a:lnTo>
                        <a:pt x="1427" y="646"/>
                      </a:lnTo>
                      <a:lnTo>
                        <a:pt x="1447" y="697"/>
                      </a:lnTo>
                      <a:lnTo>
                        <a:pt x="1465" y="749"/>
                      </a:lnTo>
                      <a:lnTo>
                        <a:pt x="1482" y="801"/>
                      </a:lnTo>
                      <a:lnTo>
                        <a:pt x="1499" y="855"/>
                      </a:lnTo>
                      <a:lnTo>
                        <a:pt x="1514" y="908"/>
                      </a:lnTo>
                      <a:lnTo>
                        <a:pt x="1527" y="962"/>
                      </a:lnTo>
                      <a:lnTo>
                        <a:pt x="1540" y="1016"/>
                      </a:lnTo>
                      <a:lnTo>
                        <a:pt x="1540" y="1016"/>
                      </a:lnTo>
                      <a:lnTo>
                        <a:pt x="1554" y="1082"/>
                      </a:lnTo>
                      <a:lnTo>
                        <a:pt x="1565" y="1149"/>
                      </a:lnTo>
                      <a:lnTo>
                        <a:pt x="1574" y="1216"/>
                      </a:lnTo>
                      <a:lnTo>
                        <a:pt x="1580" y="1283"/>
                      </a:lnTo>
                      <a:lnTo>
                        <a:pt x="1584" y="1349"/>
                      </a:lnTo>
                      <a:lnTo>
                        <a:pt x="1586" y="1416"/>
                      </a:lnTo>
                      <a:lnTo>
                        <a:pt x="1585" y="1484"/>
                      </a:lnTo>
                      <a:lnTo>
                        <a:pt x="1583" y="1518"/>
                      </a:lnTo>
                      <a:lnTo>
                        <a:pt x="1580" y="1551"/>
                      </a:lnTo>
                      <a:lnTo>
                        <a:pt x="1580" y="1551"/>
                      </a:lnTo>
                      <a:lnTo>
                        <a:pt x="1574" y="1613"/>
                      </a:lnTo>
                      <a:lnTo>
                        <a:pt x="1566" y="1673"/>
                      </a:lnTo>
                      <a:lnTo>
                        <a:pt x="1554" y="1732"/>
                      </a:lnTo>
                      <a:lnTo>
                        <a:pt x="1540" y="1789"/>
                      </a:lnTo>
                      <a:lnTo>
                        <a:pt x="1524" y="1846"/>
                      </a:lnTo>
                      <a:lnTo>
                        <a:pt x="1507" y="1902"/>
                      </a:lnTo>
                      <a:lnTo>
                        <a:pt x="1487" y="1957"/>
                      </a:lnTo>
                      <a:lnTo>
                        <a:pt x="1464" y="2012"/>
                      </a:lnTo>
                      <a:lnTo>
                        <a:pt x="1439" y="2064"/>
                      </a:lnTo>
                      <a:lnTo>
                        <a:pt x="1411" y="2116"/>
                      </a:lnTo>
                      <a:lnTo>
                        <a:pt x="1382" y="2167"/>
                      </a:lnTo>
                      <a:lnTo>
                        <a:pt x="1351" y="2217"/>
                      </a:lnTo>
                      <a:lnTo>
                        <a:pt x="1317" y="2266"/>
                      </a:lnTo>
                      <a:lnTo>
                        <a:pt x="1280" y="2314"/>
                      </a:lnTo>
                      <a:lnTo>
                        <a:pt x="1242" y="2361"/>
                      </a:lnTo>
                      <a:lnTo>
                        <a:pt x="1201" y="2407"/>
                      </a:lnTo>
                      <a:lnTo>
                        <a:pt x="1201" y="2407"/>
                      </a:lnTo>
                      <a:lnTo>
                        <a:pt x="1162" y="2448"/>
                      </a:lnTo>
                      <a:lnTo>
                        <a:pt x="1121" y="2487"/>
                      </a:lnTo>
                      <a:lnTo>
                        <a:pt x="1080" y="2525"/>
                      </a:lnTo>
                      <a:lnTo>
                        <a:pt x="1037" y="2562"/>
                      </a:lnTo>
                      <a:lnTo>
                        <a:pt x="993" y="2598"/>
                      </a:lnTo>
                      <a:lnTo>
                        <a:pt x="948" y="2632"/>
                      </a:lnTo>
                      <a:lnTo>
                        <a:pt x="903" y="2666"/>
                      </a:lnTo>
                      <a:lnTo>
                        <a:pt x="857" y="2698"/>
                      </a:lnTo>
                      <a:lnTo>
                        <a:pt x="857" y="2698"/>
                      </a:lnTo>
                      <a:lnTo>
                        <a:pt x="694" y="2815"/>
                      </a:lnTo>
                      <a:lnTo>
                        <a:pt x="531" y="2932"/>
                      </a:lnTo>
                      <a:lnTo>
                        <a:pt x="207" y="3166"/>
                      </a:lnTo>
                      <a:lnTo>
                        <a:pt x="207" y="3166"/>
                      </a:lnTo>
                      <a:lnTo>
                        <a:pt x="174" y="3192"/>
                      </a:lnTo>
                      <a:lnTo>
                        <a:pt x="143" y="3219"/>
                      </a:lnTo>
                      <a:lnTo>
                        <a:pt x="78" y="3274"/>
                      </a:lnTo>
                      <a:lnTo>
                        <a:pt x="78" y="3274"/>
                      </a:lnTo>
                      <a:lnTo>
                        <a:pt x="51" y="3186"/>
                      </a:lnTo>
                      <a:lnTo>
                        <a:pt x="38" y="3140"/>
                      </a:lnTo>
                      <a:lnTo>
                        <a:pt x="27" y="3095"/>
                      </a:lnTo>
                      <a:lnTo>
                        <a:pt x="27" y="3095"/>
                      </a:lnTo>
                      <a:lnTo>
                        <a:pt x="17" y="3051"/>
                      </a:lnTo>
                      <a:lnTo>
                        <a:pt x="10" y="3008"/>
                      </a:lnTo>
                      <a:lnTo>
                        <a:pt x="5" y="2965"/>
                      </a:lnTo>
                      <a:lnTo>
                        <a:pt x="2" y="2922"/>
                      </a:lnTo>
                      <a:lnTo>
                        <a:pt x="0" y="2881"/>
                      </a:lnTo>
                      <a:lnTo>
                        <a:pt x="0" y="2838"/>
                      </a:lnTo>
                      <a:lnTo>
                        <a:pt x="3" y="2796"/>
                      </a:lnTo>
                      <a:lnTo>
                        <a:pt x="8" y="2754"/>
                      </a:lnTo>
                      <a:lnTo>
                        <a:pt x="14" y="2713"/>
                      </a:lnTo>
                      <a:lnTo>
                        <a:pt x="21" y="2670"/>
                      </a:lnTo>
                      <a:lnTo>
                        <a:pt x="29" y="2629"/>
                      </a:lnTo>
                      <a:lnTo>
                        <a:pt x="40" y="2589"/>
                      </a:lnTo>
                      <a:lnTo>
                        <a:pt x="53" y="2548"/>
                      </a:lnTo>
                      <a:lnTo>
                        <a:pt x="66" y="2506"/>
                      </a:lnTo>
                      <a:lnTo>
                        <a:pt x="81" y="2466"/>
                      </a:lnTo>
                      <a:lnTo>
                        <a:pt x="96" y="2425"/>
                      </a:lnTo>
                      <a:lnTo>
                        <a:pt x="96" y="2425"/>
                      </a:lnTo>
                      <a:lnTo>
                        <a:pt x="113" y="2387"/>
                      </a:lnTo>
                      <a:lnTo>
                        <a:pt x="130" y="2350"/>
                      </a:lnTo>
                      <a:lnTo>
                        <a:pt x="147" y="2312"/>
                      </a:lnTo>
                      <a:lnTo>
                        <a:pt x="167" y="2275"/>
                      </a:lnTo>
                      <a:lnTo>
                        <a:pt x="186" y="2239"/>
                      </a:lnTo>
                      <a:lnTo>
                        <a:pt x="206" y="2204"/>
                      </a:lnTo>
                      <a:lnTo>
                        <a:pt x="226" y="2167"/>
                      </a:lnTo>
                      <a:lnTo>
                        <a:pt x="248" y="2132"/>
                      </a:lnTo>
                      <a:lnTo>
                        <a:pt x="293" y="2063"/>
                      </a:lnTo>
                      <a:lnTo>
                        <a:pt x="339" y="1996"/>
                      </a:lnTo>
                      <a:lnTo>
                        <a:pt x="388" y="1929"/>
                      </a:lnTo>
                      <a:lnTo>
                        <a:pt x="438" y="1862"/>
                      </a:lnTo>
                      <a:lnTo>
                        <a:pt x="438" y="1862"/>
                      </a:lnTo>
                      <a:lnTo>
                        <a:pt x="491" y="1794"/>
                      </a:lnTo>
                      <a:lnTo>
                        <a:pt x="546" y="1726"/>
                      </a:lnTo>
                      <a:lnTo>
                        <a:pt x="598" y="1657"/>
                      </a:lnTo>
                      <a:lnTo>
                        <a:pt x="624" y="1622"/>
                      </a:lnTo>
                      <a:lnTo>
                        <a:pt x="648" y="1586"/>
                      </a:lnTo>
                      <a:lnTo>
                        <a:pt x="648" y="1586"/>
                      </a:lnTo>
                      <a:lnTo>
                        <a:pt x="675" y="1545"/>
                      </a:lnTo>
                      <a:lnTo>
                        <a:pt x="700" y="1503"/>
                      </a:lnTo>
                      <a:lnTo>
                        <a:pt x="725" y="1460"/>
                      </a:lnTo>
                      <a:lnTo>
                        <a:pt x="749" y="1417"/>
                      </a:lnTo>
                      <a:lnTo>
                        <a:pt x="772" y="1374"/>
                      </a:lnTo>
                      <a:lnTo>
                        <a:pt x="794" y="1330"/>
                      </a:lnTo>
                      <a:lnTo>
                        <a:pt x="815" y="1286"/>
                      </a:lnTo>
                      <a:lnTo>
                        <a:pt x="835" y="1241"/>
                      </a:lnTo>
                      <a:lnTo>
                        <a:pt x="855" y="1196"/>
                      </a:lnTo>
                      <a:lnTo>
                        <a:pt x="873" y="1151"/>
                      </a:lnTo>
                      <a:lnTo>
                        <a:pt x="909" y="1060"/>
                      </a:lnTo>
                      <a:lnTo>
                        <a:pt x="942" y="968"/>
                      </a:lnTo>
                      <a:lnTo>
                        <a:pt x="974" y="874"/>
                      </a:lnTo>
                      <a:lnTo>
                        <a:pt x="974" y="874"/>
                      </a:lnTo>
                      <a:lnTo>
                        <a:pt x="993" y="810"/>
                      </a:lnTo>
                      <a:lnTo>
                        <a:pt x="1013" y="745"/>
                      </a:lnTo>
                      <a:lnTo>
                        <a:pt x="1030" y="681"/>
                      </a:lnTo>
                      <a:lnTo>
                        <a:pt x="1046" y="617"/>
                      </a:lnTo>
                      <a:lnTo>
                        <a:pt x="1060" y="551"/>
                      </a:lnTo>
                      <a:lnTo>
                        <a:pt x="1074" y="485"/>
                      </a:lnTo>
                      <a:lnTo>
                        <a:pt x="1084" y="420"/>
                      </a:lnTo>
                      <a:lnTo>
                        <a:pt x="1094" y="353"/>
                      </a:lnTo>
                      <a:lnTo>
                        <a:pt x="1094" y="353"/>
                      </a:lnTo>
                      <a:lnTo>
                        <a:pt x="1098" y="318"/>
                      </a:lnTo>
                      <a:lnTo>
                        <a:pt x="1101" y="281"/>
                      </a:lnTo>
                      <a:lnTo>
                        <a:pt x="1105" y="245"/>
                      </a:lnTo>
                      <a:lnTo>
                        <a:pt x="1106" y="209"/>
                      </a:lnTo>
                      <a:lnTo>
                        <a:pt x="1106" y="173"/>
                      </a:lnTo>
                      <a:lnTo>
                        <a:pt x="1105" y="138"/>
                      </a:lnTo>
                      <a:lnTo>
                        <a:pt x="1101" y="101"/>
                      </a:lnTo>
                      <a:lnTo>
                        <a:pt x="1095" y="65"/>
                      </a:lnTo>
                      <a:lnTo>
                        <a:pt x="1095" y="65"/>
                      </a:lnTo>
                      <a:lnTo>
                        <a:pt x="1088" y="34"/>
                      </a:lnTo>
                      <a:lnTo>
                        <a:pt x="1081" y="4"/>
                      </a:lnTo>
                      <a:lnTo>
                        <a:pt x="1081" y="4"/>
                      </a:lnTo>
                      <a:lnTo>
                        <a:pt x="1084" y="0"/>
                      </a:lnTo>
                      <a:lnTo>
                        <a:pt x="1084" y="0"/>
                      </a:lnTo>
                      <a:close/>
                    </a:path>
                  </a:pathLst>
                </a:custGeom>
                <a:solidFill>
                  <a:srgbClr val="D71F13">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grpSp>
      <p:grpSp>
        <p:nvGrpSpPr>
          <p:cNvPr id="100" name="Group 99"/>
          <p:cNvGrpSpPr/>
          <p:nvPr/>
        </p:nvGrpSpPr>
        <p:grpSpPr>
          <a:xfrm>
            <a:off x="4787814" y="3383177"/>
            <a:ext cx="232765" cy="237880"/>
            <a:chOff x="3560257" y="2350032"/>
            <a:chExt cx="224696" cy="224696"/>
          </a:xfrm>
        </p:grpSpPr>
        <p:sp>
          <p:nvSpPr>
            <p:cNvPr id="101" name="Oval 100"/>
            <p:cNvSpPr/>
            <p:nvPr/>
          </p:nvSpPr>
          <p:spPr>
            <a:xfrm>
              <a:off x="3560257" y="2350032"/>
              <a:ext cx="224696" cy="224696"/>
            </a:xfrm>
            <a:prstGeom prst="ellipse">
              <a:avLst/>
            </a:prstGeom>
            <a:solidFill>
              <a:srgbClr val="214794"/>
            </a:solidFill>
            <a:ln w="381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102" name="Group 101"/>
            <p:cNvGrpSpPr/>
            <p:nvPr/>
          </p:nvGrpSpPr>
          <p:grpSpPr>
            <a:xfrm>
              <a:off x="3613835" y="2389944"/>
              <a:ext cx="117540" cy="144873"/>
              <a:chOff x="8261352" y="2423663"/>
              <a:chExt cx="348271" cy="472184"/>
            </a:xfrm>
          </p:grpSpPr>
          <p:sp>
            <p:nvSpPr>
              <p:cNvPr id="103" name="Up Arrow 102"/>
              <p:cNvSpPr/>
              <p:nvPr/>
            </p:nvSpPr>
            <p:spPr>
              <a:xfrm rot="10800000">
                <a:off x="8261352" y="2577003"/>
                <a:ext cx="200613" cy="318844"/>
              </a:xfrm>
              <a:prstGeom prst="upArrow">
                <a:avLst/>
              </a:prstGeom>
              <a:solidFill>
                <a:sysClr val="window" lastClr="FFFFFF"/>
              </a:solidFill>
              <a:ln w="12700" cap="flat" cmpd="sng" algn="ctr">
                <a:noFill/>
                <a:prstDash val="solid"/>
              </a:ln>
              <a:effectLst/>
            </p:spPr>
            <p:txBody>
              <a:bodyPr rtlCol="0" anchor="ctr"/>
              <a:lstStyle>
                <a:defPPr>
                  <a:defRPr lang="en-US"/>
                </a:defPPr>
                <a:lvl1pPr marL="0" algn="l" defTabSz="1068294" rtl="0" eaLnBrk="1" latinLnBrk="0" hangingPunct="1">
                  <a:defRPr sz="2103" kern="1200">
                    <a:solidFill>
                      <a:schemeClr val="lt1"/>
                    </a:solidFill>
                    <a:latin typeface="+mn-lt"/>
                    <a:ea typeface="+mn-ea"/>
                    <a:cs typeface="+mn-cs"/>
                  </a:defRPr>
                </a:lvl1pPr>
                <a:lvl2pPr marL="534147" algn="l" defTabSz="1068294" rtl="0" eaLnBrk="1" latinLnBrk="0" hangingPunct="1">
                  <a:defRPr sz="2103" kern="1200">
                    <a:solidFill>
                      <a:schemeClr val="lt1"/>
                    </a:solidFill>
                    <a:latin typeface="+mn-lt"/>
                    <a:ea typeface="+mn-ea"/>
                    <a:cs typeface="+mn-cs"/>
                  </a:defRPr>
                </a:lvl2pPr>
                <a:lvl3pPr marL="1068294" algn="l" defTabSz="1068294" rtl="0" eaLnBrk="1" latinLnBrk="0" hangingPunct="1">
                  <a:defRPr sz="2103" kern="1200">
                    <a:solidFill>
                      <a:schemeClr val="lt1"/>
                    </a:solidFill>
                    <a:latin typeface="+mn-lt"/>
                    <a:ea typeface="+mn-ea"/>
                    <a:cs typeface="+mn-cs"/>
                  </a:defRPr>
                </a:lvl3pPr>
                <a:lvl4pPr marL="1602440" algn="l" defTabSz="1068294" rtl="0" eaLnBrk="1" latinLnBrk="0" hangingPunct="1">
                  <a:defRPr sz="2103" kern="1200">
                    <a:solidFill>
                      <a:schemeClr val="lt1"/>
                    </a:solidFill>
                    <a:latin typeface="+mn-lt"/>
                    <a:ea typeface="+mn-ea"/>
                    <a:cs typeface="+mn-cs"/>
                  </a:defRPr>
                </a:lvl4pPr>
                <a:lvl5pPr marL="2136587" algn="l" defTabSz="1068294" rtl="0" eaLnBrk="1" latinLnBrk="0" hangingPunct="1">
                  <a:defRPr sz="2103" kern="1200">
                    <a:solidFill>
                      <a:schemeClr val="lt1"/>
                    </a:solidFill>
                    <a:latin typeface="+mn-lt"/>
                    <a:ea typeface="+mn-ea"/>
                    <a:cs typeface="+mn-cs"/>
                  </a:defRPr>
                </a:lvl5pPr>
                <a:lvl6pPr marL="2670734" algn="l" defTabSz="1068294" rtl="0" eaLnBrk="1" latinLnBrk="0" hangingPunct="1">
                  <a:defRPr sz="2103" kern="1200">
                    <a:solidFill>
                      <a:schemeClr val="lt1"/>
                    </a:solidFill>
                    <a:latin typeface="+mn-lt"/>
                    <a:ea typeface="+mn-ea"/>
                    <a:cs typeface="+mn-cs"/>
                  </a:defRPr>
                </a:lvl6pPr>
                <a:lvl7pPr marL="3204881" algn="l" defTabSz="1068294" rtl="0" eaLnBrk="1" latinLnBrk="0" hangingPunct="1">
                  <a:defRPr sz="2103" kern="1200">
                    <a:solidFill>
                      <a:schemeClr val="lt1"/>
                    </a:solidFill>
                    <a:latin typeface="+mn-lt"/>
                    <a:ea typeface="+mn-ea"/>
                    <a:cs typeface="+mn-cs"/>
                  </a:defRPr>
                </a:lvl7pPr>
                <a:lvl8pPr marL="3739027" algn="l" defTabSz="1068294" rtl="0" eaLnBrk="1" latinLnBrk="0" hangingPunct="1">
                  <a:defRPr sz="2103" kern="1200">
                    <a:solidFill>
                      <a:schemeClr val="lt1"/>
                    </a:solidFill>
                    <a:latin typeface="+mn-lt"/>
                    <a:ea typeface="+mn-ea"/>
                    <a:cs typeface="+mn-cs"/>
                  </a:defRPr>
                </a:lvl8pPr>
                <a:lvl9pPr marL="4273174" algn="l" defTabSz="1068294" rtl="0" eaLnBrk="1" latinLnBrk="0" hangingPunct="1">
                  <a:defRPr sz="2103" kern="1200">
                    <a:solidFill>
                      <a:schemeClr val="lt1"/>
                    </a:solidFill>
                    <a:latin typeface="+mn-lt"/>
                    <a:ea typeface="+mn-ea"/>
                    <a:cs typeface="+mn-cs"/>
                  </a:defRPr>
                </a:lvl9pPr>
              </a:lstStyle>
              <a:p>
                <a:pPr algn="ctr" defTabSz="801221" fontAlgn="auto">
                  <a:spcBef>
                    <a:spcPts val="0"/>
                  </a:spcBef>
                  <a:spcAft>
                    <a:spcPts val="0"/>
                  </a:spcAft>
                  <a:defRPr/>
                </a:pPr>
                <a:endParaRPr lang="en-US" sz="1600" dirty="0">
                  <a:solidFill>
                    <a:prstClr val="white"/>
                  </a:solidFill>
                  <a:latin typeface="メイリオ"/>
                  <a:ea typeface="メイリオ"/>
                  <a:cs typeface="メイリオ"/>
                </a:endParaRPr>
              </a:p>
            </p:txBody>
          </p:sp>
          <p:sp>
            <p:nvSpPr>
              <p:cNvPr id="104" name="Up Arrow 103"/>
              <p:cNvSpPr/>
              <p:nvPr/>
            </p:nvSpPr>
            <p:spPr>
              <a:xfrm>
                <a:off x="8409010" y="2423663"/>
                <a:ext cx="200613" cy="318844"/>
              </a:xfrm>
              <a:prstGeom prst="upArrow">
                <a:avLst/>
              </a:prstGeom>
              <a:solidFill>
                <a:sysClr val="window" lastClr="FFFFFF"/>
              </a:solidFill>
              <a:ln w="12700" cap="flat" cmpd="sng" algn="ctr">
                <a:noFill/>
                <a:prstDash val="solid"/>
              </a:ln>
              <a:effectLst/>
            </p:spPr>
            <p:txBody>
              <a:bodyPr rtlCol="0" anchor="ctr"/>
              <a:lstStyle>
                <a:defPPr>
                  <a:defRPr lang="en-US"/>
                </a:defPPr>
                <a:lvl1pPr marL="0" algn="l" defTabSz="1068294" rtl="0" eaLnBrk="1" latinLnBrk="0" hangingPunct="1">
                  <a:defRPr sz="2103" kern="1200">
                    <a:solidFill>
                      <a:schemeClr val="lt1"/>
                    </a:solidFill>
                    <a:latin typeface="+mn-lt"/>
                    <a:ea typeface="+mn-ea"/>
                    <a:cs typeface="+mn-cs"/>
                  </a:defRPr>
                </a:lvl1pPr>
                <a:lvl2pPr marL="534147" algn="l" defTabSz="1068294" rtl="0" eaLnBrk="1" latinLnBrk="0" hangingPunct="1">
                  <a:defRPr sz="2103" kern="1200">
                    <a:solidFill>
                      <a:schemeClr val="lt1"/>
                    </a:solidFill>
                    <a:latin typeface="+mn-lt"/>
                    <a:ea typeface="+mn-ea"/>
                    <a:cs typeface="+mn-cs"/>
                  </a:defRPr>
                </a:lvl2pPr>
                <a:lvl3pPr marL="1068294" algn="l" defTabSz="1068294" rtl="0" eaLnBrk="1" latinLnBrk="0" hangingPunct="1">
                  <a:defRPr sz="2103" kern="1200">
                    <a:solidFill>
                      <a:schemeClr val="lt1"/>
                    </a:solidFill>
                    <a:latin typeface="+mn-lt"/>
                    <a:ea typeface="+mn-ea"/>
                    <a:cs typeface="+mn-cs"/>
                  </a:defRPr>
                </a:lvl3pPr>
                <a:lvl4pPr marL="1602440" algn="l" defTabSz="1068294" rtl="0" eaLnBrk="1" latinLnBrk="0" hangingPunct="1">
                  <a:defRPr sz="2103" kern="1200">
                    <a:solidFill>
                      <a:schemeClr val="lt1"/>
                    </a:solidFill>
                    <a:latin typeface="+mn-lt"/>
                    <a:ea typeface="+mn-ea"/>
                    <a:cs typeface="+mn-cs"/>
                  </a:defRPr>
                </a:lvl4pPr>
                <a:lvl5pPr marL="2136587" algn="l" defTabSz="1068294" rtl="0" eaLnBrk="1" latinLnBrk="0" hangingPunct="1">
                  <a:defRPr sz="2103" kern="1200">
                    <a:solidFill>
                      <a:schemeClr val="lt1"/>
                    </a:solidFill>
                    <a:latin typeface="+mn-lt"/>
                    <a:ea typeface="+mn-ea"/>
                    <a:cs typeface="+mn-cs"/>
                  </a:defRPr>
                </a:lvl5pPr>
                <a:lvl6pPr marL="2670734" algn="l" defTabSz="1068294" rtl="0" eaLnBrk="1" latinLnBrk="0" hangingPunct="1">
                  <a:defRPr sz="2103" kern="1200">
                    <a:solidFill>
                      <a:schemeClr val="lt1"/>
                    </a:solidFill>
                    <a:latin typeface="+mn-lt"/>
                    <a:ea typeface="+mn-ea"/>
                    <a:cs typeface="+mn-cs"/>
                  </a:defRPr>
                </a:lvl6pPr>
                <a:lvl7pPr marL="3204881" algn="l" defTabSz="1068294" rtl="0" eaLnBrk="1" latinLnBrk="0" hangingPunct="1">
                  <a:defRPr sz="2103" kern="1200">
                    <a:solidFill>
                      <a:schemeClr val="lt1"/>
                    </a:solidFill>
                    <a:latin typeface="+mn-lt"/>
                    <a:ea typeface="+mn-ea"/>
                    <a:cs typeface="+mn-cs"/>
                  </a:defRPr>
                </a:lvl7pPr>
                <a:lvl8pPr marL="3739027" algn="l" defTabSz="1068294" rtl="0" eaLnBrk="1" latinLnBrk="0" hangingPunct="1">
                  <a:defRPr sz="2103" kern="1200">
                    <a:solidFill>
                      <a:schemeClr val="lt1"/>
                    </a:solidFill>
                    <a:latin typeface="+mn-lt"/>
                    <a:ea typeface="+mn-ea"/>
                    <a:cs typeface="+mn-cs"/>
                  </a:defRPr>
                </a:lvl8pPr>
                <a:lvl9pPr marL="4273174" algn="l" defTabSz="1068294" rtl="0" eaLnBrk="1" latinLnBrk="0" hangingPunct="1">
                  <a:defRPr sz="2103" kern="1200">
                    <a:solidFill>
                      <a:schemeClr val="lt1"/>
                    </a:solidFill>
                    <a:latin typeface="+mn-lt"/>
                    <a:ea typeface="+mn-ea"/>
                    <a:cs typeface="+mn-cs"/>
                  </a:defRPr>
                </a:lvl9pPr>
              </a:lstStyle>
              <a:p>
                <a:pPr algn="ctr" defTabSz="801221" fontAlgn="auto">
                  <a:spcBef>
                    <a:spcPts val="0"/>
                  </a:spcBef>
                  <a:spcAft>
                    <a:spcPts val="0"/>
                  </a:spcAft>
                  <a:defRPr/>
                </a:pPr>
                <a:endParaRPr lang="en-US" sz="1600" dirty="0">
                  <a:solidFill>
                    <a:prstClr val="white"/>
                  </a:solidFill>
                  <a:latin typeface="メイリオ"/>
                  <a:ea typeface="メイリオ"/>
                  <a:cs typeface="メイリオ"/>
                </a:endParaRPr>
              </a:p>
            </p:txBody>
          </p:sp>
        </p:grpSp>
      </p:grpSp>
      <p:cxnSp>
        <p:nvCxnSpPr>
          <p:cNvPr id="108" name="Straight Connector 107"/>
          <p:cNvCxnSpPr/>
          <p:nvPr/>
        </p:nvCxnSpPr>
        <p:spPr>
          <a:xfrm>
            <a:off x="3596157" y="2801813"/>
            <a:ext cx="0" cy="941658"/>
          </a:xfrm>
          <a:prstGeom prst="line">
            <a:avLst/>
          </a:prstGeom>
          <a:noFill/>
          <a:ln w="31750" cap="flat" cmpd="sng" algn="ctr">
            <a:solidFill>
              <a:schemeClr val="accent2"/>
            </a:solidFill>
            <a:prstDash val="sysDash"/>
          </a:ln>
          <a:effectLst/>
        </p:spPr>
      </p:cxnSp>
      <p:sp>
        <p:nvSpPr>
          <p:cNvPr id="110" name="Freeform 109"/>
          <p:cNvSpPr>
            <a:spLocks/>
          </p:cNvSpPr>
          <p:nvPr/>
        </p:nvSpPr>
        <p:spPr bwMode="auto">
          <a:xfrm>
            <a:off x="2725056" y="3695599"/>
            <a:ext cx="1756352" cy="546623"/>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rgbClr val="142854">
              <a:lumMod val="75000"/>
            </a:srgbClr>
          </a:solidFill>
          <a:ln>
            <a:noFill/>
          </a:ln>
        </p:spPr>
        <p:txBody>
          <a:bodyPr vert="horz" wrap="square" lIns="68580" tIns="34290" rIns="68580" bIns="34290" numCol="1" anchor="t" anchorCtr="0" compatLnSpc="1">
            <a:prstTxWarp prst="textNoShape">
              <a:avLst/>
            </a:prstTxWarp>
            <a:noAutofit/>
          </a:bodyPr>
          <a:lstStyle/>
          <a:p>
            <a:pPr defTabSz="342900">
              <a:defRPr/>
            </a:pPr>
            <a:endParaRPr lang="en-US" kern="0">
              <a:solidFill>
                <a:srgbClr val="676767"/>
              </a:solidFill>
              <a:latin typeface="メイリオ"/>
              <a:ea typeface="メイリオ"/>
              <a:cs typeface="メイリオ"/>
            </a:endParaRPr>
          </a:p>
        </p:txBody>
      </p:sp>
      <p:grpSp>
        <p:nvGrpSpPr>
          <p:cNvPr id="111" name="Group 110"/>
          <p:cNvGrpSpPr/>
          <p:nvPr/>
        </p:nvGrpSpPr>
        <p:grpSpPr>
          <a:xfrm>
            <a:off x="3925150" y="3722421"/>
            <a:ext cx="521282" cy="375248"/>
            <a:chOff x="8120710" y="1078757"/>
            <a:chExt cx="2713192" cy="1974768"/>
          </a:xfrm>
        </p:grpSpPr>
        <p:sp>
          <p:nvSpPr>
            <p:cNvPr id="112" name="Rectangle 561"/>
            <p:cNvSpPr/>
            <p:nvPr/>
          </p:nvSpPr>
          <p:spPr>
            <a:xfrm>
              <a:off x="8120710" y="1078757"/>
              <a:ext cx="2713192" cy="1974768"/>
            </a:xfrm>
            <a:custGeom>
              <a:avLst/>
              <a:gdLst>
                <a:gd name="connsiteX0" fmla="*/ 0 w 794608"/>
                <a:gd name="connsiteY0" fmla="*/ 0 h 534457"/>
                <a:gd name="connsiteX1" fmla="*/ 794608 w 794608"/>
                <a:gd name="connsiteY1" fmla="*/ 0 h 534457"/>
                <a:gd name="connsiteX2" fmla="*/ 794608 w 794608"/>
                <a:gd name="connsiteY2" fmla="*/ 534457 h 534457"/>
                <a:gd name="connsiteX3" fmla="*/ 0 w 794608"/>
                <a:gd name="connsiteY3" fmla="*/ 534457 h 534457"/>
                <a:gd name="connsiteX4" fmla="*/ 0 w 794608"/>
                <a:gd name="connsiteY4" fmla="*/ 0 h 534457"/>
                <a:gd name="connsiteX0" fmla="*/ 0 w 798418"/>
                <a:gd name="connsiteY0" fmla="*/ 41910 h 576367"/>
                <a:gd name="connsiteX1" fmla="*/ 798418 w 798418"/>
                <a:gd name="connsiteY1" fmla="*/ 0 h 576367"/>
                <a:gd name="connsiteX2" fmla="*/ 794608 w 798418"/>
                <a:gd name="connsiteY2" fmla="*/ 576367 h 576367"/>
                <a:gd name="connsiteX3" fmla="*/ 0 w 798418"/>
                <a:gd name="connsiteY3" fmla="*/ 576367 h 576367"/>
                <a:gd name="connsiteX4" fmla="*/ 0 w 798418"/>
                <a:gd name="connsiteY4" fmla="*/ 41910 h 576367"/>
                <a:gd name="connsiteX0" fmla="*/ 0 w 798418"/>
                <a:gd name="connsiteY0" fmla="*/ 41910 h 639232"/>
                <a:gd name="connsiteX1" fmla="*/ 798418 w 798418"/>
                <a:gd name="connsiteY1" fmla="*/ 0 h 639232"/>
                <a:gd name="connsiteX2" fmla="*/ 792703 w 798418"/>
                <a:gd name="connsiteY2" fmla="*/ 639232 h 639232"/>
                <a:gd name="connsiteX3" fmla="*/ 0 w 798418"/>
                <a:gd name="connsiteY3" fmla="*/ 576367 h 639232"/>
                <a:gd name="connsiteX4" fmla="*/ 0 w 798418"/>
                <a:gd name="connsiteY4" fmla="*/ 41910 h 639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418" h="639232">
                  <a:moveTo>
                    <a:pt x="0" y="41910"/>
                  </a:moveTo>
                  <a:lnTo>
                    <a:pt x="798418" y="0"/>
                  </a:lnTo>
                  <a:lnTo>
                    <a:pt x="792703" y="639232"/>
                  </a:lnTo>
                  <a:lnTo>
                    <a:pt x="0" y="576367"/>
                  </a:lnTo>
                  <a:lnTo>
                    <a:pt x="0" y="41910"/>
                  </a:lnTo>
                  <a:close/>
                </a:path>
              </a:pathLst>
            </a:custGeom>
            <a:solidFill>
              <a:srgbClr val="FFFFFF"/>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13" name="Freeform 112"/>
            <p:cNvSpPr>
              <a:spLocks noEditPoints="1"/>
            </p:cNvSpPr>
            <p:nvPr/>
          </p:nvSpPr>
          <p:spPr bwMode="auto">
            <a:xfrm rot="212959">
              <a:off x="8204711" y="2413436"/>
              <a:ext cx="462112" cy="366043"/>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D71F13"/>
            </a:solidFill>
            <a:ln>
              <a:noFill/>
            </a:ln>
            <a:scene3d>
              <a:camera prst="orthographicFront">
                <a:rot lat="0" lon="18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14" name="Freeform 18"/>
            <p:cNvSpPr>
              <a:spLocks noEditPoints="1"/>
            </p:cNvSpPr>
            <p:nvPr/>
          </p:nvSpPr>
          <p:spPr bwMode="auto">
            <a:xfrm>
              <a:off x="8212892" y="1524701"/>
              <a:ext cx="2461155" cy="1282153"/>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cxnSp>
          <p:nvCxnSpPr>
            <p:cNvPr id="115" name="Elbow Connector 114"/>
            <p:cNvCxnSpPr/>
            <p:nvPr/>
          </p:nvCxnSpPr>
          <p:spPr>
            <a:xfrm flipV="1">
              <a:off x="8868275" y="1953089"/>
              <a:ext cx="332123" cy="260199"/>
            </a:xfrm>
            <a:prstGeom prst="bentConnector3">
              <a:avLst>
                <a:gd name="adj1" fmla="val 99145"/>
              </a:avLst>
            </a:prstGeom>
            <a:noFill/>
            <a:ln w="9525" cap="flat" cmpd="sng" algn="ctr">
              <a:solidFill>
                <a:srgbClr val="D71F13"/>
              </a:solidFill>
              <a:prstDash val="solid"/>
            </a:ln>
            <a:effectLst/>
          </p:spPr>
        </p:cxnSp>
        <p:sp>
          <p:nvSpPr>
            <p:cNvPr id="116" name="Freeform 115"/>
            <p:cNvSpPr>
              <a:spLocks noEditPoints="1"/>
            </p:cNvSpPr>
            <p:nvPr/>
          </p:nvSpPr>
          <p:spPr bwMode="auto">
            <a:xfrm>
              <a:off x="9115727" y="1824121"/>
              <a:ext cx="169344" cy="134139"/>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D71F13"/>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17" name="Oval 116"/>
            <p:cNvSpPr/>
            <p:nvPr/>
          </p:nvSpPr>
          <p:spPr>
            <a:xfrm>
              <a:off x="8729103" y="2162396"/>
              <a:ext cx="107487" cy="107486"/>
            </a:xfrm>
            <a:prstGeom prst="ellipse">
              <a:avLst/>
            </a:prstGeom>
            <a:solidFill>
              <a:srgbClr val="FFFFFF"/>
            </a:solidFill>
            <a:ln w="9525" cap="flat" cmpd="sng" algn="ctr">
              <a:solidFill>
                <a:srgbClr val="D71F13"/>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18" name="Freeform 117"/>
            <p:cNvSpPr/>
            <p:nvPr/>
          </p:nvSpPr>
          <p:spPr>
            <a:xfrm>
              <a:off x="8120710" y="1078757"/>
              <a:ext cx="2713192" cy="323995"/>
            </a:xfrm>
            <a:custGeom>
              <a:avLst/>
              <a:gdLst>
                <a:gd name="connsiteX0" fmla="*/ 1176706 w 1176706"/>
                <a:gd name="connsiteY0" fmla="*/ 0 h 140516"/>
                <a:gd name="connsiteX1" fmla="*/ 1175876 w 1176706"/>
                <a:gd name="connsiteY1" fmla="*/ 84404 h 140516"/>
                <a:gd name="connsiteX2" fmla="*/ 0 w 1176706"/>
                <a:gd name="connsiteY2" fmla="*/ 140516 h 140516"/>
                <a:gd name="connsiteX3" fmla="*/ 0 w 1176706"/>
                <a:gd name="connsiteY3" fmla="*/ 56152 h 140516"/>
                <a:gd name="connsiteX4" fmla="*/ 1176706 w 1176706"/>
                <a:gd name="connsiteY4" fmla="*/ 0 h 14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706" h="140516">
                  <a:moveTo>
                    <a:pt x="1176706" y="0"/>
                  </a:moveTo>
                  <a:lnTo>
                    <a:pt x="1175876" y="84404"/>
                  </a:lnTo>
                  <a:lnTo>
                    <a:pt x="0" y="140516"/>
                  </a:lnTo>
                  <a:lnTo>
                    <a:pt x="0" y="56152"/>
                  </a:lnTo>
                  <a:lnTo>
                    <a:pt x="1176706" y="0"/>
                  </a:lnTo>
                  <a:close/>
                </a:path>
              </a:pathLst>
            </a:custGeom>
            <a:solidFill>
              <a:srgbClr val="D71F13"/>
            </a:solidFill>
            <a:ln w="25400" cap="flat" cmpd="sng" algn="ctr">
              <a:noFill/>
              <a:prstDash val="solid"/>
            </a:ln>
            <a:effectLst/>
          </p:spPr>
          <p:txBody>
            <a:bodyPr wrap="square" rtlCol="0" anchor="ctr">
              <a:noAutofit/>
            </a:bodyP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19" name="Rectangle 118"/>
            <p:cNvSpPr/>
            <p:nvPr/>
          </p:nvSpPr>
          <p:spPr>
            <a:xfrm>
              <a:off x="9661337" y="2532658"/>
              <a:ext cx="296314"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20" name="Rectangle 119"/>
            <p:cNvSpPr/>
            <p:nvPr/>
          </p:nvSpPr>
          <p:spPr>
            <a:xfrm>
              <a:off x="9661337" y="2603737"/>
              <a:ext cx="272780"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21" name="Rectangle 120"/>
            <p:cNvSpPr/>
            <p:nvPr/>
          </p:nvSpPr>
          <p:spPr>
            <a:xfrm>
              <a:off x="9661337" y="2674819"/>
              <a:ext cx="115152"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22" name="Rectangle 121"/>
            <p:cNvSpPr/>
            <p:nvPr/>
          </p:nvSpPr>
          <p:spPr>
            <a:xfrm>
              <a:off x="9661337" y="2745898"/>
              <a:ext cx="160745" cy="33908"/>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grpSp>
        <p:nvGrpSpPr>
          <p:cNvPr id="123" name="Group 122"/>
          <p:cNvGrpSpPr/>
          <p:nvPr/>
        </p:nvGrpSpPr>
        <p:grpSpPr>
          <a:xfrm>
            <a:off x="3353103" y="3749054"/>
            <a:ext cx="498995" cy="299112"/>
            <a:chOff x="4786870" y="1169894"/>
            <a:chExt cx="2700245" cy="1651089"/>
          </a:xfrm>
        </p:grpSpPr>
        <p:sp>
          <p:nvSpPr>
            <p:cNvPr id="124" name="Rectangle 123"/>
            <p:cNvSpPr/>
            <p:nvPr/>
          </p:nvSpPr>
          <p:spPr>
            <a:xfrm>
              <a:off x="4786870" y="1169894"/>
              <a:ext cx="2700245" cy="1651089"/>
            </a:xfrm>
            <a:prstGeom prst="rect">
              <a:avLst/>
            </a:prstGeom>
            <a:solidFill>
              <a:srgbClr val="FFFFFF"/>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25" name="Rectangle 124"/>
            <p:cNvSpPr/>
            <p:nvPr/>
          </p:nvSpPr>
          <p:spPr>
            <a:xfrm>
              <a:off x="6005171" y="1291688"/>
              <a:ext cx="1375530" cy="1158066"/>
            </a:xfrm>
            <a:prstGeom prst="rect">
              <a:avLst/>
            </a:prstGeom>
            <a:solidFill>
              <a:srgbClr val="FFFFFF"/>
            </a:solidFill>
            <a:ln w="12700" cap="flat" cmpd="sng" algn="ctr">
              <a:solidFill>
                <a:srgbClr val="FFC000"/>
              </a:solid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26" name="Rectangle 125"/>
            <p:cNvSpPr/>
            <p:nvPr/>
          </p:nvSpPr>
          <p:spPr>
            <a:xfrm>
              <a:off x="4786870" y="1169894"/>
              <a:ext cx="1122910" cy="1651089"/>
            </a:xfrm>
            <a:prstGeom prst="rect">
              <a:avLst/>
            </a:prstGeom>
            <a:solidFill>
              <a:srgbClr val="FFFFFF">
                <a:lumMod val="9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nvGrpSpPr>
            <p:cNvPr id="127" name="Group 126"/>
            <p:cNvGrpSpPr/>
            <p:nvPr/>
          </p:nvGrpSpPr>
          <p:grpSpPr>
            <a:xfrm>
              <a:off x="4861961" y="1271395"/>
              <a:ext cx="271449" cy="283084"/>
              <a:chOff x="2699362" y="419773"/>
              <a:chExt cx="1310784" cy="1503649"/>
            </a:xfrm>
            <a:solidFill>
              <a:srgbClr val="FFFFFF">
                <a:lumMod val="65000"/>
              </a:srgbClr>
            </a:solidFill>
          </p:grpSpPr>
          <p:grpSp>
            <p:nvGrpSpPr>
              <p:cNvPr id="202" name="Group 201"/>
              <p:cNvGrpSpPr/>
              <p:nvPr/>
            </p:nvGrpSpPr>
            <p:grpSpPr>
              <a:xfrm>
                <a:off x="2699362" y="419773"/>
                <a:ext cx="1310784" cy="1503649"/>
                <a:chOff x="2699358" y="419774"/>
                <a:chExt cx="1310782" cy="1503648"/>
              </a:xfrm>
              <a:grpFill/>
            </p:grpSpPr>
            <p:sp>
              <p:nvSpPr>
                <p:cNvPr id="20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09" name="Rectangle 208"/>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10" name="Rectangle 209"/>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203" name="Rectangle 202"/>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04" name="Rectangle 203"/>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05" name="Rectangle 204"/>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06" name="Rectangle 205"/>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0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grpSp>
          <p:nvGrpSpPr>
            <p:cNvPr id="128" name="Group 127"/>
            <p:cNvGrpSpPr/>
            <p:nvPr/>
          </p:nvGrpSpPr>
          <p:grpSpPr>
            <a:xfrm>
              <a:off x="5181983" y="1271395"/>
              <a:ext cx="271449" cy="283084"/>
              <a:chOff x="2699362" y="419773"/>
              <a:chExt cx="1310784" cy="1503649"/>
            </a:xfrm>
            <a:solidFill>
              <a:srgbClr val="FFFFFF">
                <a:lumMod val="65000"/>
              </a:srgbClr>
            </a:solidFill>
          </p:grpSpPr>
          <p:grpSp>
            <p:nvGrpSpPr>
              <p:cNvPr id="193" name="Group 192"/>
              <p:cNvGrpSpPr/>
              <p:nvPr/>
            </p:nvGrpSpPr>
            <p:grpSpPr>
              <a:xfrm>
                <a:off x="2699362" y="419773"/>
                <a:ext cx="1310784" cy="1503649"/>
                <a:chOff x="2699358" y="419774"/>
                <a:chExt cx="1310782" cy="1503648"/>
              </a:xfrm>
              <a:grpFill/>
            </p:grpSpPr>
            <p:sp>
              <p:nvSpPr>
                <p:cNvPr id="199"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00" name="Rectangle 19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01" name="Rectangle 20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94" name="Rectangle 193"/>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95" name="Rectangle 194"/>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96" name="Rectangle 195"/>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97" name="Rectangle 196"/>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9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grpSp>
          <p:nvGrpSpPr>
            <p:cNvPr id="129" name="Group 128"/>
            <p:cNvGrpSpPr/>
            <p:nvPr/>
          </p:nvGrpSpPr>
          <p:grpSpPr>
            <a:xfrm>
              <a:off x="5508282" y="1271395"/>
              <a:ext cx="271449" cy="283084"/>
              <a:chOff x="2699362" y="419773"/>
              <a:chExt cx="1310784" cy="1503649"/>
            </a:xfrm>
            <a:solidFill>
              <a:srgbClr val="FFC000"/>
            </a:solidFill>
          </p:grpSpPr>
          <p:grpSp>
            <p:nvGrpSpPr>
              <p:cNvPr id="184" name="Group 183"/>
              <p:cNvGrpSpPr/>
              <p:nvPr/>
            </p:nvGrpSpPr>
            <p:grpSpPr>
              <a:xfrm>
                <a:off x="2699362" y="419773"/>
                <a:ext cx="1310784" cy="1503649"/>
                <a:chOff x="2699358" y="419774"/>
                <a:chExt cx="1310782" cy="1503648"/>
              </a:xfrm>
              <a:grpFill/>
            </p:grpSpPr>
            <p:sp>
              <p:nvSpPr>
                <p:cNvPr id="19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91" name="Rectangle 19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192" name="Rectangle 19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85" name="Rectangle 184"/>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86" name="Rectangle 185"/>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87" name="Rectangle 186"/>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88" name="Rectangle 187"/>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8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grpSp>
          <p:nvGrpSpPr>
            <p:cNvPr id="130" name="Group 129"/>
            <p:cNvGrpSpPr/>
            <p:nvPr/>
          </p:nvGrpSpPr>
          <p:grpSpPr>
            <a:xfrm>
              <a:off x="4861961" y="1597694"/>
              <a:ext cx="271449" cy="283084"/>
              <a:chOff x="2699362" y="419773"/>
              <a:chExt cx="1310784" cy="1503649"/>
            </a:xfrm>
            <a:solidFill>
              <a:srgbClr val="FFFFFF">
                <a:lumMod val="65000"/>
              </a:srgbClr>
            </a:solidFill>
          </p:grpSpPr>
          <p:grpSp>
            <p:nvGrpSpPr>
              <p:cNvPr id="175" name="Group 174"/>
              <p:cNvGrpSpPr/>
              <p:nvPr/>
            </p:nvGrpSpPr>
            <p:grpSpPr>
              <a:xfrm>
                <a:off x="2699362" y="419773"/>
                <a:ext cx="1310784" cy="1503649"/>
                <a:chOff x="2699358" y="419774"/>
                <a:chExt cx="1310782" cy="1503648"/>
              </a:xfrm>
              <a:grpFill/>
            </p:grpSpPr>
            <p:sp>
              <p:nvSpPr>
                <p:cNvPr id="18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82" name="Rectangle 18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183" name="Rectangle 18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76" name="Rectangle 175"/>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77" name="Rectangle 176"/>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78" name="Rectangle 177"/>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79" name="Rectangle 178"/>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8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grpSp>
          <p:nvGrpSpPr>
            <p:cNvPr id="131" name="Group 130"/>
            <p:cNvGrpSpPr/>
            <p:nvPr/>
          </p:nvGrpSpPr>
          <p:grpSpPr>
            <a:xfrm>
              <a:off x="5181983" y="1597694"/>
              <a:ext cx="271449" cy="283084"/>
              <a:chOff x="2699362" y="419773"/>
              <a:chExt cx="1310784" cy="1503649"/>
            </a:xfrm>
            <a:solidFill>
              <a:srgbClr val="FFFFFF">
                <a:lumMod val="65000"/>
              </a:srgbClr>
            </a:solidFill>
          </p:grpSpPr>
          <p:grpSp>
            <p:nvGrpSpPr>
              <p:cNvPr id="166" name="Group 165"/>
              <p:cNvGrpSpPr/>
              <p:nvPr/>
            </p:nvGrpSpPr>
            <p:grpSpPr>
              <a:xfrm>
                <a:off x="2699362" y="419773"/>
                <a:ext cx="1310784" cy="1503649"/>
                <a:chOff x="2699358" y="419774"/>
                <a:chExt cx="1310782" cy="1503648"/>
              </a:xfrm>
              <a:grpFill/>
            </p:grpSpPr>
            <p:sp>
              <p:nvSpPr>
                <p:cNvPr id="17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73" name="Rectangle 17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174" name="Rectangle 17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67" name="Rectangle 166"/>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68" name="Rectangle 167"/>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69" name="Rectangle 168"/>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70" name="Rectangle 169"/>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7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grpSp>
          <p:nvGrpSpPr>
            <p:cNvPr id="132" name="Group 131"/>
            <p:cNvGrpSpPr/>
            <p:nvPr/>
          </p:nvGrpSpPr>
          <p:grpSpPr>
            <a:xfrm>
              <a:off x="5508282" y="1597694"/>
              <a:ext cx="271449" cy="283084"/>
              <a:chOff x="2699362" y="419773"/>
              <a:chExt cx="1310784" cy="1503649"/>
            </a:xfrm>
            <a:solidFill>
              <a:srgbClr val="FFFFFF">
                <a:lumMod val="65000"/>
              </a:srgbClr>
            </a:solidFill>
          </p:grpSpPr>
          <p:grpSp>
            <p:nvGrpSpPr>
              <p:cNvPr id="157" name="Group 156"/>
              <p:cNvGrpSpPr/>
              <p:nvPr/>
            </p:nvGrpSpPr>
            <p:grpSpPr>
              <a:xfrm>
                <a:off x="2699362" y="419773"/>
                <a:ext cx="1310784" cy="1503649"/>
                <a:chOff x="2699358" y="419774"/>
                <a:chExt cx="1310782" cy="1503648"/>
              </a:xfrm>
              <a:grpFill/>
            </p:grpSpPr>
            <p:sp>
              <p:nvSpPr>
                <p:cNvPr id="16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64" name="Rectangle 16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165" name="Rectangle 16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58" name="Rectangle 157"/>
              <p:cNvSpPr/>
              <p:nvPr/>
            </p:nvSpPr>
            <p:spPr>
              <a:xfrm>
                <a:off x="2878160" y="665013"/>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59" name="Rectangle 158"/>
              <p:cNvSpPr/>
              <p:nvPr/>
            </p:nvSpPr>
            <p:spPr>
              <a:xfrm>
                <a:off x="2878160" y="806734"/>
                <a:ext cx="494415"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60" name="Rectangle 159"/>
              <p:cNvSpPr/>
              <p:nvPr/>
            </p:nvSpPr>
            <p:spPr>
              <a:xfrm>
                <a:off x="2878160" y="948449"/>
                <a:ext cx="208712"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61" name="Rectangle 160"/>
              <p:cNvSpPr/>
              <p:nvPr/>
            </p:nvSpPr>
            <p:spPr>
              <a:xfrm>
                <a:off x="2878160" y="1090164"/>
                <a:ext cx="29135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6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sp>
          <p:nvSpPr>
            <p:cNvPr id="133" name="Rectangle 132"/>
            <p:cNvSpPr/>
            <p:nvPr/>
          </p:nvSpPr>
          <p:spPr>
            <a:xfrm>
              <a:off x="4865717" y="1967345"/>
              <a:ext cx="546038"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4" name="Rectangle 133"/>
            <p:cNvSpPr/>
            <p:nvPr/>
          </p:nvSpPr>
          <p:spPr>
            <a:xfrm>
              <a:off x="4865717" y="2098132"/>
              <a:ext cx="663337"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5" name="Rectangle 134"/>
            <p:cNvSpPr/>
            <p:nvPr/>
          </p:nvSpPr>
          <p:spPr>
            <a:xfrm>
              <a:off x="4865717" y="2228919"/>
              <a:ext cx="455398"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6" name="Rectangle 135"/>
            <p:cNvSpPr/>
            <p:nvPr/>
          </p:nvSpPr>
          <p:spPr>
            <a:xfrm>
              <a:off x="4865717" y="2359706"/>
              <a:ext cx="759309"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7" name="Rectangle 136"/>
            <p:cNvSpPr/>
            <p:nvPr/>
          </p:nvSpPr>
          <p:spPr>
            <a:xfrm>
              <a:off x="4865717" y="2490493"/>
              <a:ext cx="207470"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8" name="Rectangle 137"/>
            <p:cNvSpPr/>
            <p:nvPr/>
          </p:nvSpPr>
          <p:spPr>
            <a:xfrm>
              <a:off x="4865717" y="2621279"/>
              <a:ext cx="668669" cy="66502"/>
            </a:xfrm>
            <a:prstGeom prst="rect">
              <a:avLst/>
            </a:prstGeom>
            <a:solidFill>
              <a:srgbClr val="FFC00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39" name="Rectangle 138"/>
            <p:cNvSpPr/>
            <p:nvPr/>
          </p:nvSpPr>
          <p:spPr>
            <a:xfrm>
              <a:off x="5388232" y="2228919"/>
              <a:ext cx="303441"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0" name="Rectangle 139"/>
            <p:cNvSpPr/>
            <p:nvPr/>
          </p:nvSpPr>
          <p:spPr>
            <a:xfrm>
              <a:off x="5137638" y="2490493"/>
              <a:ext cx="207470" cy="66502"/>
            </a:xfrm>
            <a:prstGeom prst="rect">
              <a:avLst/>
            </a:prstGeom>
            <a:solidFill>
              <a:srgbClr val="FFFFFF">
                <a:lumMod val="7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nvGrpSpPr>
            <p:cNvPr id="141" name="Group 140"/>
            <p:cNvGrpSpPr/>
            <p:nvPr/>
          </p:nvGrpSpPr>
          <p:grpSpPr>
            <a:xfrm>
              <a:off x="6096000" y="1376197"/>
              <a:ext cx="406365" cy="423783"/>
              <a:chOff x="2699358" y="419774"/>
              <a:chExt cx="1310781" cy="1503648"/>
            </a:xfrm>
            <a:solidFill>
              <a:srgbClr val="FFC000"/>
            </a:solidFill>
          </p:grpSpPr>
          <p:grpSp>
            <p:nvGrpSpPr>
              <p:cNvPr id="148" name="Group 147"/>
              <p:cNvGrpSpPr/>
              <p:nvPr/>
            </p:nvGrpSpPr>
            <p:grpSpPr>
              <a:xfrm>
                <a:off x="2699358" y="419774"/>
                <a:ext cx="1310781" cy="1503648"/>
                <a:chOff x="2699358" y="419774"/>
                <a:chExt cx="1310782" cy="1503648"/>
              </a:xfrm>
              <a:grpFill/>
            </p:grpSpPr>
            <p:sp>
              <p:nvSpPr>
                <p:cNvPr id="154"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155" name="Rectangle 15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156" name="Rectangle 15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grpSp>
          <p:sp>
            <p:nvSpPr>
              <p:cNvPr id="149" name="Rectangle 148"/>
              <p:cNvSpPr/>
              <p:nvPr/>
            </p:nvSpPr>
            <p:spPr>
              <a:xfrm>
                <a:off x="2878158" y="665015"/>
                <a:ext cx="537073"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50" name="Rectangle 149"/>
              <p:cNvSpPr/>
              <p:nvPr/>
            </p:nvSpPr>
            <p:spPr>
              <a:xfrm>
                <a:off x="2878155" y="806732"/>
                <a:ext cx="494414"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51" name="Rectangle 150"/>
              <p:cNvSpPr/>
              <p:nvPr/>
            </p:nvSpPr>
            <p:spPr>
              <a:xfrm>
                <a:off x="2878155" y="948449"/>
                <a:ext cx="208714" cy="67606"/>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52" name="Rectangle 151"/>
              <p:cNvSpPr/>
              <p:nvPr/>
            </p:nvSpPr>
            <p:spPr>
              <a:xfrm>
                <a:off x="2878151" y="1090166"/>
                <a:ext cx="291351" cy="67607"/>
              </a:xfrm>
              <a:prstGeom prst="rect">
                <a:avLst/>
              </a:prstGeom>
              <a:grp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53" name="Freeform 19"/>
              <p:cNvSpPr>
                <a:spLocks noChangeAspect="1" noEditPoints="1"/>
              </p:cNvSpPr>
              <p:nvPr/>
            </p:nvSpPr>
            <p:spPr bwMode="auto">
              <a:xfrm>
                <a:off x="2870197" y="1362075"/>
                <a:ext cx="322859" cy="414882"/>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US" sz="1400" kern="0">
                  <a:solidFill>
                    <a:srgbClr val="FFFFFF"/>
                  </a:solidFill>
                  <a:latin typeface="メイリオ"/>
                  <a:ea typeface="メイリオ"/>
                  <a:cs typeface="メイリオ"/>
                </a:endParaRPr>
              </a:p>
            </p:txBody>
          </p:sp>
        </p:grpSp>
        <p:sp>
          <p:nvSpPr>
            <p:cNvPr id="142" name="Rounded Rectangle 141"/>
            <p:cNvSpPr/>
            <p:nvPr/>
          </p:nvSpPr>
          <p:spPr>
            <a:xfrm>
              <a:off x="6866964" y="2545976"/>
              <a:ext cx="525930" cy="185271"/>
            </a:xfrm>
            <a:prstGeom prst="roundRect">
              <a:avLst/>
            </a:prstGeom>
            <a:solidFill>
              <a:srgbClr val="92D050"/>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3" name="Rectangle 142"/>
            <p:cNvSpPr/>
            <p:nvPr/>
          </p:nvSpPr>
          <p:spPr>
            <a:xfrm>
              <a:off x="6573725" y="1412211"/>
              <a:ext cx="571172"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4" name="Rectangle 143"/>
            <p:cNvSpPr/>
            <p:nvPr/>
          </p:nvSpPr>
          <p:spPr>
            <a:xfrm>
              <a:off x="6573725" y="1549764"/>
              <a:ext cx="385148"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5" name="Rectangle 144"/>
            <p:cNvSpPr/>
            <p:nvPr/>
          </p:nvSpPr>
          <p:spPr>
            <a:xfrm>
              <a:off x="6573724" y="1687317"/>
              <a:ext cx="521391"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6" name="Rectangle 145"/>
            <p:cNvSpPr/>
            <p:nvPr/>
          </p:nvSpPr>
          <p:spPr>
            <a:xfrm>
              <a:off x="6573724" y="1824870"/>
              <a:ext cx="605233"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147" name="Rectangle 146"/>
            <p:cNvSpPr/>
            <p:nvPr/>
          </p:nvSpPr>
          <p:spPr>
            <a:xfrm>
              <a:off x="6573725" y="1962424"/>
              <a:ext cx="382528" cy="78602"/>
            </a:xfrm>
            <a:prstGeom prst="rect">
              <a:avLst/>
            </a:prstGeom>
            <a:solidFill>
              <a:srgbClr val="FFFFFF">
                <a:lumMod val="6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sp>
        <p:nvSpPr>
          <p:cNvPr id="211" name="Freeform 88"/>
          <p:cNvSpPr>
            <a:spLocks/>
          </p:cNvSpPr>
          <p:nvPr/>
        </p:nvSpPr>
        <p:spPr bwMode="auto">
          <a:xfrm>
            <a:off x="2764958" y="3717195"/>
            <a:ext cx="517948" cy="390598"/>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Lst>
            <a:ahLst/>
            <a:cxnLst>
              <a:cxn ang="0">
                <a:pos x="T0" y="T1"/>
              </a:cxn>
              <a:cxn ang="0">
                <a:pos x="T2" y="T3"/>
              </a:cxn>
              <a:cxn ang="0">
                <a:pos x="T4" y="T5"/>
              </a:cxn>
              <a:cxn ang="0">
                <a:pos x="T6" y="T7"/>
              </a:cxn>
              <a:cxn ang="0">
                <a:pos x="T8" y="T9"/>
              </a:cxn>
            </a:cxnLst>
            <a:rect l="0" t="0" r="r" b="b"/>
            <a:pathLst>
              <a:path w="349" h="252">
                <a:moveTo>
                  <a:pt x="349" y="222"/>
                </a:moveTo>
                <a:lnTo>
                  <a:pt x="0" y="252"/>
                </a:lnTo>
                <a:lnTo>
                  <a:pt x="0" y="0"/>
                </a:lnTo>
                <a:lnTo>
                  <a:pt x="349" y="19"/>
                </a:lnTo>
                <a:lnTo>
                  <a:pt x="349" y="222"/>
                </a:lnTo>
                <a:close/>
              </a:path>
            </a:pathLst>
          </a:custGeom>
          <a:solidFill>
            <a:srgbClr val="676767"/>
          </a:solidFill>
          <a:ln>
            <a:noFill/>
          </a:ln>
        </p:spPr>
        <p:txBody>
          <a:bodyPr vert="horz" wrap="square" lIns="68580" tIns="34290" rIns="68580" bIns="34290" numCol="1" anchor="t" anchorCtr="0" compatLnSpc="1">
            <a:prstTxWarp prst="textNoShape">
              <a:avLst/>
            </a:prstTxWarp>
          </a:bodyPr>
          <a:lstStyle/>
          <a:p>
            <a:pPr defTabSz="342900">
              <a:defRPr/>
            </a:pPr>
            <a:endParaRPr lang="en-US" kern="0">
              <a:solidFill>
                <a:srgbClr val="676767"/>
              </a:solidFill>
              <a:latin typeface="メイリオ"/>
              <a:ea typeface="メイリオ"/>
              <a:cs typeface="メイリオ"/>
            </a:endParaRPr>
          </a:p>
        </p:txBody>
      </p:sp>
      <p:grpSp>
        <p:nvGrpSpPr>
          <p:cNvPr id="212" name="Group 211"/>
          <p:cNvGrpSpPr/>
          <p:nvPr/>
        </p:nvGrpSpPr>
        <p:grpSpPr>
          <a:xfrm>
            <a:off x="2761454" y="3716782"/>
            <a:ext cx="522310" cy="392525"/>
            <a:chOff x="1123963" y="4031464"/>
            <a:chExt cx="1268502" cy="923266"/>
          </a:xfrm>
        </p:grpSpPr>
        <p:sp>
          <p:nvSpPr>
            <p:cNvPr id="213" name="Rectangle 561"/>
            <p:cNvSpPr/>
            <p:nvPr/>
          </p:nvSpPr>
          <p:spPr>
            <a:xfrm flipH="1">
              <a:off x="1123963" y="4031464"/>
              <a:ext cx="1268502" cy="923266"/>
            </a:xfrm>
            <a:custGeom>
              <a:avLst/>
              <a:gdLst>
                <a:gd name="connsiteX0" fmla="*/ 0 w 794608"/>
                <a:gd name="connsiteY0" fmla="*/ 0 h 534457"/>
                <a:gd name="connsiteX1" fmla="*/ 794608 w 794608"/>
                <a:gd name="connsiteY1" fmla="*/ 0 h 534457"/>
                <a:gd name="connsiteX2" fmla="*/ 794608 w 794608"/>
                <a:gd name="connsiteY2" fmla="*/ 534457 h 534457"/>
                <a:gd name="connsiteX3" fmla="*/ 0 w 794608"/>
                <a:gd name="connsiteY3" fmla="*/ 534457 h 534457"/>
                <a:gd name="connsiteX4" fmla="*/ 0 w 794608"/>
                <a:gd name="connsiteY4" fmla="*/ 0 h 534457"/>
                <a:gd name="connsiteX0" fmla="*/ 0 w 798418"/>
                <a:gd name="connsiteY0" fmla="*/ 41910 h 576367"/>
                <a:gd name="connsiteX1" fmla="*/ 798418 w 798418"/>
                <a:gd name="connsiteY1" fmla="*/ 0 h 576367"/>
                <a:gd name="connsiteX2" fmla="*/ 794608 w 798418"/>
                <a:gd name="connsiteY2" fmla="*/ 576367 h 576367"/>
                <a:gd name="connsiteX3" fmla="*/ 0 w 798418"/>
                <a:gd name="connsiteY3" fmla="*/ 576367 h 576367"/>
                <a:gd name="connsiteX4" fmla="*/ 0 w 798418"/>
                <a:gd name="connsiteY4" fmla="*/ 41910 h 576367"/>
                <a:gd name="connsiteX0" fmla="*/ 0 w 798418"/>
                <a:gd name="connsiteY0" fmla="*/ 41910 h 639232"/>
                <a:gd name="connsiteX1" fmla="*/ 798418 w 798418"/>
                <a:gd name="connsiteY1" fmla="*/ 0 h 639232"/>
                <a:gd name="connsiteX2" fmla="*/ 792703 w 798418"/>
                <a:gd name="connsiteY2" fmla="*/ 639232 h 639232"/>
                <a:gd name="connsiteX3" fmla="*/ 0 w 798418"/>
                <a:gd name="connsiteY3" fmla="*/ 576367 h 639232"/>
                <a:gd name="connsiteX4" fmla="*/ 0 w 798418"/>
                <a:gd name="connsiteY4" fmla="*/ 41910 h 639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418" h="639232">
                  <a:moveTo>
                    <a:pt x="0" y="41910"/>
                  </a:moveTo>
                  <a:lnTo>
                    <a:pt x="798418" y="0"/>
                  </a:lnTo>
                  <a:lnTo>
                    <a:pt x="792703" y="639232"/>
                  </a:lnTo>
                  <a:lnTo>
                    <a:pt x="0" y="576367"/>
                  </a:lnTo>
                  <a:lnTo>
                    <a:pt x="0" y="41910"/>
                  </a:lnTo>
                  <a:close/>
                </a:path>
              </a:pathLst>
            </a:custGeom>
            <a:solidFill>
              <a:srgbClr val="FFFFFF">
                <a:lumMod val="85000"/>
              </a:srgbClr>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14" name="Freeform 213"/>
            <p:cNvSpPr/>
            <p:nvPr/>
          </p:nvSpPr>
          <p:spPr>
            <a:xfrm flipH="1">
              <a:off x="1123963" y="4031464"/>
              <a:ext cx="524371" cy="923266"/>
            </a:xfrm>
            <a:custGeom>
              <a:avLst/>
              <a:gdLst>
                <a:gd name="connsiteX0" fmla="*/ 1121575 w 1121575"/>
                <a:gd name="connsiteY0" fmla="*/ 0 h 1974768"/>
                <a:gd name="connsiteX1" fmla="*/ 18121 w 1121575"/>
                <a:gd name="connsiteY1" fmla="*/ 52656 h 1974768"/>
                <a:gd name="connsiteX2" fmla="*/ 0 w 1121575"/>
                <a:gd name="connsiteY2" fmla="*/ 1895308 h 1974768"/>
                <a:gd name="connsiteX3" fmla="*/ 1102154 w 1121575"/>
                <a:gd name="connsiteY3" fmla="*/ 1974768 h 1974768"/>
              </a:gdLst>
              <a:ahLst/>
              <a:cxnLst>
                <a:cxn ang="0">
                  <a:pos x="connsiteX0" y="connsiteY0"/>
                </a:cxn>
                <a:cxn ang="0">
                  <a:pos x="connsiteX1" y="connsiteY1"/>
                </a:cxn>
                <a:cxn ang="0">
                  <a:pos x="connsiteX2" y="connsiteY2"/>
                </a:cxn>
                <a:cxn ang="0">
                  <a:pos x="connsiteX3" y="connsiteY3"/>
                </a:cxn>
              </a:cxnLst>
              <a:rect l="l" t="t" r="r" b="b"/>
              <a:pathLst>
                <a:path w="1121575" h="1974768">
                  <a:moveTo>
                    <a:pt x="1121575" y="0"/>
                  </a:moveTo>
                  <a:lnTo>
                    <a:pt x="18121" y="52656"/>
                  </a:lnTo>
                  <a:lnTo>
                    <a:pt x="0" y="1895308"/>
                  </a:lnTo>
                  <a:lnTo>
                    <a:pt x="1102154" y="1974768"/>
                  </a:lnTo>
                  <a:close/>
                </a:path>
              </a:pathLst>
            </a:custGeom>
            <a:solidFill>
              <a:srgbClr val="FFFFFF"/>
            </a:solidFill>
            <a:ln w="25400" cap="flat" cmpd="sng" algn="ctr">
              <a:noFill/>
              <a:prstDash val="solid"/>
            </a:ln>
            <a:effectLst/>
          </p:spPr>
          <p:txBody>
            <a:bodyPr wrap="square" rtlCol="0" anchor="ctr">
              <a:noAutofit/>
            </a:bodyP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sp>
          <p:nvSpPr>
            <p:cNvPr id="215" name="Freeform 214"/>
            <p:cNvSpPr>
              <a:spLocks/>
            </p:cNvSpPr>
            <p:nvPr/>
          </p:nvSpPr>
          <p:spPr bwMode="auto">
            <a:xfrm>
              <a:off x="1233628" y="4807937"/>
              <a:ext cx="335535" cy="57520"/>
            </a:xfrm>
            <a:custGeom>
              <a:avLst/>
              <a:gdLst>
                <a:gd name="T0" fmla="*/ 0 w 1683"/>
                <a:gd name="T1" fmla="*/ 292 h 292"/>
                <a:gd name="T2" fmla="*/ 1683 w 1683"/>
                <a:gd name="T3" fmla="*/ 181 h 292"/>
                <a:gd name="T4" fmla="*/ 1683 w 1683"/>
                <a:gd name="T5" fmla="*/ 0 h 292"/>
                <a:gd name="T6" fmla="*/ 0 w 1683"/>
                <a:gd name="T7" fmla="*/ 95 h 292"/>
                <a:gd name="T8" fmla="*/ 0 w 1683"/>
                <a:gd name="T9" fmla="*/ 292 h 292"/>
              </a:gdLst>
              <a:ahLst/>
              <a:cxnLst>
                <a:cxn ang="0">
                  <a:pos x="T0" y="T1"/>
                </a:cxn>
                <a:cxn ang="0">
                  <a:pos x="T2" y="T3"/>
                </a:cxn>
                <a:cxn ang="0">
                  <a:pos x="T4" y="T5"/>
                </a:cxn>
                <a:cxn ang="0">
                  <a:pos x="T6" y="T7"/>
                </a:cxn>
                <a:cxn ang="0">
                  <a:pos x="T8" y="T9"/>
                </a:cxn>
              </a:cxnLst>
              <a:rect l="0" t="0" r="r" b="b"/>
              <a:pathLst>
                <a:path w="1683" h="292">
                  <a:moveTo>
                    <a:pt x="0" y="292"/>
                  </a:moveTo>
                  <a:lnTo>
                    <a:pt x="1683" y="181"/>
                  </a:lnTo>
                  <a:lnTo>
                    <a:pt x="1683" y="0"/>
                  </a:lnTo>
                  <a:lnTo>
                    <a:pt x="0" y="95"/>
                  </a:lnTo>
                  <a:lnTo>
                    <a:pt x="0" y="292"/>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16" name="Freeform 215"/>
            <p:cNvSpPr>
              <a:spLocks/>
            </p:cNvSpPr>
            <p:nvPr/>
          </p:nvSpPr>
          <p:spPr bwMode="auto">
            <a:xfrm>
              <a:off x="1233628" y="4745624"/>
              <a:ext cx="251652" cy="50331"/>
            </a:xfrm>
            <a:custGeom>
              <a:avLst/>
              <a:gdLst>
                <a:gd name="T0" fmla="*/ 1263 w 1263"/>
                <a:gd name="T1" fmla="*/ 0 h 248"/>
                <a:gd name="T2" fmla="*/ 0 w 1263"/>
                <a:gd name="T3" fmla="*/ 52 h 248"/>
                <a:gd name="T4" fmla="*/ 0 w 1263"/>
                <a:gd name="T5" fmla="*/ 248 h 248"/>
                <a:gd name="T6" fmla="*/ 1263 w 1263"/>
                <a:gd name="T7" fmla="*/ 185 h 248"/>
                <a:gd name="T8" fmla="*/ 1263 w 1263"/>
                <a:gd name="T9" fmla="*/ 0 h 248"/>
              </a:gdLst>
              <a:ahLst/>
              <a:cxnLst>
                <a:cxn ang="0">
                  <a:pos x="T0" y="T1"/>
                </a:cxn>
                <a:cxn ang="0">
                  <a:pos x="T2" y="T3"/>
                </a:cxn>
                <a:cxn ang="0">
                  <a:pos x="T4" y="T5"/>
                </a:cxn>
                <a:cxn ang="0">
                  <a:pos x="T6" y="T7"/>
                </a:cxn>
                <a:cxn ang="0">
                  <a:pos x="T8" y="T9"/>
                </a:cxn>
              </a:cxnLst>
              <a:rect l="0" t="0" r="r" b="b"/>
              <a:pathLst>
                <a:path w="1263" h="248">
                  <a:moveTo>
                    <a:pt x="1263" y="0"/>
                  </a:moveTo>
                  <a:lnTo>
                    <a:pt x="0" y="52"/>
                  </a:lnTo>
                  <a:lnTo>
                    <a:pt x="0" y="248"/>
                  </a:lnTo>
                  <a:lnTo>
                    <a:pt x="1263" y="185"/>
                  </a:lnTo>
                  <a:lnTo>
                    <a:pt x="1263" y="0"/>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17" name="Freeform 12"/>
            <p:cNvSpPr>
              <a:spLocks/>
            </p:cNvSpPr>
            <p:nvPr/>
          </p:nvSpPr>
          <p:spPr bwMode="auto">
            <a:xfrm>
              <a:off x="1233628" y="4686818"/>
              <a:ext cx="335535" cy="47934"/>
            </a:xfrm>
            <a:custGeom>
              <a:avLst/>
              <a:gdLst>
                <a:gd name="T0" fmla="*/ 0 w 1683"/>
                <a:gd name="T1" fmla="*/ 241 h 241"/>
                <a:gd name="T2" fmla="*/ 1683 w 1683"/>
                <a:gd name="T3" fmla="*/ 181 h 241"/>
                <a:gd name="T4" fmla="*/ 1683 w 1683"/>
                <a:gd name="T5" fmla="*/ 0 h 241"/>
                <a:gd name="T6" fmla="*/ 0 w 1683"/>
                <a:gd name="T7" fmla="*/ 44 h 241"/>
                <a:gd name="T8" fmla="*/ 0 w 1683"/>
                <a:gd name="T9" fmla="*/ 241 h 241"/>
              </a:gdLst>
              <a:ahLst/>
              <a:cxnLst>
                <a:cxn ang="0">
                  <a:pos x="T0" y="T1"/>
                </a:cxn>
                <a:cxn ang="0">
                  <a:pos x="T2" y="T3"/>
                </a:cxn>
                <a:cxn ang="0">
                  <a:pos x="T4" y="T5"/>
                </a:cxn>
                <a:cxn ang="0">
                  <a:pos x="T6" y="T7"/>
                </a:cxn>
                <a:cxn ang="0">
                  <a:pos x="T8" y="T9"/>
                </a:cxn>
              </a:cxnLst>
              <a:rect l="0" t="0" r="r" b="b"/>
              <a:pathLst>
                <a:path w="1683" h="241">
                  <a:moveTo>
                    <a:pt x="0" y="241"/>
                  </a:moveTo>
                  <a:lnTo>
                    <a:pt x="1683" y="181"/>
                  </a:lnTo>
                  <a:lnTo>
                    <a:pt x="1683" y="0"/>
                  </a:lnTo>
                  <a:lnTo>
                    <a:pt x="0" y="44"/>
                  </a:lnTo>
                  <a:lnTo>
                    <a:pt x="0" y="241"/>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18" name="Freeform 13"/>
            <p:cNvSpPr>
              <a:spLocks/>
            </p:cNvSpPr>
            <p:nvPr/>
          </p:nvSpPr>
          <p:spPr bwMode="auto">
            <a:xfrm>
              <a:off x="1233628" y="4624504"/>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19" name="Freeform 18"/>
            <p:cNvSpPr>
              <a:spLocks noEditPoints="1"/>
            </p:cNvSpPr>
            <p:nvPr/>
          </p:nvSpPr>
          <p:spPr bwMode="auto">
            <a:xfrm>
              <a:off x="1189922" y="4348504"/>
              <a:ext cx="390259" cy="203307"/>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0" name="Oval 219"/>
            <p:cNvSpPr/>
            <p:nvPr/>
          </p:nvSpPr>
          <p:spPr>
            <a:xfrm>
              <a:off x="1203542" y="4109790"/>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1" name="Oval 220"/>
            <p:cNvSpPr/>
            <p:nvPr/>
          </p:nvSpPr>
          <p:spPr>
            <a:xfrm>
              <a:off x="1302049" y="4114462"/>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2" name="Oval 221"/>
            <p:cNvSpPr/>
            <p:nvPr/>
          </p:nvSpPr>
          <p:spPr>
            <a:xfrm>
              <a:off x="1400555" y="411913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3" name="Oval 222"/>
            <p:cNvSpPr/>
            <p:nvPr/>
          </p:nvSpPr>
          <p:spPr>
            <a:xfrm>
              <a:off x="1499062" y="4123807"/>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4" name="Oval 223"/>
            <p:cNvSpPr/>
            <p:nvPr/>
          </p:nvSpPr>
          <p:spPr>
            <a:xfrm>
              <a:off x="1203542" y="420323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5" name="Oval 224"/>
            <p:cNvSpPr/>
            <p:nvPr/>
          </p:nvSpPr>
          <p:spPr>
            <a:xfrm>
              <a:off x="1302049" y="4206738"/>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6" name="Oval 225"/>
            <p:cNvSpPr/>
            <p:nvPr/>
          </p:nvSpPr>
          <p:spPr>
            <a:xfrm>
              <a:off x="1400555" y="4209074"/>
              <a:ext cx="60816" cy="60816"/>
            </a:xfrm>
            <a:prstGeom prst="ellipse">
              <a:avLst/>
            </a:prstGeom>
            <a:solidFill>
              <a:srgbClr val="FFC000"/>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a:solidFill>
                  <a:srgbClr val="676767"/>
                </a:solidFill>
                <a:latin typeface="メイリオ"/>
                <a:ea typeface="メイリオ"/>
                <a:cs typeface="メイリオ"/>
              </a:endParaRPr>
            </a:p>
          </p:txBody>
        </p:sp>
        <p:sp>
          <p:nvSpPr>
            <p:cNvPr id="227" name="Oval 226"/>
            <p:cNvSpPr/>
            <p:nvPr/>
          </p:nvSpPr>
          <p:spPr>
            <a:xfrm>
              <a:off x="1499062" y="4212579"/>
              <a:ext cx="60816" cy="60816"/>
            </a:xfrm>
            <a:prstGeom prst="ellipse">
              <a:avLst/>
            </a:prstGeom>
            <a:solidFill>
              <a:srgbClr val="D71F13"/>
            </a:solidFill>
            <a:ln w="25400" cap="flat" cmpd="sng" algn="ctr">
              <a:noFill/>
              <a:prstDash val="solid"/>
            </a:ln>
            <a:effectLst/>
          </p:spPr>
          <p:txBody>
            <a:bodyPr rtlCol="0" anchor="ctr"/>
            <a:lstStyle/>
            <a:p>
              <a:pPr algn="ctr" defTabSz="685800" fontAlgn="auto">
                <a:spcBef>
                  <a:spcPts val="0"/>
                </a:spcBef>
                <a:spcAft>
                  <a:spcPts val="0"/>
                </a:spcAft>
                <a:defRPr/>
              </a:pPr>
              <a:endParaRPr lang="en-US" sz="1400" kern="0" dirty="0">
                <a:solidFill>
                  <a:srgbClr val="FFFFFF"/>
                </a:solidFill>
                <a:latin typeface="メイリオ"/>
                <a:ea typeface="メイリオ"/>
                <a:cs typeface="メイリオ"/>
              </a:endParaRPr>
            </a:p>
          </p:txBody>
        </p:sp>
        <p:grpSp>
          <p:nvGrpSpPr>
            <p:cNvPr id="228" name="Group 227"/>
            <p:cNvGrpSpPr/>
            <p:nvPr/>
          </p:nvGrpSpPr>
          <p:grpSpPr>
            <a:xfrm>
              <a:off x="1687202" y="4688757"/>
              <a:ext cx="121315" cy="104370"/>
              <a:chOff x="3195041" y="1965278"/>
              <a:chExt cx="956216" cy="822660"/>
            </a:xfrm>
          </p:grpSpPr>
          <p:sp>
            <p:nvSpPr>
              <p:cNvPr id="299" name="Freeform 6"/>
              <p:cNvSpPr>
                <a:spLocks/>
              </p:cNvSpPr>
              <p:nvPr/>
            </p:nvSpPr>
            <p:spPr bwMode="auto">
              <a:xfrm>
                <a:off x="3924701" y="2486958"/>
                <a:ext cx="105383" cy="142192"/>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00" name="Freeform 299"/>
              <p:cNvSpPr>
                <a:spLocks/>
              </p:cNvSpPr>
              <p:nvPr/>
            </p:nvSpPr>
            <p:spPr bwMode="auto">
              <a:xfrm>
                <a:off x="3588809" y="2229380"/>
                <a:ext cx="108483" cy="414757"/>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01" name="Freeform 300"/>
              <p:cNvSpPr>
                <a:spLocks/>
              </p:cNvSpPr>
              <p:nvPr/>
            </p:nvSpPr>
            <p:spPr bwMode="auto">
              <a:xfrm>
                <a:off x="3249816" y="2053309"/>
                <a:ext cx="108483" cy="603319"/>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02" name="Freeform 301"/>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03" name="Freeform 6"/>
              <p:cNvSpPr>
                <a:spLocks/>
              </p:cNvSpPr>
              <p:nvPr/>
            </p:nvSpPr>
            <p:spPr bwMode="auto">
              <a:xfrm>
                <a:off x="3758305" y="1965278"/>
                <a:ext cx="105383" cy="671367"/>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304" name="Freeform 303"/>
              <p:cNvSpPr>
                <a:spLocks/>
              </p:cNvSpPr>
              <p:nvPr/>
            </p:nvSpPr>
            <p:spPr bwMode="auto">
              <a:xfrm>
                <a:off x="3419313" y="2405448"/>
                <a:ext cx="108483" cy="246184"/>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229" name="Group 228"/>
            <p:cNvGrpSpPr/>
            <p:nvPr/>
          </p:nvGrpSpPr>
          <p:grpSpPr>
            <a:xfrm>
              <a:off x="1687202" y="4515847"/>
              <a:ext cx="121315" cy="97915"/>
              <a:chOff x="3195041" y="2016161"/>
              <a:chExt cx="956216" cy="771777"/>
            </a:xfrm>
          </p:grpSpPr>
          <p:sp>
            <p:nvSpPr>
              <p:cNvPr id="293" name="Freeform 6"/>
              <p:cNvSpPr>
                <a:spLocks/>
              </p:cNvSpPr>
              <p:nvPr/>
            </p:nvSpPr>
            <p:spPr bwMode="auto">
              <a:xfrm>
                <a:off x="3924702" y="2362581"/>
                <a:ext cx="105382" cy="266570"/>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4" name="Freeform 293"/>
              <p:cNvSpPr>
                <a:spLocks/>
              </p:cNvSpPr>
              <p:nvPr/>
            </p:nvSpPr>
            <p:spPr bwMode="auto">
              <a:xfrm>
                <a:off x="3588809" y="2130232"/>
                <a:ext cx="108482" cy="513905"/>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5" name="Freeform 294"/>
              <p:cNvSpPr>
                <a:spLocks/>
              </p:cNvSpPr>
              <p:nvPr/>
            </p:nvSpPr>
            <p:spPr bwMode="auto">
              <a:xfrm>
                <a:off x="3249816" y="2162882"/>
                <a:ext cx="108483" cy="493747"/>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6" name="Freeform 295"/>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7" name="Freeform 6"/>
              <p:cNvSpPr>
                <a:spLocks/>
              </p:cNvSpPr>
              <p:nvPr/>
            </p:nvSpPr>
            <p:spPr bwMode="auto">
              <a:xfrm>
                <a:off x="3758305" y="2016161"/>
                <a:ext cx="105383" cy="620485"/>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8" name="Freeform 297"/>
              <p:cNvSpPr>
                <a:spLocks/>
              </p:cNvSpPr>
              <p:nvPr/>
            </p:nvSpPr>
            <p:spPr bwMode="auto">
              <a:xfrm>
                <a:off x="3419313" y="2332429"/>
                <a:ext cx="108483" cy="319202"/>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230" name="Group 229"/>
            <p:cNvGrpSpPr/>
            <p:nvPr/>
          </p:nvGrpSpPr>
          <p:grpSpPr>
            <a:xfrm>
              <a:off x="1687202" y="4350798"/>
              <a:ext cx="121315" cy="91546"/>
              <a:chOff x="3195041" y="2066358"/>
              <a:chExt cx="956216" cy="721580"/>
            </a:xfrm>
          </p:grpSpPr>
          <p:sp>
            <p:nvSpPr>
              <p:cNvPr id="287" name="Freeform 6"/>
              <p:cNvSpPr>
                <a:spLocks/>
              </p:cNvSpPr>
              <p:nvPr/>
            </p:nvSpPr>
            <p:spPr bwMode="auto">
              <a:xfrm>
                <a:off x="3924702" y="2362581"/>
                <a:ext cx="105382" cy="266570"/>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88" name="Freeform 287"/>
              <p:cNvSpPr>
                <a:spLocks/>
              </p:cNvSpPr>
              <p:nvPr/>
            </p:nvSpPr>
            <p:spPr bwMode="auto">
              <a:xfrm>
                <a:off x="3588809" y="2379368"/>
                <a:ext cx="108483" cy="264769"/>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89" name="Freeform 288"/>
              <p:cNvSpPr>
                <a:spLocks/>
              </p:cNvSpPr>
              <p:nvPr/>
            </p:nvSpPr>
            <p:spPr bwMode="auto">
              <a:xfrm>
                <a:off x="3249816" y="2066358"/>
                <a:ext cx="108483" cy="590270"/>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0" name="Freeform 289"/>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1" name="Freeform 6"/>
              <p:cNvSpPr>
                <a:spLocks/>
              </p:cNvSpPr>
              <p:nvPr/>
            </p:nvSpPr>
            <p:spPr bwMode="auto">
              <a:xfrm>
                <a:off x="3758305" y="2513051"/>
                <a:ext cx="105383" cy="123594"/>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92" name="Freeform 291"/>
              <p:cNvSpPr>
                <a:spLocks/>
              </p:cNvSpPr>
              <p:nvPr/>
            </p:nvSpPr>
            <p:spPr bwMode="auto">
              <a:xfrm>
                <a:off x="3419313" y="2222672"/>
                <a:ext cx="108482" cy="428960"/>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sp>
          <p:nvSpPr>
            <p:cNvPr id="231" name="Freeform 230"/>
            <p:cNvSpPr>
              <a:spLocks/>
            </p:cNvSpPr>
            <p:nvPr/>
          </p:nvSpPr>
          <p:spPr bwMode="auto">
            <a:xfrm>
              <a:off x="1912455" y="4729279"/>
              <a:ext cx="335535" cy="57520"/>
            </a:xfrm>
            <a:custGeom>
              <a:avLst/>
              <a:gdLst>
                <a:gd name="T0" fmla="*/ 0 w 1683"/>
                <a:gd name="T1" fmla="*/ 292 h 292"/>
                <a:gd name="T2" fmla="*/ 1683 w 1683"/>
                <a:gd name="T3" fmla="*/ 181 h 292"/>
                <a:gd name="T4" fmla="*/ 1683 w 1683"/>
                <a:gd name="T5" fmla="*/ 0 h 292"/>
                <a:gd name="T6" fmla="*/ 0 w 1683"/>
                <a:gd name="T7" fmla="*/ 95 h 292"/>
                <a:gd name="T8" fmla="*/ 0 w 1683"/>
                <a:gd name="T9" fmla="*/ 292 h 292"/>
              </a:gdLst>
              <a:ahLst/>
              <a:cxnLst>
                <a:cxn ang="0">
                  <a:pos x="T0" y="T1"/>
                </a:cxn>
                <a:cxn ang="0">
                  <a:pos x="T2" y="T3"/>
                </a:cxn>
                <a:cxn ang="0">
                  <a:pos x="T4" y="T5"/>
                </a:cxn>
                <a:cxn ang="0">
                  <a:pos x="T6" y="T7"/>
                </a:cxn>
                <a:cxn ang="0">
                  <a:pos x="T8" y="T9"/>
                </a:cxn>
              </a:cxnLst>
              <a:rect l="0" t="0" r="r" b="b"/>
              <a:pathLst>
                <a:path w="1683" h="292">
                  <a:moveTo>
                    <a:pt x="0" y="292"/>
                  </a:moveTo>
                  <a:lnTo>
                    <a:pt x="1683" y="181"/>
                  </a:lnTo>
                  <a:lnTo>
                    <a:pt x="1683" y="0"/>
                  </a:lnTo>
                  <a:lnTo>
                    <a:pt x="0" y="95"/>
                  </a:lnTo>
                  <a:lnTo>
                    <a:pt x="0" y="292"/>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32" name="Freeform 231"/>
            <p:cNvSpPr>
              <a:spLocks/>
            </p:cNvSpPr>
            <p:nvPr/>
          </p:nvSpPr>
          <p:spPr bwMode="auto">
            <a:xfrm>
              <a:off x="1912455" y="4666966"/>
              <a:ext cx="251652" cy="50331"/>
            </a:xfrm>
            <a:custGeom>
              <a:avLst/>
              <a:gdLst>
                <a:gd name="T0" fmla="*/ 1263 w 1263"/>
                <a:gd name="T1" fmla="*/ 0 h 248"/>
                <a:gd name="T2" fmla="*/ 0 w 1263"/>
                <a:gd name="T3" fmla="*/ 52 h 248"/>
                <a:gd name="T4" fmla="*/ 0 w 1263"/>
                <a:gd name="T5" fmla="*/ 248 h 248"/>
                <a:gd name="T6" fmla="*/ 1263 w 1263"/>
                <a:gd name="T7" fmla="*/ 185 h 248"/>
                <a:gd name="T8" fmla="*/ 1263 w 1263"/>
                <a:gd name="T9" fmla="*/ 0 h 248"/>
              </a:gdLst>
              <a:ahLst/>
              <a:cxnLst>
                <a:cxn ang="0">
                  <a:pos x="T0" y="T1"/>
                </a:cxn>
                <a:cxn ang="0">
                  <a:pos x="T2" y="T3"/>
                </a:cxn>
                <a:cxn ang="0">
                  <a:pos x="T4" y="T5"/>
                </a:cxn>
                <a:cxn ang="0">
                  <a:pos x="T6" y="T7"/>
                </a:cxn>
                <a:cxn ang="0">
                  <a:pos x="T8" y="T9"/>
                </a:cxn>
              </a:cxnLst>
              <a:rect l="0" t="0" r="r" b="b"/>
              <a:pathLst>
                <a:path w="1263" h="248">
                  <a:moveTo>
                    <a:pt x="1263" y="0"/>
                  </a:moveTo>
                  <a:lnTo>
                    <a:pt x="0" y="52"/>
                  </a:lnTo>
                  <a:lnTo>
                    <a:pt x="0" y="248"/>
                  </a:lnTo>
                  <a:lnTo>
                    <a:pt x="1263" y="185"/>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33" name="Freeform 12"/>
            <p:cNvSpPr>
              <a:spLocks/>
            </p:cNvSpPr>
            <p:nvPr/>
          </p:nvSpPr>
          <p:spPr bwMode="auto">
            <a:xfrm>
              <a:off x="1912455" y="4599859"/>
              <a:ext cx="335535" cy="47934"/>
            </a:xfrm>
            <a:custGeom>
              <a:avLst/>
              <a:gdLst>
                <a:gd name="T0" fmla="*/ 0 w 1683"/>
                <a:gd name="T1" fmla="*/ 241 h 241"/>
                <a:gd name="T2" fmla="*/ 1683 w 1683"/>
                <a:gd name="T3" fmla="*/ 181 h 241"/>
                <a:gd name="T4" fmla="*/ 1683 w 1683"/>
                <a:gd name="T5" fmla="*/ 0 h 241"/>
                <a:gd name="T6" fmla="*/ 0 w 1683"/>
                <a:gd name="T7" fmla="*/ 44 h 241"/>
                <a:gd name="T8" fmla="*/ 0 w 1683"/>
                <a:gd name="T9" fmla="*/ 241 h 241"/>
              </a:gdLst>
              <a:ahLst/>
              <a:cxnLst>
                <a:cxn ang="0">
                  <a:pos x="T0" y="T1"/>
                </a:cxn>
                <a:cxn ang="0">
                  <a:pos x="T2" y="T3"/>
                </a:cxn>
                <a:cxn ang="0">
                  <a:pos x="T4" y="T5"/>
                </a:cxn>
                <a:cxn ang="0">
                  <a:pos x="T6" y="T7"/>
                </a:cxn>
                <a:cxn ang="0">
                  <a:pos x="T8" y="T9"/>
                </a:cxn>
              </a:cxnLst>
              <a:rect l="0" t="0" r="r" b="b"/>
              <a:pathLst>
                <a:path w="1683" h="241">
                  <a:moveTo>
                    <a:pt x="0" y="241"/>
                  </a:moveTo>
                  <a:lnTo>
                    <a:pt x="1683" y="181"/>
                  </a:lnTo>
                  <a:lnTo>
                    <a:pt x="1683" y="0"/>
                  </a:lnTo>
                  <a:lnTo>
                    <a:pt x="0" y="44"/>
                  </a:lnTo>
                  <a:lnTo>
                    <a:pt x="0" y="24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34" name="Freeform 13"/>
            <p:cNvSpPr>
              <a:spLocks/>
            </p:cNvSpPr>
            <p:nvPr/>
          </p:nvSpPr>
          <p:spPr bwMode="auto">
            <a:xfrm>
              <a:off x="1912455" y="4537545"/>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nvGrpSpPr>
            <p:cNvPr id="235" name="Group 234"/>
            <p:cNvGrpSpPr/>
            <p:nvPr/>
          </p:nvGrpSpPr>
          <p:grpSpPr>
            <a:xfrm>
              <a:off x="1914903" y="4264312"/>
              <a:ext cx="117181" cy="75219"/>
              <a:chOff x="5507616" y="3765871"/>
              <a:chExt cx="158033" cy="101441"/>
            </a:xfrm>
          </p:grpSpPr>
          <p:sp>
            <p:nvSpPr>
              <p:cNvPr id="278" name="Rounded Rectangle 277"/>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nvGrpSpPr>
              <p:cNvPr id="279" name="Group 278"/>
              <p:cNvGrpSpPr/>
              <p:nvPr/>
            </p:nvGrpSpPr>
            <p:grpSpPr>
              <a:xfrm>
                <a:off x="5632540" y="3783487"/>
                <a:ext cx="19127" cy="66209"/>
                <a:chOff x="11067363" y="2740173"/>
                <a:chExt cx="100323" cy="315694"/>
              </a:xfrm>
            </p:grpSpPr>
            <p:sp>
              <p:nvSpPr>
                <p:cNvPr id="283" name="Oval 282"/>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84" name="Oval 283"/>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85" name="Isosceles Triangle 284"/>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sp>
              <p:nvSpPr>
                <p:cNvPr id="286" name="Isosceles Triangle 285"/>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sp>
            <p:nvSpPr>
              <p:cNvPr id="280" name="Rounded Rectangle 279"/>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81" name="Rounded Rectangle 280"/>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82" name="Rounded Rectangle 281"/>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grpSp>
        <p:grpSp>
          <p:nvGrpSpPr>
            <p:cNvPr id="236" name="Group 235"/>
            <p:cNvGrpSpPr/>
            <p:nvPr/>
          </p:nvGrpSpPr>
          <p:grpSpPr>
            <a:xfrm>
              <a:off x="1687202" y="4178234"/>
              <a:ext cx="121315" cy="104370"/>
              <a:chOff x="3195041" y="1965278"/>
              <a:chExt cx="956216" cy="822660"/>
            </a:xfrm>
          </p:grpSpPr>
          <p:sp>
            <p:nvSpPr>
              <p:cNvPr id="272" name="Freeform 6"/>
              <p:cNvSpPr>
                <a:spLocks/>
              </p:cNvSpPr>
              <p:nvPr/>
            </p:nvSpPr>
            <p:spPr bwMode="auto">
              <a:xfrm>
                <a:off x="3924701" y="2486958"/>
                <a:ext cx="105383" cy="142192"/>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73" name="Freeform 272"/>
              <p:cNvSpPr>
                <a:spLocks/>
              </p:cNvSpPr>
              <p:nvPr/>
            </p:nvSpPr>
            <p:spPr bwMode="auto">
              <a:xfrm>
                <a:off x="3588809" y="2229380"/>
                <a:ext cx="108483" cy="414757"/>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74" name="Freeform 273"/>
              <p:cNvSpPr>
                <a:spLocks/>
              </p:cNvSpPr>
              <p:nvPr/>
            </p:nvSpPr>
            <p:spPr bwMode="auto">
              <a:xfrm>
                <a:off x="3249816" y="2053309"/>
                <a:ext cx="108483" cy="603319"/>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75" name="Freeform 274"/>
              <p:cNvSpPr>
                <a:spLocks/>
              </p:cNvSpPr>
              <p:nvPr/>
            </p:nvSpPr>
            <p:spPr bwMode="auto">
              <a:xfrm>
                <a:off x="3195041" y="2680286"/>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76" name="Freeform 6"/>
              <p:cNvSpPr>
                <a:spLocks/>
              </p:cNvSpPr>
              <p:nvPr/>
            </p:nvSpPr>
            <p:spPr bwMode="auto">
              <a:xfrm>
                <a:off x="3758305" y="1965278"/>
                <a:ext cx="105383" cy="671367"/>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sp>
            <p:nvSpPr>
              <p:cNvPr id="277" name="Freeform 276"/>
              <p:cNvSpPr>
                <a:spLocks/>
              </p:cNvSpPr>
              <p:nvPr/>
            </p:nvSpPr>
            <p:spPr bwMode="auto">
              <a:xfrm>
                <a:off x="3419313" y="2405448"/>
                <a:ext cx="108483" cy="246184"/>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grpSp>
          <p:nvGrpSpPr>
            <p:cNvPr id="237" name="Group 236"/>
            <p:cNvGrpSpPr/>
            <p:nvPr/>
          </p:nvGrpSpPr>
          <p:grpSpPr>
            <a:xfrm>
              <a:off x="2068474" y="4264312"/>
              <a:ext cx="117181" cy="75219"/>
              <a:chOff x="5507616" y="3765871"/>
              <a:chExt cx="158033" cy="101441"/>
            </a:xfrm>
          </p:grpSpPr>
          <p:sp>
            <p:nvSpPr>
              <p:cNvPr id="263" name="Rounded Rectangle 262"/>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nvGrpSpPr>
              <p:cNvPr id="264" name="Group 263"/>
              <p:cNvGrpSpPr/>
              <p:nvPr/>
            </p:nvGrpSpPr>
            <p:grpSpPr>
              <a:xfrm>
                <a:off x="5632540" y="3783487"/>
                <a:ext cx="19127" cy="66209"/>
                <a:chOff x="11067363" y="2740173"/>
                <a:chExt cx="100323" cy="315694"/>
              </a:xfrm>
            </p:grpSpPr>
            <p:sp>
              <p:nvSpPr>
                <p:cNvPr id="268" name="Oval 267"/>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69" name="Oval 268"/>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70" name="Isosceles Triangle 269"/>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sp>
              <p:nvSpPr>
                <p:cNvPr id="271" name="Isosceles Triangle 270"/>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sp>
            <p:nvSpPr>
              <p:cNvPr id="265" name="Rounded Rectangle 264"/>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66" name="Rounded Rectangle 265"/>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67" name="Rounded Rectangle 266"/>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grpSp>
        <p:grpSp>
          <p:nvGrpSpPr>
            <p:cNvPr id="238" name="Group 237"/>
            <p:cNvGrpSpPr/>
            <p:nvPr/>
          </p:nvGrpSpPr>
          <p:grpSpPr>
            <a:xfrm>
              <a:off x="2222045" y="4264312"/>
              <a:ext cx="117181" cy="75219"/>
              <a:chOff x="5507616" y="3765871"/>
              <a:chExt cx="158033" cy="101441"/>
            </a:xfrm>
          </p:grpSpPr>
          <p:sp>
            <p:nvSpPr>
              <p:cNvPr id="254" name="Rounded Rectangle 253"/>
              <p:cNvSpPr/>
              <p:nvPr/>
            </p:nvSpPr>
            <p:spPr bwMode="auto">
              <a:xfrm>
                <a:off x="5507616" y="3765871"/>
                <a:ext cx="158033" cy="101441"/>
              </a:xfrm>
              <a:prstGeom prst="roundRect">
                <a:avLst>
                  <a:gd name="adj" fmla="val 6495"/>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nvGrpSpPr>
              <p:cNvPr id="255" name="Group 254"/>
              <p:cNvGrpSpPr/>
              <p:nvPr/>
            </p:nvGrpSpPr>
            <p:grpSpPr>
              <a:xfrm>
                <a:off x="5632540" y="3783487"/>
                <a:ext cx="19127" cy="66209"/>
                <a:chOff x="11067363" y="2740173"/>
                <a:chExt cx="100323" cy="315694"/>
              </a:xfrm>
            </p:grpSpPr>
            <p:sp>
              <p:nvSpPr>
                <p:cNvPr id="259" name="Oval 258"/>
                <p:cNvSpPr/>
                <p:nvPr/>
              </p:nvSpPr>
              <p:spPr bwMode="auto">
                <a:xfrm>
                  <a:off x="11067363" y="2740173"/>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60" name="Oval 259"/>
                <p:cNvSpPr/>
                <p:nvPr/>
              </p:nvSpPr>
              <p:spPr bwMode="auto">
                <a:xfrm>
                  <a:off x="11067363" y="2955544"/>
                  <a:ext cx="100323" cy="100323"/>
                </a:xfrm>
                <a:prstGeom prst="ellipse">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61" name="Isosceles Triangle 260"/>
                <p:cNvSpPr/>
                <p:nvPr/>
              </p:nvSpPr>
              <p:spPr bwMode="auto">
                <a:xfrm>
                  <a:off x="11092913" y="2761914"/>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sp>
              <p:nvSpPr>
                <p:cNvPr id="262" name="Isosceles Triangle 261"/>
                <p:cNvSpPr/>
                <p:nvPr/>
              </p:nvSpPr>
              <p:spPr bwMode="auto">
                <a:xfrm flipV="1">
                  <a:off x="11092913" y="2990846"/>
                  <a:ext cx="49222" cy="45282"/>
                </a:xfrm>
                <a:prstGeom prst="triangle">
                  <a:avLst/>
                </a:pr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dirty="0" err="1">
                    <a:solidFill>
                      <a:srgbClr val="676767"/>
                    </a:solidFill>
                    <a:latin typeface="メイリオ"/>
                    <a:ea typeface="メイリオ"/>
                    <a:cs typeface="メイリオ"/>
                  </a:endParaRPr>
                </a:p>
              </p:txBody>
            </p:sp>
          </p:grpSp>
          <p:sp>
            <p:nvSpPr>
              <p:cNvPr id="256" name="Rounded Rectangle 255"/>
              <p:cNvSpPr/>
              <p:nvPr/>
            </p:nvSpPr>
            <p:spPr bwMode="auto">
              <a:xfrm>
                <a:off x="5621388"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57" name="Rounded Rectangle 256"/>
              <p:cNvSpPr/>
              <p:nvPr/>
            </p:nvSpPr>
            <p:spPr bwMode="auto">
              <a:xfrm>
                <a:off x="5635685"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sp>
            <p:nvSpPr>
              <p:cNvPr id="258" name="Rounded Rectangle 257"/>
              <p:cNvSpPr/>
              <p:nvPr/>
            </p:nvSpPr>
            <p:spPr bwMode="auto">
              <a:xfrm>
                <a:off x="5650493" y="3814056"/>
                <a:ext cx="11153" cy="5071"/>
              </a:xfrm>
              <a:prstGeom prst="roundRect">
                <a:avLst>
                  <a:gd name="adj" fmla="val 48391"/>
                </a:avLst>
              </a:prstGeom>
              <a:solidFill>
                <a:srgbClr val="E5E7F4"/>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685574">
                  <a:defRPr/>
                </a:pPr>
                <a:endParaRPr lang="en-US" sz="200" b="1" kern="0" spc="-38" dirty="0" err="1">
                  <a:gradFill>
                    <a:gsLst>
                      <a:gs pos="0">
                        <a:srgbClr val="FFFFFF"/>
                      </a:gs>
                      <a:gs pos="100000">
                        <a:srgbClr val="FFFFFF"/>
                      </a:gs>
                    </a:gsLst>
                    <a:lin ang="5400000" scaled="0"/>
                  </a:gradFill>
                  <a:latin typeface="メイリオ"/>
                  <a:ea typeface="メイリオ"/>
                  <a:cs typeface="メイリオ"/>
                </a:endParaRPr>
              </a:p>
            </p:txBody>
          </p:sp>
        </p:grpSp>
        <p:grpSp>
          <p:nvGrpSpPr>
            <p:cNvPr id="239" name="Group 238"/>
            <p:cNvGrpSpPr/>
            <p:nvPr/>
          </p:nvGrpSpPr>
          <p:grpSpPr>
            <a:xfrm flipH="1">
              <a:off x="1220167" y="4582796"/>
              <a:ext cx="402064" cy="289486"/>
              <a:chOff x="5693055" y="5228887"/>
              <a:chExt cx="815695" cy="587300"/>
            </a:xfrm>
          </p:grpSpPr>
          <p:sp>
            <p:nvSpPr>
              <p:cNvPr id="241" name="Freeform 482"/>
              <p:cNvSpPr>
                <a:spLocks/>
              </p:cNvSpPr>
              <p:nvPr/>
            </p:nvSpPr>
            <p:spPr bwMode="auto">
              <a:xfrm>
                <a:off x="5693055" y="5228887"/>
                <a:ext cx="815695" cy="587300"/>
              </a:xfrm>
              <a:custGeom>
                <a:avLst/>
                <a:gdLst>
                  <a:gd name="T0" fmla="*/ 0 w 350"/>
                  <a:gd name="T1" fmla="*/ 223 h 252"/>
                  <a:gd name="T2" fmla="*/ 350 w 350"/>
                  <a:gd name="T3" fmla="*/ 252 h 252"/>
                  <a:gd name="T4" fmla="*/ 350 w 350"/>
                  <a:gd name="T5" fmla="*/ 0 h 252"/>
                  <a:gd name="T6" fmla="*/ 0 w 350"/>
                  <a:gd name="T7" fmla="*/ 20 h 252"/>
                  <a:gd name="T8" fmla="*/ 0 w 350"/>
                  <a:gd name="T9" fmla="*/ 223 h 252"/>
                </a:gdLst>
                <a:ahLst/>
                <a:cxnLst>
                  <a:cxn ang="0">
                    <a:pos x="T0" y="T1"/>
                  </a:cxn>
                  <a:cxn ang="0">
                    <a:pos x="T2" y="T3"/>
                  </a:cxn>
                  <a:cxn ang="0">
                    <a:pos x="T4" y="T5"/>
                  </a:cxn>
                  <a:cxn ang="0">
                    <a:pos x="T6" y="T7"/>
                  </a:cxn>
                  <a:cxn ang="0">
                    <a:pos x="T8" y="T9"/>
                  </a:cxn>
                </a:cxnLst>
                <a:rect l="0" t="0" r="r" b="b"/>
                <a:pathLst>
                  <a:path w="350" h="252">
                    <a:moveTo>
                      <a:pt x="0" y="223"/>
                    </a:moveTo>
                    <a:lnTo>
                      <a:pt x="350" y="252"/>
                    </a:lnTo>
                    <a:lnTo>
                      <a:pt x="350" y="0"/>
                    </a:lnTo>
                    <a:lnTo>
                      <a:pt x="0" y="20"/>
                    </a:lnTo>
                    <a:lnTo>
                      <a:pt x="0" y="223"/>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2" name="Rectangle 521"/>
              <p:cNvSpPr>
                <a:spLocks noChangeArrowheads="1"/>
              </p:cNvSpPr>
              <p:nvPr/>
            </p:nvSpPr>
            <p:spPr bwMode="auto">
              <a:xfrm>
                <a:off x="6368916" y="5368721"/>
                <a:ext cx="83900" cy="5360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3" name="Freeform 522"/>
              <p:cNvSpPr>
                <a:spLocks/>
              </p:cNvSpPr>
              <p:nvPr/>
            </p:nvSpPr>
            <p:spPr bwMode="auto">
              <a:xfrm>
                <a:off x="5748988" y="5585463"/>
                <a:ext cx="72248" cy="48942"/>
              </a:xfrm>
              <a:custGeom>
                <a:avLst/>
                <a:gdLst>
                  <a:gd name="T0" fmla="*/ 31 w 31"/>
                  <a:gd name="T1" fmla="*/ 1 h 21"/>
                  <a:gd name="T2" fmla="*/ 31 w 31"/>
                  <a:gd name="T3" fmla="*/ 21 h 21"/>
                  <a:gd name="T4" fmla="*/ 0 w 31"/>
                  <a:gd name="T5" fmla="*/ 19 h 21"/>
                  <a:gd name="T6" fmla="*/ 0 w 31"/>
                  <a:gd name="T7" fmla="*/ 0 h 21"/>
                  <a:gd name="T8" fmla="*/ 31 w 31"/>
                  <a:gd name="T9" fmla="*/ 1 h 21"/>
                </a:gdLst>
                <a:ahLst/>
                <a:cxnLst>
                  <a:cxn ang="0">
                    <a:pos x="T0" y="T1"/>
                  </a:cxn>
                  <a:cxn ang="0">
                    <a:pos x="T2" y="T3"/>
                  </a:cxn>
                  <a:cxn ang="0">
                    <a:pos x="T4" y="T5"/>
                  </a:cxn>
                  <a:cxn ang="0">
                    <a:pos x="T6" y="T7"/>
                  </a:cxn>
                  <a:cxn ang="0">
                    <a:pos x="T8" y="T9"/>
                  </a:cxn>
                </a:cxnLst>
                <a:rect l="0" t="0" r="r" b="b"/>
                <a:pathLst>
                  <a:path w="31" h="21">
                    <a:moveTo>
                      <a:pt x="31" y="1"/>
                    </a:moveTo>
                    <a:lnTo>
                      <a:pt x="31" y="21"/>
                    </a:lnTo>
                    <a:lnTo>
                      <a:pt x="0" y="19"/>
                    </a:lnTo>
                    <a:lnTo>
                      <a:pt x="0" y="0"/>
                    </a:lnTo>
                    <a:lnTo>
                      <a:pt x="31" y="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4" name="Freeform 523"/>
              <p:cNvSpPr>
                <a:spLocks/>
              </p:cNvSpPr>
              <p:nvPr/>
            </p:nvSpPr>
            <p:spPr bwMode="auto">
              <a:xfrm>
                <a:off x="5748988" y="5650718"/>
                <a:ext cx="116528" cy="51273"/>
              </a:xfrm>
              <a:custGeom>
                <a:avLst/>
                <a:gdLst>
                  <a:gd name="T0" fmla="*/ 50 w 50"/>
                  <a:gd name="T1" fmla="*/ 3 h 22"/>
                  <a:gd name="T2" fmla="*/ 50 w 50"/>
                  <a:gd name="T3" fmla="*/ 22 h 22"/>
                  <a:gd name="T4" fmla="*/ 0 w 50"/>
                  <a:gd name="T5" fmla="*/ 19 h 22"/>
                  <a:gd name="T6" fmla="*/ 0 w 50"/>
                  <a:gd name="T7" fmla="*/ 0 h 22"/>
                  <a:gd name="T8" fmla="*/ 50 w 50"/>
                  <a:gd name="T9" fmla="*/ 3 h 22"/>
                </a:gdLst>
                <a:ahLst/>
                <a:cxnLst>
                  <a:cxn ang="0">
                    <a:pos x="T0" y="T1"/>
                  </a:cxn>
                  <a:cxn ang="0">
                    <a:pos x="T2" y="T3"/>
                  </a:cxn>
                  <a:cxn ang="0">
                    <a:pos x="T4" y="T5"/>
                  </a:cxn>
                  <a:cxn ang="0">
                    <a:pos x="T6" y="T7"/>
                  </a:cxn>
                  <a:cxn ang="0">
                    <a:pos x="T8" y="T9"/>
                  </a:cxn>
                </a:cxnLst>
                <a:rect l="0" t="0" r="r" b="b"/>
                <a:pathLst>
                  <a:path w="50" h="22">
                    <a:moveTo>
                      <a:pt x="50" y="3"/>
                    </a:moveTo>
                    <a:lnTo>
                      <a:pt x="50" y="22"/>
                    </a:lnTo>
                    <a:lnTo>
                      <a:pt x="0" y="19"/>
                    </a:lnTo>
                    <a:lnTo>
                      <a:pt x="0" y="0"/>
                    </a:lnTo>
                    <a:lnTo>
                      <a:pt x="50" y="3"/>
                    </a:lnTo>
                    <a:close/>
                  </a:path>
                </a:pathLst>
              </a:custGeom>
              <a:solidFill>
                <a:srgbClr val="D7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5" name="Freeform 524"/>
              <p:cNvSpPr>
                <a:spLocks/>
              </p:cNvSpPr>
              <p:nvPr/>
            </p:nvSpPr>
            <p:spPr bwMode="auto">
              <a:xfrm>
                <a:off x="5748988" y="5454951"/>
                <a:ext cx="146826" cy="44281"/>
              </a:xfrm>
              <a:custGeom>
                <a:avLst/>
                <a:gdLst>
                  <a:gd name="T0" fmla="*/ 63 w 63"/>
                  <a:gd name="T1" fmla="*/ 0 h 19"/>
                  <a:gd name="T2" fmla="*/ 63 w 63"/>
                  <a:gd name="T3" fmla="*/ 19 h 19"/>
                  <a:gd name="T4" fmla="*/ 0 w 63"/>
                  <a:gd name="T5" fmla="*/ 19 h 19"/>
                  <a:gd name="T6" fmla="*/ 0 w 63"/>
                  <a:gd name="T7" fmla="*/ 1 h 19"/>
                  <a:gd name="T8" fmla="*/ 63 w 63"/>
                  <a:gd name="T9" fmla="*/ 0 h 19"/>
                </a:gdLst>
                <a:ahLst/>
                <a:cxnLst>
                  <a:cxn ang="0">
                    <a:pos x="T0" y="T1"/>
                  </a:cxn>
                  <a:cxn ang="0">
                    <a:pos x="T2" y="T3"/>
                  </a:cxn>
                  <a:cxn ang="0">
                    <a:pos x="T4" y="T5"/>
                  </a:cxn>
                  <a:cxn ang="0">
                    <a:pos x="T6" y="T7"/>
                  </a:cxn>
                  <a:cxn ang="0">
                    <a:pos x="T8" y="T9"/>
                  </a:cxn>
                </a:cxnLst>
                <a:rect l="0" t="0" r="r" b="b"/>
                <a:pathLst>
                  <a:path w="63" h="19">
                    <a:moveTo>
                      <a:pt x="63" y="0"/>
                    </a:moveTo>
                    <a:lnTo>
                      <a:pt x="63" y="19"/>
                    </a:lnTo>
                    <a:lnTo>
                      <a:pt x="0" y="19"/>
                    </a:lnTo>
                    <a:lnTo>
                      <a:pt x="0" y="1"/>
                    </a:lnTo>
                    <a:lnTo>
                      <a:pt x="63"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6" name="Rectangle 525"/>
              <p:cNvSpPr>
                <a:spLocks noChangeArrowheads="1"/>
              </p:cNvSpPr>
              <p:nvPr/>
            </p:nvSpPr>
            <p:spPr bwMode="auto">
              <a:xfrm>
                <a:off x="5895814" y="5454951"/>
                <a:ext cx="62926" cy="4428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7" name="Freeform 526"/>
              <p:cNvSpPr>
                <a:spLocks/>
              </p:cNvSpPr>
              <p:nvPr/>
            </p:nvSpPr>
            <p:spPr bwMode="auto">
              <a:xfrm>
                <a:off x="5748988" y="5315119"/>
                <a:ext cx="235387" cy="58265"/>
              </a:xfrm>
              <a:custGeom>
                <a:avLst/>
                <a:gdLst>
                  <a:gd name="T0" fmla="*/ 101 w 101"/>
                  <a:gd name="T1" fmla="*/ 0 h 25"/>
                  <a:gd name="T2" fmla="*/ 101 w 101"/>
                  <a:gd name="T3" fmla="*/ 21 h 25"/>
                  <a:gd name="T4" fmla="*/ 99 w 101"/>
                  <a:gd name="T5" fmla="*/ 21 h 25"/>
                  <a:gd name="T6" fmla="*/ 0 w 101"/>
                  <a:gd name="T7" fmla="*/ 25 h 25"/>
                  <a:gd name="T8" fmla="*/ 0 w 101"/>
                  <a:gd name="T9" fmla="*/ 5 h 25"/>
                  <a:gd name="T10" fmla="*/ 101 w 101"/>
                  <a:gd name="T11" fmla="*/ 0 h 25"/>
                </a:gdLst>
                <a:ahLst/>
                <a:cxnLst>
                  <a:cxn ang="0">
                    <a:pos x="T0" y="T1"/>
                  </a:cxn>
                  <a:cxn ang="0">
                    <a:pos x="T2" y="T3"/>
                  </a:cxn>
                  <a:cxn ang="0">
                    <a:pos x="T4" y="T5"/>
                  </a:cxn>
                  <a:cxn ang="0">
                    <a:pos x="T6" y="T7"/>
                  </a:cxn>
                  <a:cxn ang="0">
                    <a:pos x="T8" y="T9"/>
                  </a:cxn>
                  <a:cxn ang="0">
                    <a:pos x="T10" y="T11"/>
                  </a:cxn>
                </a:cxnLst>
                <a:rect l="0" t="0" r="r" b="b"/>
                <a:pathLst>
                  <a:path w="101" h="25">
                    <a:moveTo>
                      <a:pt x="101" y="0"/>
                    </a:moveTo>
                    <a:lnTo>
                      <a:pt x="101" y="21"/>
                    </a:lnTo>
                    <a:lnTo>
                      <a:pt x="99" y="21"/>
                    </a:lnTo>
                    <a:lnTo>
                      <a:pt x="0" y="25"/>
                    </a:lnTo>
                    <a:lnTo>
                      <a:pt x="0" y="5"/>
                    </a:lnTo>
                    <a:lnTo>
                      <a:pt x="101" y="0"/>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8" name="Freeform 527"/>
              <p:cNvSpPr>
                <a:spLocks/>
              </p:cNvSpPr>
              <p:nvPr/>
            </p:nvSpPr>
            <p:spPr bwMode="auto">
              <a:xfrm>
                <a:off x="5865516" y="5657710"/>
                <a:ext cx="174793" cy="51273"/>
              </a:xfrm>
              <a:custGeom>
                <a:avLst/>
                <a:gdLst>
                  <a:gd name="T0" fmla="*/ 75 w 75"/>
                  <a:gd name="T1" fmla="*/ 2 h 22"/>
                  <a:gd name="T2" fmla="*/ 75 w 75"/>
                  <a:gd name="T3" fmla="*/ 22 h 22"/>
                  <a:gd name="T4" fmla="*/ 0 w 75"/>
                  <a:gd name="T5" fmla="*/ 19 h 22"/>
                  <a:gd name="T6" fmla="*/ 0 w 75"/>
                  <a:gd name="T7" fmla="*/ 0 h 22"/>
                  <a:gd name="T8" fmla="*/ 75 w 75"/>
                  <a:gd name="T9" fmla="*/ 2 h 22"/>
                </a:gdLst>
                <a:ahLst/>
                <a:cxnLst>
                  <a:cxn ang="0">
                    <a:pos x="T0" y="T1"/>
                  </a:cxn>
                  <a:cxn ang="0">
                    <a:pos x="T2" y="T3"/>
                  </a:cxn>
                  <a:cxn ang="0">
                    <a:pos x="T4" y="T5"/>
                  </a:cxn>
                  <a:cxn ang="0">
                    <a:pos x="T6" y="T7"/>
                  </a:cxn>
                  <a:cxn ang="0">
                    <a:pos x="T8" y="T9"/>
                  </a:cxn>
                </a:cxnLst>
                <a:rect l="0" t="0" r="r" b="b"/>
                <a:pathLst>
                  <a:path w="75" h="22">
                    <a:moveTo>
                      <a:pt x="75" y="2"/>
                    </a:moveTo>
                    <a:lnTo>
                      <a:pt x="75" y="22"/>
                    </a:lnTo>
                    <a:lnTo>
                      <a:pt x="0" y="19"/>
                    </a:lnTo>
                    <a:lnTo>
                      <a:pt x="0" y="0"/>
                    </a:lnTo>
                    <a:lnTo>
                      <a:pt x="75"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49" name="Freeform 528"/>
              <p:cNvSpPr>
                <a:spLocks/>
              </p:cNvSpPr>
              <p:nvPr/>
            </p:nvSpPr>
            <p:spPr bwMode="auto">
              <a:xfrm>
                <a:off x="5748988" y="5520208"/>
                <a:ext cx="300643" cy="48942"/>
              </a:xfrm>
              <a:custGeom>
                <a:avLst/>
                <a:gdLst>
                  <a:gd name="T0" fmla="*/ 129 w 129"/>
                  <a:gd name="T1" fmla="*/ 1 h 21"/>
                  <a:gd name="T2" fmla="*/ 129 w 129"/>
                  <a:gd name="T3" fmla="*/ 21 h 21"/>
                  <a:gd name="T4" fmla="*/ 0 w 129"/>
                  <a:gd name="T5" fmla="*/ 19 h 21"/>
                  <a:gd name="T6" fmla="*/ 0 w 129"/>
                  <a:gd name="T7" fmla="*/ 0 h 21"/>
                  <a:gd name="T8" fmla="*/ 129 w 129"/>
                  <a:gd name="T9" fmla="*/ 1 h 21"/>
                </a:gdLst>
                <a:ahLst/>
                <a:cxnLst>
                  <a:cxn ang="0">
                    <a:pos x="T0" y="T1"/>
                  </a:cxn>
                  <a:cxn ang="0">
                    <a:pos x="T2" y="T3"/>
                  </a:cxn>
                  <a:cxn ang="0">
                    <a:pos x="T4" y="T5"/>
                  </a:cxn>
                  <a:cxn ang="0">
                    <a:pos x="T6" y="T7"/>
                  </a:cxn>
                  <a:cxn ang="0">
                    <a:pos x="T8" y="T9"/>
                  </a:cxn>
                </a:cxnLst>
                <a:rect l="0" t="0" r="r" b="b"/>
                <a:pathLst>
                  <a:path w="129" h="21">
                    <a:moveTo>
                      <a:pt x="129" y="1"/>
                    </a:moveTo>
                    <a:lnTo>
                      <a:pt x="129" y="21"/>
                    </a:lnTo>
                    <a:lnTo>
                      <a:pt x="0" y="19"/>
                    </a:lnTo>
                    <a:lnTo>
                      <a:pt x="0" y="0"/>
                    </a:lnTo>
                    <a:lnTo>
                      <a:pt x="129" y="1"/>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50" name="Freeform 529"/>
              <p:cNvSpPr>
                <a:spLocks/>
              </p:cNvSpPr>
              <p:nvPr/>
            </p:nvSpPr>
            <p:spPr bwMode="auto">
              <a:xfrm>
                <a:off x="6049631" y="5522537"/>
                <a:ext cx="198098" cy="48942"/>
              </a:xfrm>
              <a:custGeom>
                <a:avLst/>
                <a:gdLst>
                  <a:gd name="T0" fmla="*/ 85 w 85"/>
                  <a:gd name="T1" fmla="*/ 0 h 21"/>
                  <a:gd name="T2" fmla="*/ 85 w 85"/>
                  <a:gd name="T3" fmla="*/ 21 h 21"/>
                  <a:gd name="T4" fmla="*/ 0 w 85"/>
                  <a:gd name="T5" fmla="*/ 20 h 21"/>
                  <a:gd name="T6" fmla="*/ 0 w 85"/>
                  <a:gd name="T7" fmla="*/ 0 h 21"/>
                  <a:gd name="T8" fmla="*/ 85 w 85"/>
                  <a:gd name="T9" fmla="*/ 0 h 21"/>
                </a:gdLst>
                <a:ahLst/>
                <a:cxnLst>
                  <a:cxn ang="0">
                    <a:pos x="T0" y="T1"/>
                  </a:cxn>
                  <a:cxn ang="0">
                    <a:pos x="T2" y="T3"/>
                  </a:cxn>
                  <a:cxn ang="0">
                    <a:pos x="T4" y="T5"/>
                  </a:cxn>
                  <a:cxn ang="0">
                    <a:pos x="T6" y="T7"/>
                  </a:cxn>
                  <a:cxn ang="0">
                    <a:pos x="T8" y="T9"/>
                  </a:cxn>
                </a:cxnLst>
                <a:rect l="0" t="0" r="r" b="b"/>
                <a:pathLst>
                  <a:path w="85" h="21">
                    <a:moveTo>
                      <a:pt x="85" y="0"/>
                    </a:moveTo>
                    <a:lnTo>
                      <a:pt x="85" y="21"/>
                    </a:lnTo>
                    <a:lnTo>
                      <a:pt x="0" y="20"/>
                    </a:lnTo>
                    <a:lnTo>
                      <a:pt x="0" y="0"/>
                    </a:lnTo>
                    <a:lnTo>
                      <a:pt x="85"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51" name="Freeform 530"/>
              <p:cNvSpPr>
                <a:spLocks/>
              </p:cNvSpPr>
              <p:nvPr/>
            </p:nvSpPr>
            <p:spPr bwMode="auto">
              <a:xfrm>
                <a:off x="5748988" y="5368721"/>
                <a:ext cx="619928" cy="65255"/>
              </a:xfrm>
              <a:custGeom>
                <a:avLst/>
                <a:gdLst>
                  <a:gd name="T0" fmla="*/ 266 w 266"/>
                  <a:gd name="T1" fmla="*/ 0 h 28"/>
                  <a:gd name="T2" fmla="*/ 266 w 266"/>
                  <a:gd name="T3" fmla="*/ 23 h 28"/>
                  <a:gd name="T4" fmla="*/ 0 w 266"/>
                  <a:gd name="T5" fmla="*/ 28 h 28"/>
                  <a:gd name="T6" fmla="*/ 0 w 266"/>
                  <a:gd name="T7" fmla="*/ 10 h 28"/>
                  <a:gd name="T8" fmla="*/ 266 w 266"/>
                  <a:gd name="T9" fmla="*/ 0 h 28"/>
                </a:gdLst>
                <a:ahLst/>
                <a:cxnLst>
                  <a:cxn ang="0">
                    <a:pos x="T0" y="T1"/>
                  </a:cxn>
                  <a:cxn ang="0">
                    <a:pos x="T2" y="T3"/>
                  </a:cxn>
                  <a:cxn ang="0">
                    <a:pos x="T4" y="T5"/>
                  </a:cxn>
                  <a:cxn ang="0">
                    <a:pos x="T6" y="T7"/>
                  </a:cxn>
                  <a:cxn ang="0">
                    <a:pos x="T8" y="T9"/>
                  </a:cxn>
                </a:cxnLst>
                <a:rect l="0" t="0" r="r" b="b"/>
                <a:pathLst>
                  <a:path w="266" h="28">
                    <a:moveTo>
                      <a:pt x="266" y="0"/>
                    </a:moveTo>
                    <a:lnTo>
                      <a:pt x="266" y="23"/>
                    </a:lnTo>
                    <a:lnTo>
                      <a:pt x="0" y="28"/>
                    </a:lnTo>
                    <a:lnTo>
                      <a:pt x="0" y="10"/>
                    </a:lnTo>
                    <a:lnTo>
                      <a:pt x="266" y="0"/>
                    </a:lnTo>
                    <a:close/>
                  </a:path>
                </a:pathLst>
              </a:custGeom>
              <a:solidFill>
                <a:srgbClr val="676767">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52" name="Freeform 531"/>
              <p:cNvSpPr>
                <a:spLocks/>
              </p:cNvSpPr>
              <p:nvPr/>
            </p:nvSpPr>
            <p:spPr bwMode="auto">
              <a:xfrm>
                <a:off x="5821236" y="5587792"/>
                <a:ext cx="172461" cy="48942"/>
              </a:xfrm>
              <a:custGeom>
                <a:avLst/>
                <a:gdLst>
                  <a:gd name="T0" fmla="*/ 74 w 74"/>
                  <a:gd name="T1" fmla="*/ 2 h 21"/>
                  <a:gd name="T2" fmla="*/ 74 w 74"/>
                  <a:gd name="T3" fmla="*/ 21 h 21"/>
                  <a:gd name="T4" fmla="*/ 0 w 74"/>
                  <a:gd name="T5" fmla="*/ 20 h 21"/>
                  <a:gd name="T6" fmla="*/ 0 w 74"/>
                  <a:gd name="T7" fmla="*/ 0 h 21"/>
                  <a:gd name="T8" fmla="*/ 74 w 74"/>
                  <a:gd name="T9" fmla="*/ 2 h 21"/>
                </a:gdLst>
                <a:ahLst/>
                <a:cxnLst>
                  <a:cxn ang="0">
                    <a:pos x="T0" y="T1"/>
                  </a:cxn>
                  <a:cxn ang="0">
                    <a:pos x="T2" y="T3"/>
                  </a:cxn>
                  <a:cxn ang="0">
                    <a:pos x="T4" y="T5"/>
                  </a:cxn>
                  <a:cxn ang="0">
                    <a:pos x="T6" y="T7"/>
                  </a:cxn>
                  <a:cxn ang="0">
                    <a:pos x="T8" y="T9"/>
                  </a:cxn>
                </a:cxnLst>
                <a:rect l="0" t="0" r="r" b="b"/>
                <a:pathLst>
                  <a:path w="74" h="21">
                    <a:moveTo>
                      <a:pt x="74" y="2"/>
                    </a:moveTo>
                    <a:lnTo>
                      <a:pt x="74" y="21"/>
                    </a:lnTo>
                    <a:lnTo>
                      <a:pt x="0" y="20"/>
                    </a:lnTo>
                    <a:lnTo>
                      <a:pt x="0" y="0"/>
                    </a:lnTo>
                    <a:lnTo>
                      <a:pt x="74" y="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sp>
            <p:nvSpPr>
              <p:cNvPr id="253" name="Freeform 532"/>
              <p:cNvSpPr>
                <a:spLocks/>
              </p:cNvSpPr>
              <p:nvPr/>
            </p:nvSpPr>
            <p:spPr bwMode="auto">
              <a:xfrm>
                <a:off x="5979714" y="5308126"/>
                <a:ext cx="130511" cy="55933"/>
              </a:xfrm>
              <a:custGeom>
                <a:avLst/>
                <a:gdLst>
                  <a:gd name="T0" fmla="*/ 56 w 56"/>
                  <a:gd name="T1" fmla="*/ 0 h 24"/>
                  <a:gd name="T2" fmla="*/ 56 w 56"/>
                  <a:gd name="T3" fmla="*/ 21 h 24"/>
                  <a:gd name="T4" fmla="*/ 0 w 56"/>
                  <a:gd name="T5" fmla="*/ 24 h 24"/>
                  <a:gd name="T6" fmla="*/ 2 w 56"/>
                  <a:gd name="T7" fmla="*/ 24 h 24"/>
                  <a:gd name="T8" fmla="*/ 2 w 56"/>
                  <a:gd name="T9" fmla="*/ 3 h 24"/>
                  <a:gd name="T10" fmla="*/ 56 w 56"/>
                  <a:gd name="T11" fmla="*/ 0 h 24"/>
                </a:gdLst>
                <a:ahLst/>
                <a:cxnLst>
                  <a:cxn ang="0">
                    <a:pos x="T0" y="T1"/>
                  </a:cxn>
                  <a:cxn ang="0">
                    <a:pos x="T2" y="T3"/>
                  </a:cxn>
                  <a:cxn ang="0">
                    <a:pos x="T4" y="T5"/>
                  </a:cxn>
                  <a:cxn ang="0">
                    <a:pos x="T6" y="T7"/>
                  </a:cxn>
                  <a:cxn ang="0">
                    <a:pos x="T8" y="T9"/>
                  </a:cxn>
                  <a:cxn ang="0">
                    <a:pos x="T10" y="T11"/>
                  </a:cxn>
                </a:cxnLst>
                <a:rect l="0" t="0" r="r" b="b"/>
                <a:pathLst>
                  <a:path w="56" h="24">
                    <a:moveTo>
                      <a:pt x="56" y="0"/>
                    </a:moveTo>
                    <a:lnTo>
                      <a:pt x="56" y="21"/>
                    </a:lnTo>
                    <a:lnTo>
                      <a:pt x="0" y="24"/>
                    </a:lnTo>
                    <a:lnTo>
                      <a:pt x="2" y="24"/>
                    </a:lnTo>
                    <a:lnTo>
                      <a:pt x="2" y="3"/>
                    </a:lnTo>
                    <a:lnTo>
                      <a:pt x="56"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prstClr val="black"/>
                  </a:solidFill>
                  <a:latin typeface="メイリオ"/>
                  <a:ea typeface="メイリオ"/>
                  <a:cs typeface="メイリオ"/>
                </a:endParaRPr>
              </a:p>
            </p:txBody>
          </p:sp>
        </p:grpSp>
        <p:sp>
          <p:nvSpPr>
            <p:cNvPr id="240" name="Freeform 13"/>
            <p:cNvSpPr>
              <a:spLocks/>
            </p:cNvSpPr>
            <p:nvPr/>
          </p:nvSpPr>
          <p:spPr bwMode="auto">
            <a:xfrm>
              <a:off x="1912455" y="4460812"/>
              <a:ext cx="251652" cy="40744"/>
            </a:xfrm>
            <a:custGeom>
              <a:avLst/>
              <a:gdLst>
                <a:gd name="T0" fmla="*/ 1263 w 1263"/>
                <a:gd name="T1" fmla="*/ 0 h 210"/>
                <a:gd name="T2" fmla="*/ 0 w 1263"/>
                <a:gd name="T3" fmla="*/ 14 h 210"/>
                <a:gd name="T4" fmla="*/ 0 w 1263"/>
                <a:gd name="T5" fmla="*/ 210 h 210"/>
                <a:gd name="T6" fmla="*/ 1263 w 1263"/>
                <a:gd name="T7" fmla="*/ 184 h 210"/>
                <a:gd name="T8" fmla="*/ 1263 w 1263"/>
                <a:gd name="T9" fmla="*/ 0 h 210"/>
              </a:gdLst>
              <a:ahLst/>
              <a:cxnLst>
                <a:cxn ang="0">
                  <a:pos x="T0" y="T1"/>
                </a:cxn>
                <a:cxn ang="0">
                  <a:pos x="T2" y="T3"/>
                </a:cxn>
                <a:cxn ang="0">
                  <a:pos x="T4" y="T5"/>
                </a:cxn>
                <a:cxn ang="0">
                  <a:pos x="T6" y="T7"/>
                </a:cxn>
                <a:cxn ang="0">
                  <a:pos x="T8" y="T9"/>
                </a:cxn>
              </a:cxnLst>
              <a:rect l="0" t="0" r="r" b="b"/>
              <a:pathLst>
                <a:path w="1263" h="210">
                  <a:moveTo>
                    <a:pt x="1263" y="0"/>
                  </a:moveTo>
                  <a:lnTo>
                    <a:pt x="0" y="14"/>
                  </a:lnTo>
                  <a:lnTo>
                    <a:pt x="0" y="210"/>
                  </a:lnTo>
                  <a:lnTo>
                    <a:pt x="1263" y="184"/>
                  </a:lnTo>
                  <a:lnTo>
                    <a:pt x="1263"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1400" kern="0">
                <a:solidFill>
                  <a:srgbClr val="676767"/>
                </a:solidFill>
                <a:latin typeface="メイリオ"/>
                <a:ea typeface="メイリオ"/>
                <a:cs typeface="メイリオ"/>
              </a:endParaRPr>
            </a:p>
          </p:txBody>
        </p:sp>
      </p:grpSp>
      <p:pic>
        <p:nvPicPr>
          <p:cNvPr id="305" name="Picture 304"/>
          <p:cNvPicPr>
            <a:picLocks noChangeAspect="1"/>
          </p:cNvPicPr>
          <p:nvPr/>
        </p:nvPicPr>
        <p:blipFill rotWithShape="1">
          <a:blip r:embed="rId3"/>
          <a:srcRect b="34938"/>
          <a:stretch/>
        </p:blipFill>
        <p:spPr>
          <a:xfrm>
            <a:off x="3317846" y="3842824"/>
            <a:ext cx="551277" cy="588705"/>
          </a:xfrm>
          <a:prstGeom prst="rect">
            <a:avLst/>
          </a:prstGeom>
        </p:spPr>
      </p:pic>
      <p:grpSp>
        <p:nvGrpSpPr>
          <p:cNvPr id="311" name="Group 310"/>
          <p:cNvGrpSpPr/>
          <p:nvPr/>
        </p:nvGrpSpPr>
        <p:grpSpPr>
          <a:xfrm>
            <a:off x="3453184" y="3108679"/>
            <a:ext cx="290474" cy="296857"/>
            <a:chOff x="3560257" y="2350032"/>
            <a:chExt cx="224696" cy="224696"/>
          </a:xfrm>
        </p:grpSpPr>
        <p:sp>
          <p:nvSpPr>
            <p:cNvPr id="312" name="Oval 311"/>
            <p:cNvSpPr/>
            <p:nvPr/>
          </p:nvSpPr>
          <p:spPr>
            <a:xfrm>
              <a:off x="3560257" y="2350032"/>
              <a:ext cx="224696" cy="224696"/>
            </a:xfrm>
            <a:prstGeom prst="ellipse">
              <a:avLst/>
            </a:prstGeom>
            <a:solidFill>
              <a:srgbClr val="214794"/>
            </a:solidFill>
            <a:ln w="38100" cap="flat" cmpd="sng" algn="ctr">
              <a:solidFill>
                <a:sysClr val="window" lastClr="FFFFFF"/>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313" name="Group 312"/>
            <p:cNvGrpSpPr/>
            <p:nvPr/>
          </p:nvGrpSpPr>
          <p:grpSpPr>
            <a:xfrm>
              <a:off x="3613835" y="2389944"/>
              <a:ext cx="117540" cy="144873"/>
              <a:chOff x="8261352" y="2423663"/>
              <a:chExt cx="348271" cy="472184"/>
            </a:xfrm>
          </p:grpSpPr>
          <p:sp>
            <p:nvSpPr>
              <p:cNvPr id="314" name="Up Arrow 313"/>
              <p:cNvSpPr/>
              <p:nvPr/>
            </p:nvSpPr>
            <p:spPr>
              <a:xfrm rot="10800000">
                <a:off x="8261352" y="2577003"/>
                <a:ext cx="200613" cy="318844"/>
              </a:xfrm>
              <a:prstGeom prst="upArrow">
                <a:avLst/>
              </a:prstGeom>
              <a:solidFill>
                <a:sysClr val="window" lastClr="FFFFFF"/>
              </a:solidFill>
              <a:ln w="12700" cap="flat" cmpd="sng" algn="ctr">
                <a:noFill/>
                <a:prstDash val="solid"/>
              </a:ln>
              <a:effectLst/>
            </p:spPr>
            <p:txBody>
              <a:bodyPr rtlCol="0" anchor="ctr"/>
              <a:lstStyle>
                <a:defPPr>
                  <a:defRPr lang="en-US"/>
                </a:defPPr>
                <a:lvl1pPr marL="0" algn="l" defTabSz="1068294" rtl="0" eaLnBrk="1" latinLnBrk="0" hangingPunct="1">
                  <a:defRPr sz="2103" kern="1200">
                    <a:solidFill>
                      <a:schemeClr val="lt1"/>
                    </a:solidFill>
                    <a:latin typeface="+mn-lt"/>
                    <a:ea typeface="+mn-ea"/>
                    <a:cs typeface="+mn-cs"/>
                  </a:defRPr>
                </a:lvl1pPr>
                <a:lvl2pPr marL="534147" algn="l" defTabSz="1068294" rtl="0" eaLnBrk="1" latinLnBrk="0" hangingPunct="1">
                  <a:defRPr sz="2103" kern="1200">
                    <a:solidFill>
                      <a:schemeClr val="lt1"/>
                    </a:solidFill>
                    <a:latin typeface="+mn-lt"/>
                    <a:ea typeface="+mn-ea"/>
                    <a:cs typeface="+mn-cs"/>
                  </a:defRPr>
                </a:lvl2pPr>
                <a:lvl3pPr marL="1068294" algn="l" defTabSz="1068294" rtl="0" eaLnBrk="1" latinLnBrk="0" hangingPunct="1">
                  <a:defRPr sz="2103" kern="1200">
                    <a:solidFill>
                      <a:schemeClr val="lt1"/>
                    </a:solidFill>
                    <a:latin typeface="+mn-lt"/>
                    <a:ea typeface="+mn-ea"/>
                    <a:cs typeface="+mn-cs"/>
                  </a:defRPr>
                </a:lvl3pPr>
                <a:lvl4pPr marL="1602440" algn="l" defTabSz="1068294" rtl="0" eaLnBrk="1" latinLnBrk="0" hangingPunct="1">
                  <a:defRPr sz="2103" kern="1200">
                    <a:solidFill>
                      <a:schemeClr val="lt1"/>
                    </a:solidFill>
                    <a:latin typeface="+mn-lt"/>
                    <a:ea typeface="+mn-ea"/>
                    <a:cs typeface="+mn-cs"/>
                  </a:defRPr>
                </a:lvl4pPr>
                <a:lvl5pPr marL="2136587" algn="l" defTabSz="1068294" rtl="0" eaLnBrk="1" latinLnBrk="0" hangingPunct="1">
                  <a:defRPr sz="2103" kern="1200">
                    <a:solidFill>
                      <a:schemeClr val="lt1"/>
                    </a:solidFill>
                    <a:latin typeface="+mn-lt"/>
                    <a:ea typeface="+mn-ea"/>
                    <a:cs typeface="+mn-cs"/>
                  </a:defRPr>
                </a:lvl5pPr>
                <a:lvl6pPr marL="2670734" algn="l" defTabSz="1068294" rtl="0" eaLnBrk="1" latinLnBrk="0" hangingPunct="1">
                  <a:defRPr sz="2103" kern="1200">
                    <a:solidFill>
                      <a:schemeClr val="lt1"/>
                    </a:solidFill>
                    <a:latin typeface="+mn-lt"/>
                    <a:ea typeface="+mn-ea"/>
                    <a:cs typeface="+mn-cs"/>
                  </a:defRPr>
                </a:lvl6pPr>
                <a:lvl7pPr marL="3204881" algn="l" defTabSz="1068294" rtl="0" eaLnBrk="1" latinLnBrk="0" hangingPunct="1">
                  <a:defRPr sz="2103" kern="1200">
                    <a:solidFill>
                      <a:schemeClr val="lt1"/>
                    </a:solidFill>
                    <a:latin typeface="+mn-lt"/>
                    <a:ea typeface="+mn-ea"/>
                    <a:cs typeface="+mn-cs"/>
                  </a:defRPr>
                </a:lvl7pPr>
                <a:lvl8pPr marL="3739027" algn="l" defTabSz="1068294" rtl="0" eaLnBrk="1" latinLnBrk="0" hangingPunct="1">
                  <a:defRPr sz="2103" kern="1200">
                    <a:solidFill>
                      <a:schemeClr val="lt1"/>
                    </a:solidFill>
                    <a:latin typeface="+mn-lt"/>
                    <a:ea typeface="+mn-ea"/>
                    <a:cs typeface="+mn-cs"/>
                  </a:defRPr>
                </a:lvl8pPr>
                <a:lvl9pPr marL="4273174" algn="l" defTabSz="1068294" rtl="0" eaLnBrk="1" latinLnBrk="0" hangingPunct="1">
                  <a:defRPr sz="2103" kern="1200">
                    <a:solidFill>
                      <a:schemeClr val="lt1"/>
                    </a:solidFill>
                    <a:latin typeface="+mn-lt"/>
                    <a:ea typeface="+mn-ea"/>
                    <a:cs typeface="+mn-cs"/>
                  </a:defRPr>
                </a:lvl9pPr>
              </a:lstStyle>
              <a:p>
                <a:pPr algn="ctr" defTabSz="801221" fontAlgn="auto">
                  <a:spcBef>
                    <a:spcPts val="0"/>
                  </a:spcBef>
                  <a:spcAft>
                    <a:spcPts val="0"/>
                  </a:spcAft>
                  <a:defRPr/>
                </a:pPr>
                <a:endParaRPr lang="en-US" sz="1600" dirty="0">
                  <a:solidFill>
                    <a:prstClr val="white"/>
                  </a:solidFill>
                  <a:latin typeface="メイリオ"/>
                  <a:ea typeface="メイリオ"/>
                  <a:cs typeface="メイリオ"/>
                </a:endParaRPr>
              </a:p>
            </p:txBody>
          </p:sp>
          <p:sp>
            <p:nvSpPr>
              <p:cNvPr id="315" name="Up Arrow 314"/>
              <p:cNvSpPr/>
              <p:nvPr/>
            </p:nvSpPr>
            <p:spPr>
              <a:xfrm>
                <a:off x="8409010" y="2423663"/>
                <a:ext cx="200613" cy="318844"/>
              </a:xfrm>
              <a:prstGeom prst="upArrow">
                <a:avLst/>
              </a:prstGeom>
              <a:solidFill>
                <a:sysClr val="window" lastClr="FFFFFF"/>
              </a:solidFill>
              <a:ln w="12700" cap="flat" cmpd="sng" algn="ctr">
                <a:noFill/>
                <a:prstDash val="solid"/>
              </a:ln>
              <a:effectLst/>
            </p:spPr>
            <p:txBody>
              <a:bodyPr rtlCol="0" anchor="ctr"/>
              <a:lstStyle>
                <a:defPPr>
                  <a:defRPr lang="en-US"/>
                </a:defPPr>
                <a:lvl1pPr marL="0" algn="l" defTabSz="1068294" rtl="0" eaLnBrk="1" latinLnBrk="0" hangingPunct="1">
                  <a:defRPr sz="2103" kern="1200">
                    <a:solidFill>
                      <a:schemeClr val="lt1"/>
                    </a:solidFill>
                    <a:latin typeface="+mn-lt"/>
                    <a:ea typeface="+mn-ea"/>
                    <a:cs typeface="+mn-cs"/>
                  </a:defRPr>
                </a:lvl1pPr>
                <a:lvl2pPr marL="534147" algn="l" defTabSz="1068294" rtl="0" eaLnBrk="1" latinLnBrk="0" hangingPunct="1">
                  <a:defRPr sz="2103" kern="1200">
                    <a:solidFill>
                      <a:schemeClr val="lt1"/>
                    </a:solidFill>
                    <a:latin typeface="+mn-lt"/>
                    <a:ea typeface="+mn-ea"/>
                    <a:cs typeface="+mn-cs"/>
                  </a:defRPr>
                </a:lvl2pPr>
                <a:lvl3pPr marL="1068294" algn="l" defTabSz="1068294" rtl="0" eaLnBrk="1" latinLnBrk="0" hangingPunct="1">
                  <a:defRPr sz="2103" kern="1200">
                    <a:solidFill>
                      <a:schemeClr val="lt1"/>
                    </a:solidFill>
                    <a:latin typeface="+mn-lt"/>
                    <a:ea typeface="+mn-ea"/>
                    <a:cs typeface="+mn-cs"/>
                  </a:defRPr>
                </a:lvl3pPr>
                <a:lvl4pPr marL="1602440" algn="l" defTabSz="1068294" rtl="0" eaLnBrk="1" latinLnBrk="0" hangingPunct="1">
                  <a:defRPr sz="2103" kern="1200">
                    <a:solidFill>
                      <a:schemeClr val="lt1"/>
                    </a:solidFill>
                    <a:latin typeface="+mn-lt"/>
                    <a:ea typeface="+mn-ea"/>
                    <a:cs typeface="+mn-cs"/>
                  </a:defRPr>
                </a:lvl4pPr>
                <a:lvl5pPr marL="2136587" algn="l" defTabSz="1068294" rtl="0" eaLnBrk="1" latinLnBrk="0" hangingPunct="1">
                  <a:defRPr sz="2103" kern="1200">
                    <a:solidFill>
                      <a:schemeClr val="lt1"/>
                    </a:solidFill>
                    <a:latin typeface="+mn-lt"/>
                    <a:ea typeface="+mn-ea"/>
                    <a:cs typeface="+mn-cs"/>
                  </a:defRPr>
                </a:lvl5pPr>
                <a:lvl6pPr marL="2670734" algn="l" defTabSz="1068294" rtl="0" eaLnBrk="1" latinLnBrk="0" hangingPunct="1">
                  <a:defRPr sz="2103" kern="1200">
                    <a:solidFill>
                      <a:schemeClr val="lt1"/>
                    </a:solidFill>
                    <a:latin typeface="+mn-lt"/>
                    <a:ea typeface="+mn-ea"/>
                    <a:cs typeface="+mn-cs"/>
                  </a:defRPr>
                </a:lvl6pPr>
                <a:lvl7pPr marL="3204881" algn="l" defTabSz="1068294" rtl="0" eaLnBrk="1" latinLnBrk="0" hangingPunct="1">
                  <a:defRPr sz="2103" kern="1200">
                    <a:solidFill>
                      <a:schemeClr val="lt1"/>
                    </a:solidFill>
                    <a:latin typeface="+mn-lt"/>
                    <a:ea typeface="+mn-ea"/>
                    <a:cs typeface="+mn-cs"/>
                  </a:defRPr>
                </a:lvl7pPr>
                <a:lvl8pPr marL="3739027" algn="l" defTabSz="1068294" rtl="0" eaLnBrk="1" latinLnBrk="0" hangingPunct="1">
                  <a:defRPr sz="2103" kern="1200">
                    <a:solidFill>
                      <a:schemeClr val="lt1"/>
                    </a:solidFill>
                    <a:latin typeface="+mn-lt"/>
                    <a:ea typeface="+mn-ea"/>
                    <a:cs typeface="+mn-cs"/>
                  </a:defRPr>
                </a:lvl8pPr>
                <a:lvl9pPr marL="4273174" algn="l" defTabSz="1068294" rtl="0" eaLnBrk="1" latinLnBrk="0" hangingPunct="1">
                  <a:defRPr sz="2103" kern="1200">
                    <a:solidFill>
                      <a:schemeClr val="lt1"/>
                    </a:solidFill>
                    <a:latin typeface="+mn-lt"/>
                    <a:ea typeface="+mn-ea"/>
                    <a:cs typeface="+mn-cs"/>
                  </a:defRPr>
                </a:lvl9pPr>
              </a:lstStyle>
              <a:p>
                <a:pPr algn="ctr" defTabSz="801221" fontAlgn="auto">
                  <a:spcBef>
                    <a:spcPts val="0"/>
                  </a:spcBef>
                  <a:spcAft>
                    <a:spcPts val="0"/>
                  </a:spcAft>
                  <a:defRPr/>
                </a:pPr>
                <a:endParaRPr lang="en-US" sz="1600" dirty="0">
                  <a:solidFill>
                    <a:prstClr val="white"/>
                  </a:solidFill>
                  <a:latin typeface="メイリオ"/>
                  <a:ea typeface="メイリオ"/>
                  <a:cs typeface="メイリオ"/>
                </a:endParaRPr>
              </a:p>
            </p:txBody>
          </p:sp>
        </p:grpSp>
      </p:grpSp>
      <p:grpSp>
        <p:nvGrpSpPr>
          <p:cNvPr id="327" name="Group 326"/>
          <p:cNvGrpSpPr/>
          <p:nvPr/>
        </p:nvGrpSpPr>
        <p:grpSpPr>
          <a:xfrm>
            <a:off x="3610750" y="3304891"/>
            <a:ext cx="186937" cy="191045"/>
            <a:chOff x="6309902" y="4461422"/>
            <a:chExt cx="761995" cy="761995"/>
          </a:xfrm>
        </p:grpSpPr>
        <p:sp>
          <p:nvSpPr>
            <p:cNvPr id="328" name="Oval 327"/>
            <p:cNvSpPr/>
            <p:nvPr/>
          </p:nvSpPr>
          <p:spPr>
            <a:xfrm>
              <a:off x="6309902" y="4461422"/>
              <a:ext cx="761995" cy="761995"/>
            </a:xfrm>
            <a:prstGeom prst="ellipse">
              <a:avLst/>
            </a:prstGeom>
            <a:solidFill>
              <a:srgbClr val="FFFFFF"/>
            </a:solidFill>
            <a:ln w="38100" cap="flat" cmpd="sng" algn="ctr">
              <a:solidFill>
                <a:srgbClr val="214794"/>
              </a:solidFill>
              <a:prstDash val="solid"/>
            </a:ln>
            <a:effectLst/>
          </p:spPr>
          <p:txBody>
            <a:bodyPr rtlCol="0" anchor="ctr"/>
            <a:lstStyle/>
            <a:p>
              <a:pPr algn="ctr" defTabSz="801221" fontAlgn="auto">
                <a:spcBef>
                  <a:spcPts val="0"/>
                </a:spcBef>
                <a:spcAft>
                  <a:spcPts val="0"/>
                </a:spcAft>
                <a:defRPr/>
              </a:pPr>
              <a:endParaRPr lang="en-US" sz="1600" kern="0" dirty="0">
                <a:solidFill>
                  <a:srgbClr val="FFFFFF"/>
                </a:solidFill>
                <a:latin typeface="メイリオ"/>
                <a:ea typeface="メイリオ"/>
                <a:cs typeface="メイリオ"/>
              </a:endParaRPr>
            </a:p>
          </p:txBody>
        </p:sp>
        <p:grpSp>
          <p:nvGrpSpPr>
            <p:cNvPr id="329" name="Group 328"/>
            <p:cNvGrpSpPr/>
            <p:nvPr/>
          </p:nvGrpSpPr>
          <p:grpSpPr>
            <a:xfrm>
              <a:off x="6485377" y="4558396"/>
              <a:ext cx="411079" cy="520136"/>
              <a:chOff x="8297871" y="4799019"/>
              <a:chExt cx="339734" cy="429864"/>
            </a:xfrm>
            <a:solidFill>
              <a:srgbClr val="2462B2"/>
            </a:solidFill>
          </p:grpSpPr>
          <p:sp>
            <p:nvSpPr>
              <p:cNvPr id="330" name="Freeform 152"/>
              <p:cNvSpPr>
                <a:spLocks noEditPoints="1"/>
              </p:cNvSpPr>
              <p:nvPr/>
            </p:nvSpPr>
            <p:spPr bwMode="auto">
              <a:xfrm>
                <a:off x="8297871" y="4799019"/>
                <a:ext cx="339725" cy="236538"/>
              </a:xfrm>
              <a:custGeom>
                <a:avLst/>
                <a:gdLst>
                  <a:gd name="T0" fmla="*/ 370 w 428"/>
                  <a:gd name="T1" fmla="*/ 201 h 299"/>
                  <a:gd name="T2" fmla="*/ 370 w 428"/>
                  <a:gd name="T3" fmla="*/ 157 h 299"/>
                  <a:gd name="T4" fmla="*/ 364 w 428"/>
                  <a:gd name="T5" fmla="*/ 110 h 299"/>
                  <a:gd name="T6" fmla="*/ 344 w 428"/>
                  <a:gd name="T7" fmla="*/ 69 h 299"/>
                  <a:gd name="T8" fmla="*/ 313 w 428"/>
                  <a:gd name="T9" fmla="*/ 35 h 299"/>
                  <a:gd name="T10" fmla="*/ 275 w 428"/>
                  <a:gd name="T11" fmla="*/ 12 h 299"/>
                  <a:gd name="T12" fmla="*/ 229 w 428"/>
                  <a:gd name="T13" fmla="*/ 1 h 299"/>
                  <a:gd name="T14" fmla="*/ 198 w 428"/>
                  <a:gd name="T15" fmla="*/ 1 h 299"/>
                  <a:gd name="T16" fmla="*/ 152 w 428"/>
                  <a:gd name="T17" fmla="*/ 12 h 299"/>
                  <a:gd name="T18" fmla="*/ 115 w 428"/>
                  <a:gd name="T19" fmla="*/ 35 h 299"/>
                  <a:gd name="T20" fmla="*/ 85 w 428"/>
                  <a:gd name="T21" fmla="*/ 69 h 299"/>
                  <a:gd name="T22" fmla="*/ 65 w 428"/>
                  <a:gd name="T23" fmla="*/ 110 h 299"/>
                  <a:gd name="T24" fmla="*/ 57 w 428"/>
                  <a:gd name="T25" fmla="*/ 157 h 299"/>
                  <a:gd name="T26" fmla="*/ 58 w 428"/>
                  <a:gd name="T27" fmla="*/ 201 h 299"/>
                  <a:gd name="T28" fmla="*/ 28 w 428"/>
                  <a:gd name="T29" fmla="*/ 202 h 299"/>
                  <a:gd name="T30" fmla="*/ 10 w 428"/>
                  <a:gd name="T31" fmla="*/ 211 h 299"/>
                  <a:gd name="T32" fmla="*/ 0 w 428"/>
                  <a:gd name="T33" fmla="*/ 230 h 299"/>
                  <a:gd name="T34" fmla="*/ 49 w 428"/>
                  <a:gd name="T35" fmla="*/ 240 h 299"/>
                  <a:gd name="T36" fmla="*/ 56 w 428"/>
                  <a:gd name="T37" fmla="*/ 243 h 299"/>
                  <a:gd name="T38" fmla="*/ 58 w 428"/>
                  <a:gd name="T39" fmla="*/ 249 h 299"/>
                  <a:gd name="T40" fmla="*/ 53 w 428"/>
                  <a:gd name="T41" fmla="*/ 258 h 299"/>
                  <a:gd name="T42" fmla="*/ 0 w 428"/>
                  <a:gd name="T43" fmla="*/ 262 h 299"/>
                  <a:gd name="T44" fmla="*/ 2 w 428"/>
                  <a:gd name="T45" fmla="*/ 277 h 299"/>
                  <a:gd name="T46" fmla="*/ 15 w 428"/>
                  <a:gd name="T47" fmla="*/ 292 h 299"/>
                  <a:gd name="T48" fmla="*/ 35 w 428"/>
                  <a:gd name="T49" fmla="*/ 299 h 299"/>
                  <a:gd name="T50" fmla="*/ 399 w 428"/>
                  <a:gd name="T51" fmla="*/ 298 h 299"/>
                  <a:gd name="T52" fmla="*/ 417 w 428"/>
                  <a:gd name="T53" fmla="*/ 288 h 299"/>
                  <a:gd name="T54" fmla="*/ 428 w 428"/>
                  <a:gd name="T55" fmla="*/ 270 h 299"/>
                  <a:gd name="T56" fmla="*/ 428 w 428"/>
                  <a:gd name="T57" fmla="*/ 238 h 299"/>
                  <a:gd name="T58" fmla="*/ 422 w 428"/>
                  <a:gd name="T59" fmla="*/ 217 h 299"/>
                  <a:gd name="T60" fmla="*/ 407 w 428"/>
                  <a:gd name="T61" fmla="*/ 204 h 299"/>
                  <a:gd name="T62" fmla="*/ 392 w 428"/>
                  <a:gd name="T63" fmla="*/ 201 h 299"/>
                  <a:gd name="T64" fmla="*/ 91 w 428"/>
                  <a:gd name="T65" fmla="*/ 97 h 299"/>
                  <a:gd name="T66" fmla="*/ 118 w 428"/>
                  <a:gd name="T67" fmla="*/ 59 h 299"/>
                  <a:gd name="T68" fmla="*/ 156 w 428"/>
                  <a:gd name="T69" fmla="*/ 31 h 299"/>
                  <a:gd name="T70" fmla="*/ 175 w 428"/>
                  <a:gd name="T71" fmla="*/ 26 h 299"/>
                  <a:gd name="T72" fmla="*/ 182 w 428"/>
                  <a:gd name="T73" fmla="*/ 31 h 299"/>
                  <a:gd name="T74" fmla="*/ 182 w 428"/>
                  <a:gd name="T75" fmla="*/ 39 h 299"/>
                  <a:gd name="T76" fmla="*/ 177 w 428"/>
                  <a:gd name="T77" fmla="*/ 43 h 299"/>
                  <a:gd name="T78" fmla="*/ 141 w 428"/>
                  <a:gd name="T79" fmla="*/ 63 h 299"/>
                  <a:gd name="T80" fmla="*/ 113 w 428"/>
                  <a:gd name="T81" fmla="*/ 93 h 299"/>
                  <a:gd name="T82" fmla="*/ 102 w 428"/>
                  <a:gd name="T83" fmla="*/ 116 h 299"/>
                  <a:gd name="T84" fmla="*/ 94 w 428"/>
                  <a:gd name="T85" fmla="*/ 123 h 299"/>
                  <a:gd name="T86" fmla="*/ 87 w 428"/>
                  <a:gd name="T87" fmla="*/ 120 h 299"/>
                  <a:gd name="T88" fmla="*/ 85 w 428"/>
                  <a:gd name="T89" fmla="*/ 111 h 299"/>
                  <a:gd name="T90" fmla="*/ 115 w 428"/>
                  <a:gd name="T91" fmla="*/ 157 h 299"/>
                  <a:gd name="T92" fmla="*/ 116 w 428"/>
                  <a:gd name="T93" fmla="*/ 137 h 299"/>
                  <a:gd name="T94" fmla="*/ 126 w 428"/>
                  <a:gd name="T95" fmla="*/ 110 h 299"/>
                  <a:gd name="T96" fmla="*/ 143 w 428"/>
                  <a:gd name="T97" fmla="*/ 86 h 299"/>
                  <a:gd name="T98" fmla="*/ 167 w 428"/>
                  <a:gd name="T99" fmla="*/ 69 h 299"/>
                  <a:gd name="T100" fmla="*/ 194 w 428"/>
                  <a:gd name="T101" fmla="*/ 59 h 299"/>
                  <a:gd name="T102" fmla="*/ 214 w 428"/>
                  <a:gd name="T103" fmla="*/ 58 h 299"/>
                  <a:gd name="T104" fmla="*/ 244 w 428"/>
                  <a:gd name="T105" fmla="*/ 61 h 299"/>
                  <a:gd name="T106" fmla="*/ 270 w 428"/>
                  <a:gd name="T107" fmla="*/ 75 h 299"/>
                  <a:gd name="T108" fmla="*/ 291 w 428"/>
                  <a:gd name="T109" fmla="*/ 93 h 299"/>
                  <a:gd name="T110" fmla="*/ 305 w 428"/>
                  <a:gd name="T111" fmla="*/ 118 h 299"/>
                  <a:gd name="T112" fmla="*/ 313 w 428"/>
                  <a:gd name="T113" fmla="*/ 146 h 299"/>
                  <a:gd name="T114" fmla="*/ 313 w 428"/>
                  <a:gd name="T115" fmla="*/ 197 h 299"/>
                  <a:gd name="T116" fmla="*/ 115 w 428"/>
                  <a:gd name="T117" fmla="*/ 20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8" h="299">
                    <a:moveTo>
                      <a:pt x="392" y="201"/>
                    </a:moveTo>
                    <a:lnTo>
                      <a:pt x="370" y="201"/>
                    </a:lnTo>
                    <a:lnTo>
                      <a:pt x="370" y="201"/>
                    </a:lnTo>
                    <a:lnTo>
                      <a:pt x="370" y="197"/>
                    </a:lnTo>
                    <a:lnTo>
                      <a:pt x="370" y="157"/>
                    </a:lnTo>
                    <a:lnTo>
                      <a:pt x="370" y="157"/>
                    </a:lnTo>
                    <a:lnTo>
                      <a:pt x="369" y="141"/>
                    </a:lnTo>
                    <a:lnTo>
                      <a:pt x="368" y="125"/>
                    </a:lnTo>
                    <a:lnTo>
                      <a:pt x="364" y="110"/>
                    </a:lnTo>
                    <a:lnTo>
                      <a:pt x="358" y="95"/>
                    </a:lnTo>
                    <a:lnTo>
                      <a:pt x="352" y="82"/>
                    </a:lnTo>
                    <a:lnTo>
                      <a:pt x="344" y="69"/>
                    </a:lnTo>
                    <a:lnTo>
                      <a:pt x="335" y="58"/>
                    </a:lnTo>
                    <a:lnTo>
                      <a:pt x="325" y="46"/>
                    </a:lnTo>
                    <a:lnTo>
                      <a:pt x="313" y="35"/>
                    </a:lnTo>
                    <a:lnTo>
                      <a:pt x="301" y="26"/>
                    </a:lnTo>
                    <a:lnTo>
                      <a:pt x="288" y="18"/>
                    </a:lnTo>
                    <a:lnTo>
                      <a:pt x="275" y="12"/>
                    </a:lnTo>
                    <a:lnTo>
                      <a:pt x="261" y="7"/>
                    </a:lnTo>
                    <a:lnTo>
                      <a:pt x="245" y="3"/>
                    </a:lnTo>
                    <a:lnTo>
                      <a:pt x="229" y="1"/>
                    </a:lnTo>
                    <a:lnTo>
                      <a:pt x="214" y="0"/>
                    </a:lnTo>
                    <a:lnTo>
                      <a:pt x="214" y="0"/>
                    </a:lnTo>
                    <a:lnTo>
                      <a:pt x="198" y="1"/>
                    </a:lnTo>
                    <a:lnTo>
                      <a:pt x="182" y="3"/>
                    </a:lnTo>
                    <a:lnTo>
                      <a:pt x="168" y="7"/>
                    </a:lnTo>
                    <a:lnTo>
                      <a:pt x="152" y="12"/>
                    </a:lnTo>
                    <a:lnTo>
                      <a:pt x="139" y="18"/>
                    </a:lnTo>
                    <a:lnTo>
                      <a:pt x="126" y="26"/>
                    </a:lnTo>
                    <a:lnTo>
                      <a:pt x="115" y="35"/>
                    </a:lnTo>
                    <a:lnTo>
                      <a:pt x="103" y="46"/>
                    </a:lnTo>
                    <a:lnTo>
                      <a:pt x="94" y="58"/>
                    </a:lnTo>
                    <a:lnTo>
                      <a:pt x="85" y="69"/>
                    </a:lnTo>
                    <a:lnTo>
                      <a:pt x="77" y="82"/>
                    </a:lnTo>
                    <a:lnTo>
                      <a:pt x="70" y="95"/>
                    </a:lnTo>
                    <a:lnTo>
                      <a:pt x="65" y="110"/>
                    </a:lnTo>
                    <a:lnTo>
                      <a:pt x="61" y="125"/>
                    </a:lnTo>
                    <a:lnTo>
                      <a:pt x="58" y="141"/>
                    </a:lnTo>
                    <a:lnTo>
                      <a:pt x="57" y="157"/>
                    </a:lnTo>
                    <a:lnTo>
                      <a:pt x="57" y="197"/>
                    </a:lnTo>
                    <a:lnTo>
                      <a:pt x="57" y="197"/>
                    </a:lnTo>
                    <a:lnTo>
                      <a:pt x="58" y="201"/>
                    </a:lnTo>
                    <a:lnTo>
                      <a:pt x="35" y="201"/>
                    </a:lnTo>
                    <a:lnTo>
                      <a:pt x="35" y="201"/>
                    </a:lnTo>
                    <a:lnTo>
                      <a:pt x="28" y="202"/>
                    </a:lnTo>
                    <a:lnTo>
                      <a:pt x="22" y="204"/>
                    </a:lnTo>
                    <a:lnTo>
                      <a:pt x="15" y="208"/>
                    </a:lnTo>
                    <a:lnTo>
                      <a:pt x="10" y="211"/>
                    </a:lnTo>
                    <a:lnTo>
                      <a:pt x="6" y="217"/>
                    </a:lnTo>
                    <a:lnTo>
                      <a:pt x="2" y="223"/>
                    </a:lnTo>
                    <a:lnTo>
                      <a:pt x="0" y="230"/>
                    </a:lnTo>
                    <a:lnTo>
                      <a:pt x="0" y="238"/>
                    </a:lnTo>
                    <a:lnTo>
                      <a:pt x="0" y="240"/>
                    </a:lnTo>
                    <a:lnTo>
                      <a:pt x="49" y="240"/>
                    </a:lnTo>
                    <a:lnTo>
                      <a:pt x="49" y="240"/>
                    </a:lnTo>
                    <a:lnTo>
                      <a:pt x="53" y="241"/>
                    </a:lnTo>
                    <a:lnTo>
                      <a:pt x="56" y="243"/>
                    </a:lnTo>
                    <a:lnTo>
                      <a:pt x="58" y="247"/>
                    </a:lnTo>
                    <a:lnTo>
                      <a:pt x="58" y="249"/>
                    </a:lnTo>
                    <a:lnTo>
                      <a:pt x="58" y="249"/>
                    </a:lnTo>
                    <a:lnTo>
                      <a:pt x="58" y="253"/>
                    </a:lnTo>
                    <a:lnTo>
                      <a:pt x="56" y="257"/>
                    </a:lnTo>
                    <a:lnTo>
                      <a:pt x="53" y="258"/>
                    </a:lnTo>
                    <a:lnTo>
                      <a:pt x="49" y="260"/>
                    </a:lnTo>
                    <a:lnTo>
                      <a:pt x="0" y="260"/>
                    </a:lnTo>
                    <a:lnTo>
                      <a:pt x="0" y="262"/>
                    </a:lnTo>
                    <a:lnTo>
                      <a:pt x="0" y="262"/>
                    </a:lnTo>
                    <a:lnTo>
                      <a:pt x="0" y="270"/>
                    </a:lnTo>
                    <a:lnTo>
                      <a:pt x="2" y="277"/>
                    </a:lnTo>
                    <a:lnTo>
                      <a:pt x="6" y="283"/>
                    </a:lnTo>
                    <a:lnTo>
                      <a:pt x="10" y="288"/>
                    </a:lnTo>
                    <a:lnTo>
                      <a:pt x="15" y="292"/>
                    </a:lnTo>
                    <a:lnTo>
                      <a:pt x="22" y="296"/>
                    </a:lnTo>
                    <a:lnTo>
                      <a:pt x="28" y="298"/>
                    </a:lnTo>
                    <a:lnTo>
                      <a:pt x="35" y="299"/>
                    </a:lnTo>
                    <a:lnTo>
                      <a:pt x="392" y="299"/>
                    </a:lnTo>
                    <a:lnTo>
                      <a:pt x="392" y="299"/>
                    </a:lnTo>
                    <a:lnTo>
                      <a:pt x="399" y="298"/>
                    </a:lnTo>
                    <a:lnTo>
                      <a:pt x="407" y="296"/>
                    </a:lnTo>
                    <a:lnTo>
                      <a:pt x="412" y="292"/>
                    </a:lnTo>
                    <a:lnTo>
                      <a:pt x="417" y="288"/>
                    </a:lnTo>
                    <a:lnTo>
                      <a:pt x="422" y="283"/>
                    </a:lnTo>
                    <a:lnTo>
                      <a:pt x="425" y="277"/>
                    </a:lnTo>
                    <a:lnTo>
                      <a:pt x="428" y="270"/>
                    </a:lnTo>
                    <a:lnTo>
                      <a:pt x="428" y="262"/>
                    </a:lnTo>
                    <a:lnTo>
                      <a:pt x="428" y="238"/>
                    </a:lnTo>
                    <a:lnTo>
                      <a:pt x="428" y="238"/>
                    </a:lnTo>
                    <a:lnTo>
                      <a:pt x="428" y="230"/>
                    </a:lnTo>
                    <a:lnTo>
                      <a:pt x="425" y="223"/>
                    </a:lnTo>
                    <a:lnTo>
                      <a:pt x="422" y="217"/>
                    </a:lnTo>
                    <a:lnTo>
                      <a:pt x="417" y="211"/>
                    </a:lnTo>
                    <a:lnTo>
                      <a:pt x="412" y="208"/>
                    </a:lnTo>
                    <a:lnTo>
                      <a:pt x="407" y="204"/>
                    </a:lnTo>
                    <a:lnTo>
                      <a:pt x="399" y="202"/>
                    </a:lnTo>
                    <a:lnTo>
                      <a:pt x="392" y="201"/>
                    </a:lnTo>
                    <a:lnTo>
                      <a:pt x="392" y="201"/>
                    </a:lnTo>
                    <a:close/>
                    <a:moveTo>
                      <a:pt x="85" y="111"/>
                    </a:moveTo>
                    <a:lnTo>
                      <a:pt x="85" y="111"/>
                    </a:lnTo>
                    <a:lnTo>
                      <a:pt x="91" y="97"/>
                    </a:lnTo>
                    <a:lnTo>
                      <a:pt x="99" y="82"/>
                    </a:lnTo>
                    <a:lnTo>
                      <a:pt x="108" y="69"/>
                    </a:lnTo>
                    <a:lnTo>
                      <a:pt x="118" y="59"/>
                    </a:lnTo>
                    <a:lnTo>
                      <a:pt x="130" y="48"/>
                    </a:lnTo>
                    <a:lnTo>
                      <a:pt x="143" y="39"/>
                    </a:lnTo>
                    <a:lnTo>
                      <a:pt x="156" y="31"/>
                    </a:lnTo>
                    <a:lnTo>
                      <a:pt x="172" y="26"/>
                    </a:lnTo>
                    <a:lnTo>
                      <a:pt x="172" y="26"/>
                    </a:lnTo>
                    <a:lnTo>
                      <a:pt x="175" y="26"/>
                    </a:lnTo>
                    <a:lnTo>
                      <a:pt x="178" y="26"/>
                    </a:lnTo>
                    <a:lnTo>
                      <a:pt x="181" y="29"/>
                    </a:lnTo>
                    <a:lnTo>
                      <a:pt x="182" y="31"/>
                    </a:lnTo>
                    <a:lnTo>
                      <a:pt x="182" y="31"/>
                    </a:lnTo>
                    <a:lnTo>
                      <a:pt x="184" y="35"/>
                    </a:lnTo>
                    <a:lnTo>
                      <a:pt x="182" y="39"/>
                    </a:lnTo>
                    <a:lnTo>
                      <a:pt x="180" y="42"/>
                    </a:lnTo>
                    <a:lnTo>
                      <a:pt x="177" y="43"/>
                    </a:lnTo>
                    <a:lnTo>
                      <a:pt x="177" y="43"/>
                    </a:lnTo>
                    <a:lnTo>
                      <a:pt x="164" y="48"/>
                    </a:lnTo>
                    <a:lnTo>
                      <a:pt x="152" y="55"/>
                    </a:lnTo>
                    <a:lnTo>
                      <a:pt x="141" y="63"/>
                    </a:lnTo>
                    <a:lnTo>
                      <a:pt x="132" y="72"/>
                    </a:lnTo>
                    <a:lnTo>
                      <a:pt x="121" y="81"/>
                    </a:lnTo>
                    <a:lnTo>
                      <a:pt x="113" y="93"/>
                    </a:lnTo>
                    <a:lnTo>
                      <a:pt x="107" y="105"/>
                    </a:lnTo>
                    <a:lnTo>
                      <a:pt x="102" y="116"/>
                    </a:lnTo>
                    <a:lnTo>
                      <a:pt x="102" y="116"/>
                    </a:lnTo>
                    <a:lnTo>
                      <a:pt x="100" y="120"/>
                    </a:lnTo>
                    <a:lnTo>
                      <a:pt x="98" y="121"/>
                    </a:lnTo>
                    <a:lnTo>
                      <a:pt x="94" y="123"/>
                    </a:lnTo>
                    <a:lnTo>
                      <a:pt x="90" y="123"/>
                    </a:lnTo>
                    <a:lnTo>
                      <a:pt x="90" y="123"/>
                    </a:lnTo>
                    <a:lnTo>
                      <a:pt x="87" y="120"/>
                    </a:lnTo>
                    <a:lnTo>
                      <a:pt x="85" y="118"/>
                    </a:lnTo>
                    <a:lnTo>
                      <a:pt x="85" y="114"/>
                    </a:lnTo>
                    <a:lnTo>
                      <a:pt x="85" y="111"/>
                    </a:lnTo>
                    <a:lnTo>
                      <a:pt x="85" y="111"/>
                    </a:lnTo>
                    <a:close/>
                    <a:moveTo>
                      <a:pt x="115" y="197"/>
                    </a:moveTo>
                    <a:lnTo>
                      <a:pt x="115" y="157"/>
                    </a:lnTo>
                    <a:lnTo>
                      <a:pt x="115" y="157"/>
                    </a:lnTo>
                    <a:lnTo>
                      <a:pt x="115" y="146"/>
                    </a:lnTo>
                    <a:lnTo>
                      <a:pt x="116" y="137"/>
                    </a:lnTo>
                    <a:lnTo>
                      <a:pt x="118" y="127"/>
                    </a:lnTo>
                    <a:lnTo>
                      <a:pt x="122" y="118"/>
                    </a:lnTo>
                    <a:lnTo>
                      <a:pt x="126" y="110"/>
                    </a:lnTo>
                    <a:lnTo>
                      <a:pt x="132" y="101"/>
                    </a:lnTo>
                    <a:lnTo>
                      <a:pt x="137" y="93"/>
                    </a:lnTo>
                    <a:lnTo>
                      <a:pt x="143" y="86"/>
                    </a:lnTo>
                    <a:lnTo>
                      <a:pt x="151" y="80"/>
                    </a:lnTo>
                    <a:lnTo>
                      <a:pt x="159" y="75"/>
                    </a:lnTo>
                    <a:lnTo>
                      <a:pt x="167" y="69"/>
                    </a:lnTo>
                    <a:lnTo>
                      <a:pt x="175" y="65"/>
                    </a:lnTo>
                    <a:lnTo>
                      <a:pt x="184" y="61"/>
                    </a:lnTo>
                    <a:lnTo>
                      <a:pt x="194" y="59"/>
                    </a:lnTo>
                    <a:lnTo>
                      <a:pt x="203" y="58"/>
                    </a:lnTo>
                    <a:lnTo>
                      <a:pt x="214" y="58"/>
                    </a:lnTo>
                    <a:lnTo>
                      <a:pt x="214" y="58"/>
                    </a:lnTo>
                    <a:lnTo>
                      <a:pt x="224" y="58"/>
                    </a:lnTo>
                    <a:lnTo>
                      <a:pt x="235" y="59"/>
                    </a:lnTo>
                    <a:lnTo>
                      <a:pt x="244" y="61"/>
                    </a:lnTo>
                    <a:lnTo>
                      <a:pt x="253" y="65"/>
                    </a:lnTo>
                    <a:lnTo>
                      <a:pt x="261" y="69"/>
                    </a:lnTo>
                    <a:lnTo>
                      <a:pt x="270" y="75"/>
                    </a:lnTo>
                    <a:lnTo>
                      <a:pt x="278" y="80"/>
                    </a:lnTo>
                    <a:lnTo>
                      <a:pt x="284" y="86"/>
                    </a:lnTo>
                    <a:lnTo>
                      <a:pt x="291" y="93"/>
                    </a:lnTo>
                    <a:lnTo>
                      <a:pt x="296" y="101"/>
                    </a:lnTo>
                    <a:lnTo>
                      <a:pt x="301" y="110"/>
                    </a:lnTo>
                    <a:lnTo>
                      <a:pt x="305" y="118"/>
                    </a:lnTo>
                    <a:lnTo>
                      <a:pt x="309" y="127"/>
                    </a:lnTo>
                    <a:lnTo>
                      <a:pt x="311" y="137"/>
                    </a:lnTo>
                    <a:lnTo>
                      <a:pt x="313" y="146"/>
                    </a:lnTo>
                    <a:lnTo>
                      <a:pt x="313" y="157"/>
                    </a:lnTo>
                    <a:lnTo>
                      <a:pt x="313" y="197"/>
                    </a:lnTo>
                    <a:lnTo>
                      <a:pt x="313" y="197"/>
                    </a:lnTo>
                    <a:lnTo>
                      <a:pt x="314" y="201"/>
                    </a:lnTo>
                    <a:lnTo>
                      <a:pt x="115" y="201"/>
                    </a:lnTo>
                    <a:lnTo>
                      <a:pt x="115" y="201"/>
                    </a:lnTo>
                    <a:lnTo>
                      <a:pt x="115" y="197"/>
                    </a:lnTo>
                    <a:lnTo>
                      <a:pt x="115" y="197"/>
                    </a:lnTo>
                    <a:close/>
                  </a:path>
                </a:pathLst>
              </a:custGeom>
              <a:solidFill>
                <a:srgbClr val="2147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01221" fontAlgn="auto">
                  <a:spcBef>
                    <a:spcPts val="0"/>
                  </a:spcBef>
                  <a:spcAft>
                    <a:spcPts val="0"/>
                  </a:spcAft>
                  <a:defRPr/>
                </a:pPr>
                <a:endParaRPr lang="en-US" sz="1600" kern="0">
                  <a:solidFill>
                    <a:srgbClr val="676767"/>
                  </a:solidFill>
                  <a:latin typeface="メイリオ"/>
                  <a:ea typeface="メイリオ"/>
                  <a:cs typeface="メイリオ"/>
                </a:endParaRPr>
              </a:p>
            </p:txBody>
          </p:sp>
          <p:sp>
            <p:nvSpPr>
              <p:cNvPr id="331" name="Freeform 153"/>
              <p:cNvSpPr>
                <a:spLocks/>
              </p:cNvSpPr>
              <p:nvPr/>
            </p:nvSpPr>
            <p:spPr bwMode="auto">
              <a:xfrm>
                <a:off x="8297876" y="5055220"/>
                <a:ext cx="339726" cy="77787"/>
              </a:xfrm>
              <a:custGeom>
                <a:avLst/>
                <a:gdLst>
                  <a:gd name="T0" fmla="*/ 392 w 428"/>
                  <a:gd name="T1" fmla="*/ 0 h 98"/>
                  <a:gd name="T2" fmla="*/ 35 w 428"/>
                  <a:gd name="T3" fmla="*/ 0 h 98"/>
                  <a:gd name="T4" fmla="*/ 35 w 428"/>
                  <a:gd name="T5" fmla="*/ 0 h 98"/>
                  <a:gd name="T6" fmla="*/ 28 w 428"/>
                  <a:gd name="T7" fmla="*/ 0 h 98"/>
                  <a:gd name="T8" fmla="*/ 22 w 428"/>
                  <a:gd name="T9" fmla="*/ 2 h 98"/>
                  <a:gd name="T10" fmla="*/ 15 w 428"/>
                  <a:gd name="T11" fmla="*/ 5 h 98"/>
                  <a:gd name="T12" fmla="*/ 10 w 428"/>
                  <a:gd name="T13" fmla="*/ 10 h 98"/>
                  <a:gd name="T14" fmla="*/ 6 w 428"/>
                  <a:gd name="T15" fmla="*/ 15 h 98"/>
                  <a:gd name="T16" fmla="*/ 2 w 428"/>
                  <a:gd name="T17" fmla="*/ 21 h 98"/>
                  <a:gd name="T18" fmla="*/ 0 w 428"/>
                  <a:gd name="T19" fmla="*/ 29 h 98"/>
                  <a:gd name="T20" fmla="*/ 0 w 428"/>
                  <a:gd name="T21" fmla="*/ 35 h 98"/>
                  <a:gd name="T22" fmla="*/ 0 w 428"/>
                  <a:gd name="T23" fmla="*/ 39 h 98"/>
                  <a:gd name="T24" fmla="*/ 49 w 428"/>
                  <a:gd name="T25" fmla="*/ 39 h 98"/>
                  <a:gd name="T26" fmla="*/ 49 w 428"/>
                  <a:gd name="T27" fmla="*/ 39 h 98"/>
                  <a:gd name="T28" fmla="*/ 53 w 428"/>
                  <a:gd name="T29" fmla="*/ 39 h 98"/>
                  <a:gd name="T30" fmla="*/ 56 w 428"/>
                  <a:gd name="T31" fmla="*/ 42 h 98"/>
                  <a:gd name="T32" fmla="*/ 58 w 428"/>
                  <a:gd name="T33" fmla="*/ 44 h 98"/>
                  <a:gd name="T34" fmla="*/ 58 w 428"/>
                  <a:gd name="T35" fmla="*/ 48 h 98"/>
                  <a:gd name="T36" fmla="*/ 58 w 428"/>
                  <a:gd name="T37" fmla="*/ 48 h 98"/>
                  <a:gd name="T38" fmla="*/ 58 w 428"/>
                  <a:gd name="T39" fmla="*/ 52 h 98"/>
                  <a:gd name="T40" fmla="*/ 56 w 428"/>
                  <a:gd name="T41" fmla="*/ 55 h 98"/>
                  <a:gd name="T42" fmla="*/ 53 w 428"/>
                  <a:gd name="T43" fmla="*/ 57 h 98"/>
                  <a:gd name="T44" fmla="*/ 49 w 428"/>
                  <a:gd name="T45" fmla="*/ 57 h 98"/>
                  <a:gd name="T46" fmla="*/ 0 w 428"/>
                  <a:gd name="T47" fmla="*/ 57 h 98"/>
                  <a:gd name="T48" fmla="*/ 0 w 428"/>
                  <a:gd name="T49" fmla="*/ 61 h 98"/>
                  <a:gd name="T50" fmla="*/ 0 w 428"/>
                  <a:gd name="T51" fmla="*/ 61 h 98"/>
                  <a:gd name="T52" fmla="*/ 0 w 428"/>
                  <a:gd name="T53" fmla="*/ 68 h 98"/>
                  <a:gd name="T54" fmla="*/ 2 w 428"/>
                  <a:gd name="T55" fmla="*/ 76 h 98"/>
                  <a:gd name="T56" fmla="*/ 6 w 428"/>
                  <a:gd name="T57" fmla="*/ 81 h 98"/>
                  <a:gd name="T58" fmla="*/ 10 w 428"/>
                  <a:gd name="T59" fmla="*/ 86 h 98"/>
                  <a:gd name="T60" fmla="*/ 15 w 428"/>
                  <a:gd name="T61" fmla="*/ 91 h 98"/>
                  <a:gd name="T62" fmla="*/ 22 w 428"/>
                  <a:gd name="T63" fmla="*/ 94 h 98"/>
                  <a:gd name="T64" fmla="*/ 28 w 428"/>
                  <a:gd name="T65" fmla="*/ 96 h 98"/>
                  <a:gd name="T66" fmla="*/ 35 w 428"/>
                  <a:gd name="T67" fmla="*/ 98 h 98"/>
                  <a:gd name="T68" fmla="*/ 392 w 428"/>
                  <a:gd name="T69" fmla="*/ 98 h 98"/>
                  <a:gd name="T70" fmla="*/ 392 w 428"/>
                  <a:gd name="T71" fmla="*/ 98 h 98"/>
                  <a:gd name="T72" fmla="*/ 399 w 428"/>
                  <a:gd name="T73" fmla="*/ 96 h 98"/>
                  <a:gd name="T74" fmla="*/ 407 w 428"/>
                  <a:gd name="T75" fmla="*/ 94 h 98"/>
                  <a:gd name="T76" fmla="*/ 412 w 428"/>
                  <a:gd name="T77" fmla="*/ 91 h 98"/>
                  <a:gd name="T78" fmla="*/ 417 w 428"/>
                  <a:gd name="T79" fmla="*/ 86 h 98"/>
                  <a:gd name="T80" fmla="*/ 422 w 428"/>
                  <a:gd name="T81" fmla="*/ 81 h 98"/>
                  <a:gd name="T82" fmla="*/ 425 w 428"/>
                  <a:gd name="T83" fmla="*/ 76 h 98"/>
                  <a:gd name="T84" fmla="*/ 428 w 428"/>
                  <a:gd name="T85" fmla="*/ 68 h 98"/>
                  <a:gd name="T86" fmla="*/ 428 w 428"/>
                  <a:gd name="T87" fmla="*/ 61 h 98"/>
                  <a:gd name="T88" fmla="*/ 428 w 428"/>
                  <a:gd name="T89" fmla="*/ 35 h 98"/>
                  <a:gd name="T90" fmla="*/ 428 w 428"/>
                  <a:gd name="T91" fmla="*/ 35 h 98"/>
                  <a:gd name="T92" fmla="*/ 428 w 428"/>
                  <a:gd name="T93" fmla="*/ 29 h 98"/>
                  <a:gd name="T94" fmla="*/ 425 w 428"/>
                  <a:gd name="T95" fmla="*/ 21 h 98"/>
                  <a:gd name="T96" fmla="*/ 422 w 428"/>
                  <a:gd name="T97" fmla="*/ 15 h 98"/>
                  <a:gd name="T98" fmla="*/ 417 w 428"/>
                  <a:gd name="T99" fmla="*/ 10 h 98"/>
                  <a:gd name="T100" fmla="*/ 412 w 428"/>
                  <a:gd name="T101" fmla="*/ 5 h 98"/>
                  <a:gd name="T102" fmla="*/ 407 w 428"/>
                  <a:gd name="T103" fmla="*/ 2 h 98"/>
                  <a:gd name="T104" fmla="*/ 399 w 428"/>
                  <a:gd name="T105" fmla="*/ 0 h 98"/>
                  <a:gd name="T106" fmla="*/ 392 w 428"/>
                  <a:gd name="T107" fmla="*/ 0 h 98"/>
                  <a:gd name="T108" fmla="*/ 392 w 428"/>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8" h="98">
                    <a:moveTo>
                      <a:pt x="392" y="0"/>
                    </a:moveTo>
                    <a:lnTo>
                      <a:pt x="35" y="0"/>
                    </a:lnTo>
                    <a:lnTo>
                      <a:pt x="35" y="0"/>
                    </a:lnTo>
                    <a:lnTo>
                      <a:pt x="28" y="0"/>
                    </a:lnTo>
                    <a:lnTo>
                      <a:pt x="22" y="2"/>
                    </a:lnTo>
                    <a:lnTo>
                      <a:pt x="15" y="5"/>
                    </a:lnTo>
                    <a:lnTo>
                      <a:pt x="10" y="10"/>
                    </a:lnTo>
                    <a:lnTo>
                      <a:pt x="6" y="15"/>
                    </a:lnTo>
                    <a:lnTo>
                      <a:pt x="2" y="21"/>
                    </a:lnTo>
                    <a:lnTo>
                      <a:pt x="0" y="29"/>
                    </a:lnTo>
                    <a:lnTo>
                      <a:pt x="0" y="35"/>
                    </a:lnTo>
                    <a:lnTo>
                      <a:pt x="0" y="39"/>
                    </a:lnTo>
                    <a:lnTo>
                      <a:pt x="49" y="39"/>
                    </a:lnTo>
                    <a:lnTo>
                      <a:pt x="49" y="39"/>
                    </a:lnTo>
                    <a:lnTo>
                      <a:pt x="53" y="39"/>
                    </a:lnTo>
                    <a:lnTo>
                      <a:pt x="56" y="42"/>
                    </a:lnTo>
                    <a:lnTo>
                      <a:pt x="58" y="44"/>
                    </a:lnTo>
                    <a:lnTo>
                      <a:pt x="58" y="48"/>
                    </a:lnTo>
                    <a:lnTo>
                      <a:pt x="58" y="48"/>
                    </a:lnTo>
                    <a:lnTo>
                      <a:pt x="58" y="52"/>
                    </a:lnTo>
                    <a:lnTo>
                      <a:pt x="56" y="55"/>
                    </a:lnTo>
                    <a:lnTo>
                      <a:pt x="53" y="57"/>
                    </a:lnTo>
                    <a:lnTo>
                      <a:pt x="49" y="57"/>
                    </a:lnTo>
                    <a:lnTo>
                      <a:pt x="0" y="57"/>
                    </a:lnTo>
                    <a:lnTo>
                      <a:pt x="0" y="61"/>
                    </a:lnTo>
                    <a:lnTo>
                      <a:pt x="0" y="61"/>
                    </a:lnTo>
                    <a:lnTo>
                      <a:pt x="0" y="68"/>
                    </a:lnTo>
                    <a:lnTo>
                      <a:pt x="2" y="76"/>
                    </a:lnTo>
                    <a:lnTo>
                      <a:pt x="6" y="81"/>
                    </a:lnTo>
                    <a:lnTo>
                      <a:pt x="10" y="86"/>
                    </a:lnTo>
                    <a:lnTo>
                      <a:pt x="15" y="91"/>
                    </a:lnTo>
                    <a:lnTo>
                      <a:pt x="22" y="94"/>
                    </a:lnTo>
                    <a:lnTo>
                      <a:pt x="28" y="96"/>
                    </a:lnTo>
                    <a:lnTo>
                      <a:pt x="35" y="98"/>
                    </a:lnTo>
                    <a:lnTo>
                      <a:pt x="392" y="98"/>
                    </a:lnTo>
                    <a:lnTo>
                      <a:pt x="392" y="98"/>
                    </a:lnTo>
                    <a:lnTo>
                      <a:pt x="399" y="96"/>
                    </a:lnTo>
                    <a:lnTo>
                      <a:pt x="407" y="94"/>
                    </a:lnTo>
                    <a:lnTo>
                      <a:pt x="412" y="91"/>
                    </a:lnTo>
                    <a:lnTo>
                      <a:pt x="417" y="86"/>
                    </a:lnTo>
                    <a:lnTo>
                      <a:pt x="422" y="81"/>
                    </a:lnTo>
                    <a:lnTo>
                      <a:pt x="425" y="76"/>
                    </a:lnTo>
                    <a:lnTo>
                      <a:pt x="428" y="68"/>
                    </a:lnTo>
                    <a:lnTo>
                      <a:pt x="428" y="61"/>
                    </a:lnTo>
                    <a:lnTo>
                      <a:pt x="428" y="35"/>
                    </a:lnTo>
                    <a:lnTo>
                      <a:pt x="428" y="35"/>
                    </a:lnTo>
                    <a:lnTo>
                      <a:pt x="428" y="29"/>
                    </a:lnTo>
                    <a:lnTo>
                      <a:pt x="425" y="21"/>
                    </a:lnTo>
                    <a:lnTo>
                      <a:pt x="422" y="15"/>
                    </a:lnTo>
                    <a:lnTo>
                      <a:pt x="417" y="10"/>
                    </a:lnTo>
                    <a:lnTo>
                      <a:pt x="412" y="5"/>
                    </a:lnTo>
                    <a:lnTo>
                      <a:pt x="407" y="2"/>
                    </a:lnTo>
                    <a:lnTo>
                      <a:pt x="399" y="0"/>
                    </a:lnTo>
                    <a:lnTo>
                      <a:pt x="392" y="0"/>
                    </a:lnTo>
                    <a:lnTo>
                      <a:pt x="392" y="0"/>
                    </a:lnTo>
                    <a:close/>
                  </a:path>
                </a:pathLst>
              </a:custGeom>
              <a:solidFill>
                <a:srgbClr val="2147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01221" fontAlgn="auto">
                  <a:spcBef>
                    <a:spcPts val="0"/>
                  </a:spcBef>
                  <a:spcAft>
                    <a:spcPts val="0"/>
                  </a:spcAft>
                  <a:defRPr/>
                </a:pPr>
                <a:endParaRPr lang="en-US" sz="1600" kern="0">
                  <a:solidFill>
                    <a:srgbClr val="676767"/>
                  </a:solidFill>
                  <a:latin typeface="メイリオ"/>
                  <a:ea typeface="メイリオ"/>
                  <a:cs typeface="メイリオ"/>
                </a:endParaRPr>
              </a:p>
            </p:txBody>
          </p:sp>
          <p:sp>
            <p:nvSpPr>
              <p:cNvPr id="332" name="Freeform 154"/>
              <p:cNvSpPr>
                <a:spLocks/>
              </p:cNvSpPr>
              <p:nvPr/>
            </p:nvSpPr>
            <p:spPr bwMode="auto">
              <a:xfrm>
                <a:off x="8297879" y="5151095"/>
                <a:ext cx="339726" cy="77788"/>
              </a:xfrm>
              <a:custGeom>
                <a:avLst/>
                <a:gdLst>
                  <a:gd name="T0" fmla="*/ 392 w 428"/>
                  <a:gd name="T1" fmla="*/ 0 h 98"/>
                  <a:gd name="T2" fmla="*/ 35 w 428"/>
                  <a:gd name="T3" fmla="*/ 0 h 98"/>
                  <a:gd name="T4" fmla="*/ 35 w 428"/>
                  <a:gd name="T5" fmla="*/ 0 h 98"/>
                  <a:gd name="T6" fmla="*/ 28 w 428"/>
                  <a:gd name="T7" fmla="*/ 2 h 98"/>
                  <a:gd name="T8" fmla="*/ 22 w 428"/>
                  <a:gd name="T9" fmla="*/ 3 h 98"/>
                  <a:gd name="T10" fmla="*/ 15 w 428"/>
                  <a:gd name="T11" fmla="*/ 7 h 98"/>
                  <a:gd name="T12" fmla="*/ 10 w 428"/>
                  <a:gd name="T13" fmla="*/ 11 h 98"/>
                  <a:gd name="T14" fmla="*/ 6 w 428"/>
                  <a:gd name="T15" fmla="*/ 16 h 98"/>
                  <a:gd name="T16" fmla="*/ 2 w 428"/>
                  <a:gd name="T17" fmla="*/ 23 h 98"/>
                  <a:gd name="T18" fmla="*/ 0 w 428"/>
                  <a:gd name="T19" fmla="*/ 29 h 98"/>
                  <a:gd name="T20" fmla="*/ 0 w 428"/>
                  <a:gd name="T21" fmla="*/ 37 h 98"/>
                  <a:gd name="T22" fmla="*/ 0 w 428"/>
                  <a:gd name="T23" fmla="*/ 39 h 98"/>
                  <a:gd name="T24" fmla="*/ 49 w 428"/>
                  <a:gd name="T25" fmla="*/ 39 h 98"/>
                  <a:gd name="T26" fmla="*/ 49 w 428"/>
                  <a:gd name="T27" fmla="*/ 39 h 98"/>
                  <a:gd name="T28" fmla="*/ 53 w 428"/>
                  <a:gd name="T29" fmla="*/ 41 h 98"/>
                  <a:gd name="T30" fmla="*/ 56 w 428"/>
                  <a:gd name="T31" fmla="*/ 43 h 98"/>
                  <a:gd name="T32" fmla="*/ 58 w 428"/>
                  <a:gd name="T33" fmla="*/ 46 h 98"/>
                  <a:gd name="T34" fmla="*/ 58 w 428"/>
                  <a:gd name="T35" fmla="*/ 50 h 98"/>
                  <a:gd name="T36" fmla="*/ 58 w 428"/>
                  <a:gd name="T37" fmla="*/ 50 h 98"/>
                  <a:gd name="T38" fmla="*/ 58 w 428"/>
                  <a:gd name="T39" fmla="*/ 53 h 98"/>
                  <a:gd name="T40" fmla="*/ 56 w 428"/>
                  <a:gd name="T41" fmla="*/ 56 h 98"/>
                  <a:gd name="T42" fmla="*/ 53 w 428"/>
                  <a:gd name="T43" fmla="*/ 58 h 98"/>
                  <a:gd name="T44" fmla="*/ 49 w 428"/>
                  <a:gd name="T45" fmla="*/ 59 h 98"/>
                  <a:gd name="T46" fmla="*/ 0 w 428"/>
                  <a:gd name="T47" fmla="*/ 59 h 98"/>
                  <a:gd name="T48" fmla="*/ 0 w 428"/>
                  <a:gd name="T49" fmla="*/ 62 h 98"/>
                  <a:gd name="T50" fmla="*/ 0 w 428"/>
                  <a:gd name="T51" fmla="*/ 62 h 98"/>
                  <a:gd name="T52" fmla="*/ 0 w 428"/>
                  <a:gd name="T53" fmla="*/ 69 h 98"/>
                  <a:gd name="T54" fmla="*/ 2 w 428"/>
                  <a:gd name="T55" fmla="*/ 76 h 98"/>
                  <a:gd name="T56" fmla="*/ 6 w 428"/>
                  <a:gd name="T57" fmla="*/ 83 h 98"/>
                  <a:gd name="T58" fmla="*/ 10 w 428"/>
                  <a:gd name="T59" fmla="*/ 88 h 98"/>
                  <a:gd name="T60" fmla="*/ 15 w 428"/>
                  <a:gd name="T61" fmla="*/ 92 h 98"/>
                  <a:gd name="T62" fmla="*/ 22 w 428"/>
                  <a:gd name="T63" fmla="*/ 96 h 98"/>
                  <a:gd name="T64" fmla="*/ 28 w 428"/>
                  <a:gd name="T65" fmla="*/ 98 h 98"/>
                  <a:gd name="T66" fmla="*/ 35 w 428"/>
                  <a:gd name="T67" fmla="*/ 98 h 98"/>
                  <a:gd name="T68" fmla="*/ 392 w 428"/>
                  <a:gd name="T69" fmla="*/ 98 h 98"/>
                  <a:gd name="T70" fmla="*/ 392 w 428"/>
                  <a:gd name="T71" fmla="*/ 98 h 98"/>
                  <a:gd name="T72" fmla="*/ 399 w 428"/>
                  <a:gd name="T73" fmla="*/ 98 h 98"/>
                  <a:gd name="T74" fmla="*/ 407 w 428"/>
                  <a:gd name="T75" fmla="*/ 96 h 98"/>
                  <a:gd name="T76" fmla="*/ 412 w 428"/>
                  <a:gd name="T77" fmla="*/ 92 h 98"/>
                  <a:gd name="T78" fmla="*/ 417 w 428"/>
                  <a:gd name="T79" fmla="*/ 88 h 98"/>
                  <a:gd name="T80" fmla="*/ 422 w 428"/>
                  <a:gd name="T81" fmla="*/ 83 h 98"/>
                  <a:gd name="T82" fmla="*/ 425 w 428"/>
                  <a:gd name="T83" fmla="*/ 76 h 98"/>
                  <a:gd name="T84" fmla="*/ 428 w 428"/>
                  <a:gd name="T85" fmla="*/ 69 h 98"/>
                  <a:gd name="T86" fmla="*/ 428 w 428"/>
                  <a:gd name="T87" fmla="*/ 62 h 98"/>
                  <a:gd name="T88" fmla="*/ 428 w 428"/>
                  <a:gd name="T89" fmla="*/ 37 h 98"/>
                  <a:gd name="T90" fmla="*/ 428 w 428"/>
                  <a:gd name="T91" fmla="*/ 37 h 98"/>
                  <a:gd name="T92" fmla="*/ 428 w 428"/>
                  <a:gd name="T93" fmla="*/ 29 h 98"/>
                  <a:gd name="T94" fmla="*/ 425 w 428"/>
                  <a:gd name="T95" fmla="*/ 23 h 98"/>
                  <a:gd name="T96" fmla="*/ 422 w 428"/>
                  <a:gd name="T97" fmla="*/ 16 h 98"/>
                  <a:gd name="T98" fmla="*/ 417 w 428"/>
                  <a:gd name="T99" fmla="*/ 11 h 98"/>
                  <a:gd name="T100" fmla="*/ 412 w 428"/>
                  <a:gd name="T101" fmla="*/ 7 h 98"/>
                  <a:gd name="T102" fmla="*/ 407 w 428"/>
                  <a:gd name="T103" fmla="*/ 3 h 98"/>
                  <a:gd name="T104" fmla="*/ 399 w 428"/>
                  <a:gd name="T105" fmla="*/ 2 h 98"/>
                  <a:gd name="T106" fmla="*/ 392 w 428"/>
                  <a:gd name="T107" fmla="*/ 0 h 98"/>
                  <a:gd name="T108" fmla="*/ 392 w 428"/>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8" h="98">
                    <a:moveTo>
                      <a:pt x="392" y="0"/>
                    </a:moveTo>
                    <a:lnTo>
                      <a:pt x="35" y="0"/>
                    </a:lnTo>
                    <a:lnTo>
                      <a:pt x="35" y="0"/>
                    </a:lnTo>
                    <a:lnTo>
                      <a:pt x="28" y="2"/>
                    </a:lnTo>
                    <a:lnTo>
                      <a:pt x="22" y="3"/>
                    </a:lnTo>
                    <a:lnTo>
                      <a:pt x="15" y="7"/>
                    </a:lnTo>
                    <a:lnTo>
                      <a:pt x="10" y="11"/>
                    </a:lnTo>
                    <a:lnTo>
                      <a:pt x="6" y="16"/>
                    </a:lnTo>
                    <a:lnTo>
                      <a:pt x="2" y="23"/>
                    </a:lnTo>
                    <a:lnTo>
                      <a:pt x="0" y="29"/>
                    </a:lnTo>
                    <a:lnTo>
                      <a:pt x="0" y="37"/>
                    </a:lnTo>
                    <a:lnTo>
                      <a:pt x="0" y="39"/>
                    </a:lnTo>
                    <a:lnTo>
                      <a:pt x="49" y="39"/>
                    </a:lnTo>
                    <a:lnTo>
                      <a:pt x="49" y="39"/>
                    </a:lnTo>
                    <a:lnTo>
                      <a:pt x="53" y="41"/>
                    </a:lnTo>
                    <a:lnTo>
                      <a:pt x="56" y="43"/>
                    </a:lnTo>
                    <a:lnTo>
                      <a:pt x="58" y="46"/>
                    </a:lnTo>
                    <a:lnTo>
                      <a:pt x="58" y="50"/>
                    </a:lnTo>
                    <a:lnTo>
                      <a:pt x="58" y="50"/>
                    </a:lnTo>
                    <a:lnTo>
                      <a:pt x="58" y="53"/>
                    </a:lnTo>
                    <a:lnTo>
                      <a:pt x="56" y="56"/>
                    </a:lnTo>
                    <a:lnTo>
                      <a:pt x="53" y="58"/>
                    </a:lnTo>
                    <a:lnTo>
                      <a:pt x="49" y="59"/>
                    </a:lnTo>
                    <a:lnTo>
                      <a:pt x="0" y="59"/>
                    </a:lnTo>
                    <a:lnTo>
                      <a:pt x="0" y="62"/>
                    </a:lnTo>
                    <a:lnTo>
                      <a:pt x="0" y="62"/>
                    </a:lnTo>
                    <a:lnTo>
                      <a:pt x="0" y="69"/>
                    </a:lnTo>
                    <a:lnTo>
                      <a:pt x="2" y="76"/>
                    </a:lnTo>
                    <a:lnTo>
                      <a:pt x="6" y="83"/>
                    </a:lnTo>
                    <a:lnTo>
                      <a:pt x="10" y="88"/>
                    </a:lnTo>
                    <a:lnTo>
                      <a:pt x="15" y="92"/>
                    </a:lnTo>
                    <a:lnTo>
                      <a:pt x="22" y="96"/>
                    </a:lnTo>
                    <a:lnTo>
                      <a:pt x="28" y="98"/>
                    </a:lnTo>
                    <a:lnTo>
                      <a:pt x="35" y="98"/>
                    </a:lnTo>
                    <a:lnTo>
                      <a:pt x="392" y="98"/>
                    </a:lnTo>
                    <a:lnTo>
                      <a:pt x="392" y="98"/>
                    </a:lnTo>
                    <a:lnTo>
                      <a:pt x="399" y="98"/>
                    </a:lnTo>
                    <a:lnTo>
                      <a:pt x="407" y="96"/>
                    </a:lnTo>
                    <a:lnTo>
                      <a:pt x="412" y="92"/>
                    </a:lnTo>
                    <a:lnTo>
                      <a:pt x="417" y="88"/>
                    </a:lnTo>
                    <a:lnTo>
                      <a:pt x="422" y="83"/>
                    </a:lnTo>
                    <a:lnTo>
                      <a:pt x="425" y="76"/>
                    </a:lnTo>
                    <a:lnTo>
                      <a:pt x="428" y="69"/>
                    </a:lnTo>
                    <a:lnTo>
                      <a:pt x="428" y="62"/>
                    </a:lnTo>
                    <a:lnTo>
                      <a:pt x="428" y="37"/>
                    </a:lnTo>
                    <a:lnTo>
                      <a:pt x="428" y="37"/>
                    </a:lnTo>
                    <a:lnTo>
                      <a:pt x="428" y="29"/>
                    </a:lnTo>
                    <a:lnTo>
                      <a:pt x="425" y="23"/>
                    </a:lnTo>
                    <a:lnTo>
                      <a:pt x="422" y="16"/>
                    </a:lnTo>
                    <a:lnTo>
                      <a:pt x="417" y="11"/>
                    </a:lnTo>
                    <a:lnTo>
                      <a:pt x="412" y="7"/>
                    </a:lnTo>
                    <a:lnTo>
                      <a:pt x="407" y="3"/>
                    </a:lnTo>
                    <a:lnTo>
                      <a:pt x="399" y="2"/>
                    </a:lnTo>
                    <a:lnTo>
                      <a:pt x="392" y="0"/>
                    </a:lnTo>
                    <a:lnTo>
                      <a:pt x="392" y="0"/>
                    </a:lnTo>
                    <a:close/>
                  </a:path>
                </a:pathLst>
              </a:custGeom>
              <a:solidFill>
                <a:srgbClr val="2147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01221" fontAlgn="auto">
                  <a:spcBef>
                    <a:spcPts val="0"/>
                  </a:spcBef>
                  <a:spcAft>
                    <a:spcPts val="0"/>
                  </a:spcAft>
                  <a:defRPr/>
                </a:pPr>
                <a:endParaRPr lang="en-US" sz="1600" kern="0">
                  <a:solidFill>
                    <a:srgbClr val="676767"/>
                  </a:solidFill>
                  <a:latin typeface="メイリオ"/>
                  <a:ea typeface="メイリオ"/>
                  <a:cs typeface="メイリオ"/>
                </a:endParaRPr>
              </a:p>
            </p:txBody>
          </p:sp>
        </p:grpSp>
      </p:grpSp>
      <p:cxnSp>
        <p:nvCxnSpPr>
          <p:cNvPr id="11" name="Elbow Connector 10"/>
          <p:cNvCxnSpPr/>
          <p:nvPr/>
        </p:nvCxnSpPr>
        <p:spPr>
          <a:xfrm rot="10800000" flipH="1" flipV="1">
            <a:off x="4198097" y="4176015"/>
            <a:ext cx="2606040" cy="274320"/>
          </a:xfrm>
          <a:prstGeom prst="bentConnector3">
            <a:avLst>
              <a:gd name="adj1" fmla="val 189"/>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35" name="Elbow Connector 334"/>
          <p:cNvCxnSpPr/>
          <p:nvPr/>
        </p:nvCxnSpPr>
        <p:spPr>
          <a:xfrm rot="5400000" flipH="1" flipV="1">
            <a:off x="5511002" y="591723"/>
            <a:ext cx="137160" cy="2503170"/>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25" name="Elbow Connector 324"/>
          <p:cNvCxnSpPr/>
          <p:nvPr/>
        </p:nvCxnSpPr>
        <p:spPr>
          <a:xfrm rot="16200000" flipV="1">
            <a:off x="2841191" y="1191799"/>
            <a:ext cx="137160" cy="1303020"/>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36" name="Freeform 335"/>
          <p:cNvSpPr/>
          <p:nvPr/>
        </p:nvSpPr>
        <p:spPr>
          <a:xfrm>
            <a:off x="776420" y="2054823"/>
            <a:ext cx="2606040" cy="1817370"/>
          </a:xfrm>
          <a:custGeom>
            <a:avLst/>
            <a:gdLst>
              <a:gd name="connsiteX0" fmla="*/ 3854450 w 3854450"/>
              <a:gd name="connsiteY0" fmla="*/ 0 h 2152650"/>
              <a:gd name="connsiteX1" fmla="*/ 3479800 w 3854450"/>
              <a:gd name="connsiteY1" fmla="*/ 0 h 2152650"/>
              <a:gd name="connsiteX2" fmla="*/ 3479800 w 3854450"/>
              <a:gd name="connsiteY2" fmla="*/ 222250 h 2152650"/>
              <a:gd name="connsiteX3" fmla="*/ 3479800 w 3854450"/>
              <a:gd name="connsiteY3" fmla="*/ 488950 h 2152650"/>
              <a:gd name="connsiteX4" fmla="*/ 0 w 3854450"/>
              <a:gd name="connsiteY4" fmla="*/ 488950 h 2152650"/>
              <a:gd name="connsiteX5" fmla="*/ 0 w 3854450"/>
              <a:gd name="connsiteY5" fmla="*/ 2152650 h 215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4450" h="2152650">
                <a:moveTo>
                  <a:pt x="3854450" y="0"/>
                </a:moveTo>
                <a:lnTo>
                  <a:pt x="3479800" y="0"/>
                </a:lnTo>
                <a:lnTo>
                  <a:pt x="3479800" y="222250"/>
                </a:lnTo>
                <a:lnTo>
                  <a:pt x="3479800" y="488950"/>
                </a:lnTo>
                <a:lnTo>
                  <a:pt x="0" y="488950"/>
                </a:lnTo>
                <a:lnTo>
                  <a:pt x="0" y="2152650"/>
                </a:lnTo>
              </a:path>
            </a:pathLst>
          </a:cu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a:latin typeface="メイリオ"/>
              <a:ea typeface="メイリオ"/>
              <a:cs typeface="メイリオ"/>
            </a:endParaRPr>
          </a:p>
        </p:txBody>
      </p:sp>
      <p:sp>
        <p:nvSpPr>
          <p:cNvPr id="317" name="Rectangle 316"/>
          <p:cNvSpPr/>
          <p:nvPr/>
        </p:nvSpPr>
        <p:spPr>
          <a:xfrm>
            <a:off x="2354327" y="3323197"/>
            <a:ext cx="1065300" cy="316561"/>
          </a:xfrm>
          <a:prstGeom prst="rect">
            <a:avLst/>
          </a:prstGeom>
          <a:solidFill>
            <a:srgbClr val="142854"/>
          </a:solidFill>
          <a:ln>
            <a:solidFill>
              <a:srgbClr val="8EBCDC"/>
            </a:solidFill>
          </a:ln>
        </p:spPr>
        <p:txBody>
          <a:bodyPr wrap="square" lIns="27980" tIns="27980" rIns="27980" bIns="27980" anchor="ctr">
            <a:noAutofit/>
          </a:bodyPr>
          <a:lstStyle/>
          <a:p>
            <a:pPr algn="ctr">
              <a:defRPr/>
            </a:pPr>
            <a:r>
              <a:rPr lang="ja-JP" altLang="en-US" sz="800" b="1" kern="0" dirty="0" smtClean="0">
                <a:solidFill>
                  <a:prstClr val="white"/>
                </a:solidFill>
                <a:latin typeface="メイリオ"/>
                <a:ea typeface="メイリオ"/>
                <a:cs typeface="メイリオ"/>
              </a:rPr>
              <a:t>セキュリティポリシー管理</a:t>
            </a:r>
            <a:endParaRPr lang="en-US" sz="800" b="1" kern="0" dirty="0">
              <a:solidFill>
                <a:prstClr val="white"/>
              </a:solidFill>
              <a:latin typeface="メイリオ"/>
              <a:ea typeface="メイリオ"/>
              <a:cs typeface="メイリオ"/>
            </a:endParaRPr>
          </a:p>
        </p:txBody>
      </p:sp>
      <p:sp>
        <p:nvSpPr>
          <p:cNvPr id="318" name="Rectangle 317"/>
          <p:cNvSpPr/>
          <p:nvPr/>
        </p:nvSpPr>
        <p:spPr>
          <a:xfrm>
            <a:off x="3927035" y="4110689"/>
            <a:ext cx="615234" cy="290207"/>
          </a:xfrm>
          <a:prstGeom prst="rect">
            <a:avLst/>
          </a:prstGeom>
          <a:solidFill>
            <a:srgbClr val="142854"/>
          </a:solidFill>
          <a:ln>
            <a:solidFill>
              <a:srgbClr val="8EBCDC"/>
            </a:solidFill>
          </a:ln>
        </p:spPr>
        <p:txBody>
          <a:bodyPr wrap="square" lIns="27980" tIns="27980" rIns="27980" bIns="27980" anchor="ctr">
            <a:noAutofit/>
          </a:bodyPr>
          <a:lstStyle/>
          <a:p>
            <a:pPr algn="ctr">
              <a:defRPr/>
            </a:pPr>
            <a:r>
              <a:rPr lang="en-US" sz="700" b="1" kern="0" dirty="0">
                <a:solidFill>
                  <a:prstClr val="white"/>
                </a:solidFill>
                <a:latin typeface="メイリオ"/>
                <a:ea typeface="メイリオ"/>
                <a:cs typeface="メイリオ"/>
              </a:rPr>
              <a:t>OOB </a:t>
            </a:r>
            <a:r>
              <a:rPr lang="ja-JP" altLang="en-US" sz="700" b="1" kern="0" dirty="0" smtClean="0">
                <a:solidFill>
                  <a:prstClr val="white"/>
                </a:solidFill>
                <a:latin typeface="メイリオ"/>
                <a:ea typeface="メイリオ"/>
                <a:cs typeface="メイリオ"/>
              </a:rPr>
              <a:t>通知</a:t>
            </a:r>
            <a:endParaRPr lang="en-US" sz="700" b="1" kern="0" dirty="0">
              <a:solidFill>
                <a:prstClr val="white"/>
              </a:solidFill>
              <a:latin typeface="メイリオ"/>
              <a:ea typeface="メイリオ"/>
              <a:cs typeface="メイリオ"/>
            </a:endParaRPr>
          </a:p>
        </p:txBody>
      </p:sp>
      <p:sp>
        <p:nvSpPr>
          <p:cNvPr id="319" name="Rectangle 318"/>
          <p:cNvSpPr/>
          <p:nvPr/>
        </p:nvSpPr>
        <p:spPr>
          <a:xfrm>
            <a:off x="3829754" y="3390068"/>
            <a:ext cx="615234" cy="290207"/>
          </a:xfrm>
          <a:prstGeom prst="rect">
            <a:avLst/>
          </a:prstGeom>
          <a:solidFill>
            <a:srgbClr val="142854"/>
          </a:solidFill>
          <a:ln>
            <a:solidFill>
              <a:srgbClr val="8EBCDC"/>
            </a:solidFill>
          </a:ln>
        </p:spPr>
        <p:txBody>
          <a:bodyPr wrap="square" lIns="27980" tIns="27980" rIns="27980" bIns="27980" anchor="ctr">
            <a:noAutofit/>
          </a:bodyPr>
          <a:lstStyle/>
          <a:p>
            <a:pPr algn="ctr">
              <a:defRPr/>
            </a:pPr>
            <a:r>
              <a:rPr lang="ja-JP" altLang="en-US" sz="700" b="1" kern="0" dirty="0" smtClean="0">
                <a:solidFill>
                  <a:prstClr val="white"/>
                </a:solidFill>
                <a:latin typeface="メイリオ"/>
                <a:ea typeface="メイリオ"/>
                <a:cs typeface="メイリオ"/>
              </a:rPr>
              <a:t>レポート</a:t>
            </a:r>
            <a:endParaRPr lang="en-US" sz="700" b="1" kern="0" dirty="0">
              <a:solidFill>
                <a:prstClr val="white"/>
              </a:solidFill>
              <a:latin typeface="メイリオ"/>
              <a:ea typeface="メイリオ"/>
              <a:cs typeface="メイリオ"/>
            </a:endParaRPr>
          </a:p>
        </p:txBody>
      </p:sp>
      <p:grpSp>
        <p:nvGrpSpPr>
          <p:cNvPr id="20" name="Group 19"/>
          <p:cNvGrpSpPr/>
          <p:nvPr/>
        </p:nvGrpSpPr>
        <p:grpSpPr>
          <a:xfrm>
            <a:off x="3540449" y="1898647"/>
            <a:ext cx="1594685" cy="801845"/>
            <a:chOff x="3701088" y="2531530"/>
            <a:chExt cx="2126247" cy="1069126"/>
          </a:xfrm>
        </p:grpSpPr>
        <p:grpSp>
          <p:nvGrpSpPr>
            <p:cNvPr id="337" name="Group 336"/>
            <p:cNvGrpSpPr/>
            <p:nvPr/>
          </p:nvGrpSpPr>
          <p:grpSpPr>
            <a:xfrm>
              <a:off x="4522000" y="2531530"/>
              <a:ext cx="448323" cy="448323"/>
              <a:chOff x="6195256" y="1607800"/>
              <a:chExt cx="393192" cy="393192"/>
            </a:xfrm>
          </p:grpSpPr>
          <p:sp>
            <p:nvSpPr>
              <p:cNvPr id="338" name="Oval 337"/>
              <p:cNvSpPr/>
              <p:nvPr/>
            </p:nvSpPr>
            <p:spPr>
              <a:xfrm>
                <a:off x="6195256" y="1607800"/>
                <a:ext cx="393192" cy="393192"/>
              </a:xfrm>
              <a:prstGeom prst="ellipse">
                <a:avLst/>
              </a:prstGeom>
              <a:solidFill>
                <a:sysClr val="window" lastClr="FFFFFF"/>
              </a:solidFill>
              <a:ln w="19050" cap="flat" cmpd="sng" algn="ctr">
                <a:noFill/>
                <a:prstDash val="solid"/>
              </a:ln>
              <a:effectLst/>
            </p:spPr>
            <p:txBody>
              <a:bodyPr rtlCol="0" anchor="ctr"/>
              <a:lstStyle/>
              <a:p>
                <a:pPr algn="ctr" defTabSz="685800" fontAlgn="auto">
                  <a:spcBef>
                    <a:spcPts val="0"/>
                  </a:spcBef>
                  <a:spcAft>
                    <a:spcPts val="0"/>
                  </a:spcAft>
                  <a:defRPr/>
                </a:pPr>
                <a:endParaRPr lang="en-US" sz="700" kern="0" dirty="0">
                  <a:solidFill>
                    <a:srgbClr val="FFFFFF"/>
                  </a:solidFill>
                  <a:latin typeface="メイリオ"/>
                  <a:ea typeface="メイリオ"/>
                  <a:cs typeface="メイリオ"/>
                </a:endParaRPr>
              </a:p>
            </p:txBody>
          </p:sp>
          <p:sp>
            <p:nvSpPr>
              <p:cNvPr id="339" name="Freeform 6"/>
              <p:cNvSpPr>
                <a:spLocks noChangeAspect="1" noEditPoints="1"/>
              </p:cNvSpPr>
              <p:nvPr/>
            </p:nvSpPr>
            <p:spPr bwMode="auto">
              <a:xfrm>
                <a:off x="6271718" y="1667784"/>
                <a:ext cx="256745" cy="256745"/>
              </a:xfrm>
              <a:custGeom>
                <a:avLst/>
                <a:gdLst>
                  <a:gd name="T0" fmla="*/ 3905 w 4320"/>
                  <a:gd name="T1" fmla="*/ 2377 h 4320"/>
                  <a:gd name="T2" fmla="*/ 3524 w 4320"/>
                  <a:gd name="T3" fmla="*/ 2003 h 4320"/>
                  <a:gd name="T4" fmla="*/ 2602 w 4320"/>
                  <a:gd name="T5" fmla="*/ 1930 h 4320"/>
                  <a:gd name="T6" fmla="*/ 2396 w 4320"/>
                  <a:gd name="T7" fmla="*/ 1792 h 4320"/>
                  <a:gd name="T8" fmla="*/ 2595 w 4320"/>
                  <a:gd name="T9" fmla="*/ 890 h 4320"/>
                  <a:gd name="T10" fmla="*/ 2700 w 4320"/>
                  <a:gd name="T11" fmla="*/ 441 h 4320"/>
                  <a:gd name="T12" fmla="*/ 2510 w 4320"/>
                  <a:gd name="T13" fmla="*/ 126 h 4320"/>
                  <a:gd name="T14" fmla="*/ 2160 w 4320"/>
                  <a:gd name="T15" fmla="*/ 0 h 4320"/>
                  <a:gd name="T16" fmla="*/ 1830 w 4320"/>
                  <a:gd name="T17" fmla="*/ 109 h 4320"/>
                  <a:gd name="T18" fmla="*/ 1626 w 4320"/>
                  <a:gd name="T19" fmla="*/ 414 h 4320"/>
                  <a:gd name="T20" fmla="*/ 1702 w 4320"/>
                  <a:gd name="T21" fmla="*/ 857 h 4320"/>
                  <a:gd name="T22" fmla="*/ 1933 w 4320"/>
                  <a:gd name="T23" fmla="*/ 1764 h 4320"/>
                  <a:gd name="T24" fmla="*/ 1745 w 4320"/>
                  <a:gd name="T25" fmla="*/ 1924 h 4320"/>
                  <a:gd name="T26" fmla="*/ 837 w 4320"/>
                  <a:gd name="T27" fmla="*/ 1988 h 4320"/>
                  <a:gd name="T28" fmla="*/ 431 w 4320"/>
                  <a:gd name="T29" fmla="*/ 2344 h 4320"/>
                  <a:gd name="T30" fmla="*/ 333 w 4320"/>
                  <a:gd name="T31" fmla="*/ 3262 h 4320"/>
                  <a:gd name="T32" fmla="*/ 6 w 4320"/>
                  <a:gd name="T33" fmla="*/ 3685 h 4320"/>
                  <a:gd name="T34" fmla="*/ 79 w 4320"/>
                  <a:gd name="T35" fmla="*/ 4054 h 4320"/>
                  <a:gd name="T36" fmla="*/ 362 w 4320"/>
                  <a:gd name="T37" fmla="*/ 4287 h 4320"/>
                  <a:gd name="T38" fmla="*/ 715 w 4320"/>
                  <a:gd name="T39" fmla="*/ 4296 h 4320"/>
                  <a:gd name="T40" fmla="*/ 1008 w 4320"/>
                  <a:gd name="T41" fmla="*/ 4077 h 4320"/>
                  <a:gd name="T42" fmla="*/ 1102 w 4320"/>
                  <a:gd name="T43" fmla="*/ 3727 h 4320"/>
                  <a:gd name="T44" fmla="*/ 806 w 4320"/>
                  <a:gd name="T45" fmla="*/ 3279 h 4320"/>
                  <a:gd name="T46" fmla="*/ 852 w 4320"/>
                  <a:gd name="T47" fmla="*/ 2489 h 4320"/>
                  <a:gd name="T48" fmla="*/ 1586 w 4320"/>
                  <a:gd name="T49" fmla="*/ 2378 h 4320"/>
                  <a:gd name="T50" fmla="*/ 1838 w 4320"/>
                  <a:gd name="T51" fmla="*/ 3320 h 4320"/>
                  <a:gd name="T52" fmla="*/ 1609 w 4320"/>
                  <a:gd name="T53" fmla="*/ 3769 h 4320"/>
                  <a:gd name="T54" fmla="*/ 1735 w 4320"/>
                  <a:gd name="T55" fmla="*/ 4119 h 4320"/>
                  <a:gd name="T56" fmla="*/ 2049 w 4320"/>
                  <a:gd name="T57" fmla="*/ 4309 h 4320"/>
                  <a:gd name="T58" fmla="*/ 2398 w 4320"/>
                  <a:gd name="T59" fmla="*/ 4265 h 4320"/>
                  <a:gd name="T60" fmla="*/ 2657 w 4320"/>
                  <a:gd name="T61" fmla="*/ 4008 h 4320"/>
                  <a:gd name="T62" fmla="*/ 2687 w 4320"/>
                  <a:gd name="T63" fmla="*/ 3606 h 4320"/>
                  <a:gd name="T64" fmla="*/ 2378 w 4320"/>
                  <a:gd name="T65" fmla="*/ 2321 h 4320"/>
                  <a:gd name="T66" fmla="*/ 3303 w 4320"/>
                  <a:gd name="T67" fmla="*/ 2390 h 4320"/>
                  <a:gd name="T68" fmla="*/ 3510 w 4320"/>
                  <a:gd name="T69" fmla="*/ 2555 h 4320"/>
                  <a:gd name="T70" fmla="*/ 3386 w 4320"/>
                  <a:gd name="T71" fmla="*/ 3372 h 4320"/>
                  <a:gd name="T72" fmla="*/ 3220 w 4320"/>
                  <a:gd name="T73" fmla="*/ 3825 h 4320"/>
                  <a:gd name="T74" fmla="*/ 3379 w 4320"/>
                  <a:gd name="T75" fmla="*/ 4159 h 4320"/>
                  <a:gd name="T76" fmla="*/ 3713 w 4320"/>
                  <a:gd name="T77" fmla="*/ 4317 h 4320"/>
                  <a:gd name="T78" fmla="*/ 4054 w 4320"/>
                  <a:gd name="T79" fmla="*/ 4241 h 4320"/>
                  <a:gd name="T80" fmla="*/ 4287 w 4320"/>
                  <a:gd name="T81" fmla="*/ 3958 h 4320"/>
                  <a:gd name="T82" fmla="*/ 4267 w 4320"/>
                  <a:gd name="T83" fmla="*/ 3532 h 4320"/>
                  <a:gd name="T84" fmla="*/ 867 w 4320"/>
                  <a:gd name="T85" fmla="*/ 3802 h 4320"/>
                  <a:gd name="T86" fmla="*/ 585 w 4320"/>
                  <a:gd name="T87" fmla="*/ 4086 h 4320"/>
                  <a:gd name="T88" fmla="*/ 259 w 4320"/>
                  <a:gd name="T89" fmla="*/ 3892 h 4320"/>
                  <a:gd name="T90" fmla="*/ 349 w 4320"/>
                  <a:gd name="T91" fmla="*/ 3523 h 4320"/>
                  <a:gd name="T92" fmla="*/ 730 w 4320"/>
                  <a:gd name="T93" fmla="*/ 3504 h 4320"/>
                  <a:gd name="T94" fmla="*/ 1844 w 4320"/>
                  <a:gd name="T95" fmla="*/ 518 h 4320"/>
                  <a:gd name="T96" fmla="*/ 2127 w 4320"/>
                  <a:gd name="T97" fmla="*/ 234 h 4320"/>
                  <a:gd name="T98" fmla="*/ 2453 w 4320"/>
                  <a:gd name="T99" fmla="*/ 428 h 4320"/>
                  <a:gd name="T100" fmla="*/ 2363 w 4320"/>
                  <a:gd name="T101" fmla="*/ 797 h 4320"/>
                  <a:gd name="T102" fmla="*/ 1982 w 4320"/>
                  <a:gd name="T103" fmla="*/ 816 h 4320"/>
                  <a:gd name="T104" fmla="*/ 2476 w 4320"/>
                  <a:gd name="T105" fmla="*/ 3802 h 4320"/>
                  <a:gd name="T106" fmla="*/ 2193 w 4320"/>
                  <a:gd name="T107" fmla="*/ 4086 h 4320"/>
                  <a:gd name="T108" fmla="*/ 1867 w 4320"/>
                  <a:gd name="T109" fmla="*/ 3892 h 4320"/>
                  <a:gd name="T110" fmla="*/ 1958 w 4320"/>
                  <a:gd name="T111" fmla="*/ 3523 h 4320"/>
                  <a:gd name="T112" fmla="*/ 2338 w 4320"/>
                  <a:gd name="T113" fmla="*/ 3504 h 4320"/>
                  <a:gd name="T114" fmla="*/ 3735 w 4320"/>
                  <a:gd name="T115" fmla="*/ 4086 h 4320"/>
                  <a:gd name="T116" fmla="*/ 3453 w 4320"/>
                  <a:gd name="T117" fmla="*/ 3802 h 4320"/>
                  <a:gd name="T118" fmla="*/ 3645 w 4320"/>
                  <a:gd name="T119" fmla="*/ 3476 h 4320"/>
                  <a:gd name="T120" fmla="*/ 4014 w 4320"/>
                  <a:gd name="T121" fmla="*/ 3566 h 4320"/>
                  <a:gd name="T122" fmla="*/ 4033 w 4320"/>
                  <a:gd name="T123" fmla="*/ 3947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0" h="4320">
                    <a:moveTo>
                      <a:pt x="3987" y="3262"/>
                    </a:moveTo>
                    <a:lnTo>
                      <a:pt x="3987" y="2734"/>
                    </a:lnTo>
                    <a:lnTo>
                      <a:pt x="3987" y="2734"/>
                    </a:lnTo>
                    <a:lnTo>
                      <a:pt x="3987" y="2704"/>
                    </a:lnTo>
                    <a:lnTo>
                      <a:pt x="3984" y="2673"/>
                    </a:lnTo>
                    <a:lnTo>
                      <a:pt x="3981" y="2641"/>
                    </a:lnTo>
                    <a:lnTo>
                      <a:pt x="3977" y="2610"/>
                    </a:lnTo>
                    <a:lnTo>
                      <a:pt x="3971" y="2576"/>
                    </a:lnTo>
                    <a:lnTo>
                      <a:pt x="3964" y="2543"/>
                    </a:lnTo>
                    <a:lnTo>
                      <a:pt x="3955" y="2509"/>
                    </a:lnTo>
                    <a:lnTo>
                      <a:pt x="3945" y="2476"/>
                    </a:lnTo>
                    <a:lnTo>
                      <a:pt x="3934" y="2443"/>
                    </a:lnTo>
                    <a:lnTo>
                      <a:pt x="3921" y="2410"/>
                    </a:lnTo>
                    <a:lnTo>
                      <a:pt x="3905" y="2377"/>
                    </a:lnTo>
                    <a:lnTo>
                      <a:pt x="3889" y="2344"/>
                    </a:lnTo>
                    <a:lnTo>
                      <a:pt x="3872" y="2311"/>
                    </a:lnTo>
                    <a:lnTo>
                      <a:pt x="3852" y="2279"/>
                    </a:lnTo>
                    <a:lnTo>
                      <a:pt x="3832" y="2249"/>
                    </a:lnTo>
                    <a:lnTo>
                      <a:pt x="3809" y="2219"/>
                    </a:lnTo>
                    <a:lnTo>
                      <a:pt x="3784" y="2189"/>
                    </a:lnTo>
                    <a:lnTo>
                      <a:pt x="3758" y="2161"/>
                    </a:lnTo>
                    <a:lnTo>
                      <a:pt x="3730" y="2134"/>
                    </a:lnTo>
                    <a:lnTo>
                      <a:pt x="3701" y="2108"/>
                    </a:lnTo>
                    <a:lnTo>
                      <a:pt x="3669" y="2084"/>
                    </a:lnTo>
                    <a:lnTo>
                      <a:pt x="3636" y="2061"/>
                    </a:lnTo>
                    <a:lnTo>
                      <a:pt x="3600" y="2041"/>
                    </a:lnTo>
                    <a:lnTo>
                      <a:pt x="3563" y="2021"/>
                    </a:lnTo>
                    <a:lnTo>
                      <a:pt x="3524" y="2003"/>
                    </a:lnTo>
                    <a:lnTo>
                      <a:pt x="3483" y="1988"/>
                    </a:lnTo>
                    <a:lnTo>
                      <a:pt x="3440" y="1973"/>
                    </a:lnTo>
                    <a:lnTo>
                      <a:pt x="3395" y="1963"/>
                    </a:lnTo>
                    <a:lnTo>
                      <a:pt x="3348" y="1953"/>
                    </a:lnTo>
                    <a:lnTo>
                      <a:pt x="3299" y="1947"/>
                    </a:lnTo>
                    <a:lnTo>
                      <a:pt x="3247" y="1943"/>
                    </a:lnTo>
                    <a:lnTo>
                      <a:pt x="3194" y="1942"/>
                    </a:lnTo>
                    <a:lnTo>
                      <a:pt x="2734" y="1942"/>
                    </a:lnTo>
                    <a:lnTo>
                      <a:pt x="2734" y="1942"/>
                    </a:lnTo>
                    <a:lnTo>
                      <a:pt x="2704" y="1942"/>
                    </a:lnTo>
                    <a:lnTo>
                      <a:pt x="2677" y="1940"/>
                    </a:lnTo>
                    <a:lnTo>
                      <a:pt x="2651" y="1937"/>
                    </a:lnTo>
                    <a:lnTo>
                      <a:pt x="2627" y="1935"/>
                    </a:lnTo>
                    <a:lnTo>
                      <a:pt x="2602" y="1930"/>
                    </a:lnTo>
                    <a:lnTo>
                      <a:pt x="2581" y="1926"/>
                    </a:lnTo>
                    <a:lnTo>
                      <a:pt x="2561" y="1922"/>
                    </a:lnTo>
                    <a:lnTo>
                      <a:pt x="2542" y="1916"/>
                    </a:lnTo>
                    <a:lnTo>
                      <a:pt x="2525" y="1909"/>
                    </a:lnTo>
                    <a:lnTo>
                      <a:pt x="2509" y="1903"/>
                    </a:lnTo>
                    <a:lnTo>
                      <a:pt x="2493" y="1894"/>
                    </a:lnTo>
                    <a:lnTo>
                      <a:pt x="2480" y="1887"/>
                    </a:lnTo>
                    <a:lnTo>
                      <a:pt x="2467" y="1879"/>
                    </a:lnTo>
                    <a:lnTo>
                      <a:pt x="2456" y="1870"/>
                    </a:lnTo>
                    <a:lnTo>
                      <a:pt x="2444" y="1861"/>
                    </a:lnTo>
                    <a:lnTo>
                      <a:pt x="2436" y="1851"/>
                    </a:lnTo>
                    <a:lnTo>
                      <a:pt x="2419" y="1833"/>
                    </a:lnTo>
                    <a:lnTo>
                      <a:pt x="2406" y="1812"/>
                    </a:lnTo>
                    <a:lnTo>
                      <a:pt x="2396" y="1792"/>
                    </a:lnTo>
                    <a:lnTo>
                      <a:pt x="2388" y="1772"/>
                    </a:lnTo>
                    <a:lnTo>
                      <a:pt x="2384" y="1754"/>
                    </a:lnTo>
                    <a:lnTo>
                      <a:pt x="2381" y="1735"/>
                    </a:lnTo>
                    <a:lnTo>
                      <a:pt x="2378" y="1716"/>
                    </a:lnTo>
                    <a:lnTo>
                      <a:pt x="2378" y="1700"/>
                    </a:lnTo>
                    <a:lnTo>
                      <a:pt x="2378" y="1058"/>
                    </a:lnTo>
                    <a:lnTo>
                      <a:pt x="2378" y="1058"/>
                    </a:lnTo>
                    <a:lnTo>
                      <a:pt x="2414" y="1041"/>
                    </a:lnTo>
                    <a:lnTo>
                      <a:pt x="2449" y="1021"/>
                    </a:lnTo>
                    <a:lnTo>
                      <a:pt x="2482" y="1000"/>
                    </a:lnTo>
                    <a:lnTo>
                      <a:pt x="2513" y="975"/>
                    </a:lnTo>
                    <a:lnTo>
                      <a:pt x="2542" y="948"/>
                    </a:lnTo>
                    <a:lnTo>
                      <a:pt x="2569" y="921"/>
                    </a:lnTo>
                    <a:lnTo>
                      <a:pt x="2595" y="890"/>
                    </a:lnTo>
                    <a:lnTo>
                      <a:pt x="2618" y="857"/>
                    </a:lnTo>
                    <a:lnTo>
                      <a:pt x="2640" y="824"/>
                    </a:lnTo>
                    <a:lnTo>
                      <a:pt x="2658" y="788"/>
                    </a:lnTo>
                    <a:lnTo>
                      <a:pt x="2674" y="753"/>
                    </a:lnTo>
                    <a:lnTo>
                      <a:pt x="2687" y="714"/>
                    </a:lnTo>
                    <a:lnTo>
                      <a:pt x="2697" y="675"/>
                    </a:lnTo>
                    <a:lnTo>
                      <a:pt x="2706" y="635"/>
                    </a:lnTo>
                    <a:lnTo>
                      <a:pt x="2710" y="593"/>
                    </a:lnTo>
                    <a:lnTo>
                      <a:pt x="2711" y="551"/>
                    </a:lnTo>
                    <a:lnTo>
                      <a:pt x="2711" y="551"/>
                    </a:lnTo>
                    <a:lnTo>
                      <a:pt x="2711" y="523"/>
                    </a:lnTo>
                    <a:lnTo>
                      <a:pt x="2709" y="495"/>
                    </a:lnTo>
                    <a:lnTo>
                      <a:pt x="2706" y="467"/>
                    </a:lnTo>
                    <a:lnTo>
                      <a:pt x="2700" y="441"/>
                    </a:lnTo>
                    <a:lnTo>
                      <a:pt x="2694" y="414"/>
                    </a:lnTo>
                    <a:lnTo>
                      <a:pt x="2687" y="388"/>
                    </a:lnTo>
                    <a:lnTo>
                      <a:pt x="2678" y="362"/>
                    </a:lnTo>
                    <a:lnTo>
                      <a:pt x="2668" y="336"/>
                    </a:lnTo>
                    <a:lnTo>
                      <a:pt x="2657" y="312"/>
                    </a:lnTo>
                    <a:lnTo>
                      <a:pt x="2645" y="289"/>
                    </a:lnTo>
                    <a:lnTo>
                      <a:pt x="2631" y="266"/>
                    </a:lnTo>
                    <a:lnTo>
                      <a:pt x="2617" y="243"/>
                    </a:lnTo>
                    <a:lnTo>
                      <a:pt x="2602" y="221"/>
                    </a:lnTo>
                    <a:lnTo>
                      <a:pt x="2585" y="201"/>
                    </a:lnTo>
                    <a:lnTo>
                      <a:pt x="2568" y="181"/>
                    </a:lnTo>
                    <a:lnTo>
                      <a:pt x="2551" y="161"/>
                    </a:lnTo>
                    <a:lnTo>
                      <a:pt x="2531" y="144"/>
                    </a:lnTo>
                    <a:lnTo>
                      <a:pt x="2510" y="126"/>
                    </a:lnTo>
                    <a:lnTo>
                      <a:pt x="2490" y="109"/>
                    </a:lnTo>
                    <a:lnTo>
                      <a:pt x="2469" y="93"/>
                    </a:lnTo>
                    <a:lnTo>
                      <a:pt x="2446" y="79"/>
                    </a:lnTo>
                    <a:lnTo>
                      <a:pt x="2423" y="66"/>
                    </a:lnTo>
                    <a:lnTo>
                      <a:pt x="2398" y="55"/>
                    </a:lnTo>
                    <a:lnTo>
                      <a:pt x="2374" y="43"/>
                    </a:lnTo>
                    <a:lnTo>
                      <a:pt x="2350" y="33"/>
                    </a:lnTo>
                    <a:lnTo>
                      <a:pt x="2324" y="24"/>
                    </a:lnTo>
                    <a:lnTo>
                      <a:pt x="2298" y="17"/>
                    </a:lnTo>
                    <a:lnTo>
                      <a:pt x="2271" y="11"/>
                    </a:lnTo>
                    <a:lnTo>
                      <a:pt x="2243" y="6"/>
                    </a:lnTo>
                    <a:lnTo>
                      <a:pt x="2216" y="3"/>
                    </a:lnTo>
                    <a:lnTo>
                      <a:pt x="2189" y="0"/>
                    </a:lnTo>
                    <a:lnTo>
                      <a:pt x="2160" y="0"/>
                    </a:lnTo>
                    <a:lnTo>
                      <a:pt x="2160" y="0"/>
                    </a:lnTo>
                    <a:lnTo>
                      <a:pt x="2131" y="0"/>
                    </a:lnTo>
                    <a:lnTo>
                      <a:pt x="2104" y="3"/>
                    </a:lnTo>
                    <a:lnTo>
                      <a:pt x="2077" y="6"/>
                    </a:lnTo>
                    <a:lnTo>
                      <a:pt x="2049" y="11"/>
                    </a:lnTo>
                    <a:lnTo>
                      <a:pt x="2022" y="17"/>
                    </a:lnTo>
                    <a:lnTo>
                      <a:pt x="1996" y="24"/>
                    </a:lnTo>
                    <a:lnTo>
                      <a:pt x="1970" y="33"/>
                    </a:lnTo>
                    <a:lnTo>
                      <a:pt x="1946" y="43"/>
                    </a:lnTo>
                    <a:lnTo>
                      <a:pt x="1922" y="55"/>
                    </a:lnTo>
                    <a:lnTo>
                      <a:pt x="1897" y="66"/>
                    </a:lnTo>
                    <a:lnTo>
                      <a:pt x="1874" y="79"/>
                    </a:lnTo>
                    <a:lnTo>
                      <a:pt x="1851" y="93"/>
                    </a:lnTo>
                    <a:lnTo>
                      <a:pt x="1830" y="109"/>
                    </a:lnTo>
                    <a:lnTo>
                      <a:pt x="1810" y="126"/>
                    </a:lnTo>
                    <a:lnTo>
                      <a:pt x="1789" y="144"/>
                    </a:lnTo>
                    <a:lnTo>
                      <a:pt x="1769" y="161"/>
                    </a:lnTo>
                    <a:lnTo>
                      <a:pt x="1752" y="181"/>
                    </a:lnTo>
                    <a:lnTo>
                      <a:pt x="1735" y="201"/>
                    </a:lnTo>
                    <a:lnTo>
                      <a:pt x="1718" y="221"/>
                    </a:lnTo>
                    <a:lnTo>
                      <a:pt x="1703" y="243"/>
                    </a:lnTo>
                    <a:lnTo>
                      <a:pt x="1689" y="266"/>
                    </a:lnTo>
                    <a:lnTo>
                      <a:pt x="1675" y="289"/>
                    </a:lnTo>
                    <a:lnTo>
                      <a:pt x="1663" y="312"/>
                    </a:lnTo>
                    <a:lnTo>
                      <a:pt x="1652" y="336"/>
                    </a:lnTo>
                    <a:lnTo>
                      <a:pt x="1642" y="362"/>
                    </a:lnTo>
                    <a:lnTo>
                      <a:pt x="1633" y="388"/>
                    </a:lnTo>
                    <a:lnTo>
                      <a:pt x="1626" y="414"/>
                    </a:lnTo>
                    <a:lnTo>
                      <a:pt x="1620" y="441"/>
                    </a:lnTo>
                    <a:lnTo>
                      <a:pt x="1614" y="467"/>
                    </a:lnTo>
                    <a:lnTo>
                      <a:pt x="1611" y="495"/>
                    </a:lnTo>
                    <a:lnTo>
                      <a:pt x="1609" y="523"/>
                    </a:lnTo>
                    <a:lnTo>
                      <a:pt x="1609" y="551"/>
                    </a:lnTo>
                    <a:lnTo>
                      <a:pt x="1609" y="551"/>
                    </a:lnTo>
                    <a:lnTo>
                      <a:pt x="1610" y="593"/>
                    </a:lnTo>
                    <a:lnTo>
                      <a:pt x="1614" y="635"/>
                    </a:lnTo>
                    <a:lnTo>
                      <a:pt x="1623" y="675"/>
                    </a:lnTo>
                    <a:lnTo>
                      <a:pt x="1633" y="714"/>
                    </a:lnTo>
                    <a:lnTo>
                      <a:pt x="1646" y="753"/>
                    </a:lnTo>
                    <a:lnTo>
                      <a:pt x="1662" y="788"/>
                    </a:lnTo>
                    <a:lnTo>
                      <a:pt x="1680" y="824"/>
                    </a:lnTo>
                    <a:lnTo>
                      <a:pt x="1702" y="857"/>
                    </a:lnTo>
                    <a:lnTo>
                      <a:pt x="1725" y="890"/>
                    </a:lnTo>
                    <a:lnTo>
                      <a:pt x="1751" y="921"/>
                    </a:lnTo>
                    <a:lnTo>
                      <a:pt x="1778" y="948"/>
                    </a:lnTo>
                    <a:lnTo>
                      <a:pt x="1807" y="975"/>
                    </a:lnTo>
                    <a:lnTo>
                      <a:pt x="1838" y="1000"/>
                    </a:lnTo>
                    <a:lnTo>
                      <a:pt x="1871" y="1021"/>
                    </a:lnTo>
                    <a:lnTo>
                      <a:pt x="1906" y="1041"/>
                    </a:lnTo>
                    <a:lnTo>
                      <a:pt x="1942" y="1058"/>
                    </a:lnTo>
                    <a:lnTo>
                      <a:pt x="1942" y="1700"/>
                    </a:lnTo>
                    <a:lnTo>
                      <a:pt x="1942" y="1700"/>
                    </a:lnTo>
                    <a:lnTo>
                      <a:pt x="1942" y="1713"/>
                    </a:lnTo>
                    <a:lnTo>
                      <a:pt x="1940" y="1728"/>
                    </a:lnTo>
                    <a:lnTo>
                      <a:pt x="1937" y="1745"/>
                    </a:lnTo>
                    <a:lnTo>
                      <a:pt x="1933" y="1764"/>
                    </a:lnTo>
                    <a:lnTo>
                      <a:pt x="1927" y="1782"/>
                    </a:lnTo>
                    <a:lnTo>
                      <a:pt x="1919" y="1802"/>
                    </a:lnTo>
                    <a:lnTo>
                      <a:pt x="1906" y="1824"/>
                    </a:lnTo>
                    <a:lnTo>
                      <a:pt x="1890" y="1844"/>
                    </a:lnTo>
                    <a:lnTo>
                      <a:pt x="1881" y="1853"/>
                    </a:lnTo>
                    <a:lnTo>
                      <a:pt x="1871" y="1863"/>
                    </a:lnTo>
                    <a:lnTo>
                      <a:pt x="1860" y="1873"/>
                    </a:lnTo>
                    <a:lnTo>
                      <a:pt x="1847" y="1881"/>
                    </a:lnTo>
                    <a:lnTo>
                      <a:pt x="1834" y="1890"/>
                    </a:lnTo>
                    <a:lnTo>
                      <a:pt x="1818" y="1897"/>
                    </a:lnTo>
                    <a:lnTo>
                      <a:pt x="1802" y="1906"/>
                    </a:lnTo>
                    <a:lnTo>
                      <a:pt x="1784" y="1913"/>
                    </a:lnTo>
                    <a:lnTo>
                      <a:pt x="1765" y="1919"/>
                    </a:lnTo>
                    <a:lnTo>
                      <a:pt x="1745" y="1924"/>
                    </a:lnTo>
                    <a:lnTo>
                      <a:pt x="1722" y="1930"/>
                    </a:lnTo>
                    <a:lnTo>
                      <a:pt x="1698" y="1933"/>
                    </a:lnTo>
                    <a:lnTo>
                      <a:pt x="1673" y="1937"/>
                    </a:lnTo>
                    <a:lnTo>
                      <a:pt x="1646" y="1940"/>
                    </a:lnTo>
                    <a:lnTo>
                      <a:pt x="1616" y="1942"/>
                    </a:lnTo>
                    <a:lnTo>
                      <a:pt x="1586" y="1942"/>
                    </a:lnTo>
                    <a:lnTo>
                      <a:pt x="1126" y="1942"/>
                    </a:lnTo>
                    <a:lnTo>
                      <a:pt x="1126" y="1942"/>
                    </a:lnTo>
                    <a:lnTo>
                      <a:pt x="1073" y="1943"/>
                    </a:lnTo>
                    <a:lnTo>
                      <a:pt x="1021" y="1947"/>
                    </a:lnTo>
                    <a:lnTo>
                      <a:pt x="972" y="1953"/>
                    </a:lnTo>
                    <a:lnTo>
                      <a:pt x="925" y="1963"/>
                    </a:lnTo>
                    <a:lnTo>
                      <a:pt x="880" y="1973"/>
                    </a:lnTo>
                    <a:lnTo>
                      <a:pt x="837" y="1988"/>
                    </a:lnTo>
                    <a:lnTo>
                      <a:pt x="796" y="2003"/>
                    </a:lnTo>
                    <a:lnTo>
                      <a:pt x="757" y="2021"/>
                    </a:lnTo>
                    <a:lnTo>
                      <a:pt x="720" y="2041"/>
                    </a:lnTo>
                    <a:lnTo>
                      <a:pt x="684" y="2061"/>
                    </a:lnTo>
                    <a:lnTo>
                      <a:pt x="651" y="2084"/>
                    </a:lnTo>
                    <a:lnTo>
                      <a:pt x="619" y="2108"/>
                    </a:lnTo>
                    <a:lnTo>
                      <a:pt x="590" y="2134"/>
                    </a:lnTo>
                    <a:lnTo>
                      <a:pt x="562" y="2161"/>
                    </a:lnTo>
                    <a:lnTo>
                      <a:pt x="536" y="2189"/>
                    </a:lnTo>
                    <a:lnTo>
                      <a:pt x="511" y="2219"/>
                    </a:lnTo>
                    <a:lnTo>
                      <a:pt x="488" y="2249"/>
                    </a:lnTo>
                    <a:lnTo>
                      <a:pt x="468" y="2279"/>
                    </a:lnTo>
                    <a:lnTo>
                      <a:pt x="448" y="2311"/>
                    </a:lnTo>
                    <a:lnTo>
                      <a:pt x="431" y="2344"/>
                    </a:lnTo>
                    <a:lnTo>
                      <a:pt x="415" y="2377"/>
                    </a:lnTo>
                    <a:lnTo>
                      <a:pt x="399" y="2410"/>
                    </a:lnTo>
                    <a:lnTo>
                      <a:pt x="386" y="2443"/>
                    </a:lnTo>
                    <a:lnTo>
                      <a:pt x="375" y="2476"/>
                    </a:lnTo>
                    <a:lnTo>
                      <a:pt x="365" y="2509"/>
                    </a:lnTo>
                    <a:lnTo>
                      <a:pt x="356" y="2543"/>
                    </a:lnTo>
                    <a:lnTo>
                      <a:pt x="349" y="2576"/>
                    </a:lnTo>
                    <a:lnTo>
                      <a:pt x="343" y="2610"/>
                    </a:lnTo>
                    <a:lnTo>
                      <a:pt x="339" y="2641"/>
                    </a:lnTo>
                    <a:lnTo>
                      <a:pt x="336" y="2673"/>
                    </a:lnTo>
                    <a:lnTo>
                      <a:pt x="333" y="2704"/>
                    </a:lnTo>
                    <a:lnTo>
                      <a:pt x="333" y="2734"/>
                    </a:lnTo>
                    <a:lnTo>
                      <a:pt x="333" y="3262"/>
                    </a:lnTo>
                    <a:lnTo>
                      <a:pt x="333" y="3262"/>
                    </a:lnTo>
                    <a:lnTo>
                      <a:pt x="297" y="3279"/>
                    </a:lnTo>
                    <a:lnTo>
                      <a:pt x="263" y="3299"/>
                    </a:lnTo>
                    <a:lnTo>
                      <a:pt x="230" y="3320"/>
                    </a:lnTo>
                    <a:lnTo>
                      <a:pt x="198" y="3345"/>
                    </a:lnTo>
                    <a:lnTo>
                      <a:pt x="169" y="3372"/>
                    </a:lnTo>
                    <a:lnTo>
                      <a:pt x="142" y="3399"/>
                    </a:lnTo>
                    <a:lnTo>
                      <a:pt x="116" y="3430"/>
                    </a:lnTo>
                    <a:lnTo>
                      <a:pt x="93" y="3463"/>
                    </a:lnTo>
                    <a:lnTo>
                      <a:pt x="72" y="3496"/>
                    </a:lnTo>
                    <a:lnTo>
                      <a:pt x="53" y="3532"/>
                    </a:lnTo>
                    <a:lnTo>
                      <a:pt x="37" y="3567"/>
                    </a:lnTo>
                    <a:lnTo>
                      <a:pt x="24" y="3606"/>
                    </a:lnTo>
                    <a:lnTo>
                      <a:pt x="14" y="3645"/>
                    </a:lnTo>
                    <a:lnTo>
                      <a:pt x="6" y="3685"/>
                    </a:lnTo>
                    <a:lnTo>
                      <a:pt x="1" y="3727"/>
                    </a:lnTo>
                    <a:lnTo>
                      <a:pt x="0" y="3769"/>
                    </a:lnTo>
                    <a:lnTo>
                      <a:pt x="0" y="3769"/>
                    </a:lnTo>
                    <a:lnTo>
                      <a:pt x="0" y="3797"/>
                    </a:lnTo>
                    <a:lnTo>
                      <a:pt x="3" y="3825"/>
                    </a:lnTo>
                    <a:lnTo>
                      <a:pt x="6" y="3853"/>
                    </a:lnTo>
                    <a:lnTo>
                      <a:pt x="11" y="3879"/>
                    </a:lnTo>
                    <a:lnTo>
                      <a:pt x="17" y="3906"/>
                    </a:lnTo>
                    <a:lnTo>
                      <a:pt x="24" y="3932"/>
                    </a:lnTo>
                    <a:lnTo>
                      <a:pt x="33" y="3958"/>
                    </a:lnTo>
                    <a:lnTo>
                      <a:pt x="43" y="3984"/>
                    </a:lnTo>
                    <a:lnTo>
                      <a:pt x="55" y="4008"/>
                    </a:lnTo>
                    <a:lnTo>
                      <a:pt x="66" y="4031"/>
                    </a:lnTo>
                    <a:lnTo>
                      <a:pt x="79" y="4054"/>
                    </a:lnTo>
                    <a:lnTo>
                      <a:pt x="93" y="4077"/>
                    </a:lnTo>
                    <a:lnTo>
                      <a:pt x="109" y="4099"/>
                    </a:lnTo>
                    <a:lnTo>
                      <a:pt x="126" y="4119"/>
                    </a:lnTo>
                    <a:lnTo>
                      <a:pt x="144" y="4139"/>
                    </a:lnTo>
                    <a:lnTo>
                      <a:pt x="161" y="4159"/>
                    </a:lnTo>
                    <a:lnTo>
                      <a:pt x="181" y="4176"/>
                    </a:lnTo>
                    <a:lnTo>
                      <a:pt x="201" y="4194"/>
                    </a:lnTo>
                    <a:lnTo>
                      <a:pt x="221" y="4211"/>
                    </a:lnTo>
                    <a:lnTo>
                      <a:pt x="243" y="4227"/>
                    </a:lnTo>
                    <a:lnTo>
                      <a:pt x="266" y="4241"/>
                    </a:lnTo>
                    <a:lnTo>
                      <a:pt x="289" y="4254"/>
                    </a:lnTo>
                    <a:lnTo>
                      <a:pt x="312" y="4265"/>
                    </a:lnTo>
                    <a:lnTo>
                      <a:pt x="336" y="4277"/>
                    </a:lnTo>
                    <a:lnTo>
                      <a:pt x="362" y="4287"/>
                    </a:lnTo>
                    <a:lnTo>
                      <a:pt x="388" y="4296"/>
                    </a:lnTo>
                    <a:lnTo>
                      <a:pt x="414" y="4303"/>
                    </a:lnTo>
                    <a:lnTo>
                      <a:pt x="441" y="4309"/>
                    </a:lnTo>
                    <a:lnTo>
                      <a:pt x="467" y="4314"/>
                    </a:lnTo>
                    <a:lnTo>
                      <a:pt x="495" y="4317"/>
                    </a:lnTo>
                    <a:lnTo>
                      <a:pt x="523" y="4320"/>
                    </a:lnTo>
                    <a:lnTo>
                      <a:pt x="551" y="4320"/>
                    </a:lnTo>
                    <a:lnTo>
                      <a:pt x="551" y="4320"/>
                    </a:lnTo>
                    <a:lnTo>
                      <a:pt x="580" y="4320"/>
                    </a:lnTo>
                    <a:lnTo>
                      <a:pt x="608" y="4317"/>
                    </a:lnTo>
                    <a:lnTo>
                      <a:pt x="635" y="4314"/>
                    </a:lnTo>
                    <a:lnTo>
                      <a:pt x="662" y="4309"/>
                    </a:lnTo>
                    <a:lnTo>
                      <a:pt x="689" y="4303"/>
                    </a:lnTo>
                    <a:lnTo>
                      <a:pt x="715" y="4296"/>
                    </a:lnTo>
                    <a:lnTo>
                      <a:pt x="741" y="4287"/>
                    </a:lnTo>
                    <a:lnTo>
                      <a:pt x="765" y="4277"/>
                    </a:lnTo>
                    <a:lnTo>
                      <a:pt x="790" y="4265"/>
                    </a:lnTo>
                    <a:lnTo>
                      <a:pt x="814" y="4254"/>
                    </a:lnTo>
                    <a:lnTo>
                      <a:pt x="837" y="4241"/>
                    </a:lnTo>
                    <a:lnTo>
                      <a:pt x="860" y="4227"/>
                    </a:lnTo>
                    <a:lnTo>
                      <a:pt x="882" y="4211"/>
                    </a:lnTo>
                    <a:lnTo>
                      <a:pt x="902" y="4194"/>
                    </a:lnTo>
                    <a:lnTo>
                      <a:pt x="922" y="4176"/>
                    </a:lnTo>
                    <a:lnTo>
                      <a:pt x="941" y="4159"/>
                    </a:lnTo>
                    <a:lnTo>
                      <a:pt x="959" y="4139"/>
                    </a:lnTo>
                    <a:lnTo>
                      <a:pt x="977" y="4119"/>
                    </a:lnTo>
                    <a:lnTo>
                      <a:pt x="994" y="4099"/>
                    </a:lnTo>
                    <a:lnTo>
                      <a:pt x="1008" y="4077"/>
                    </a:lnTo>
                    <a:lnTo>
                      <a:pt x="1023" y="4054"/>
                    </a:lnTo>
                    <a:lnTo>
                      <a:pt x="1037" y="4031"/>
                    </a:lnTo>
                    <a:lnTo>
                      <a:pt x="1048" y="4008"/>
                    </a:lnTo>
                    <a:lnTo>
                      <a:pt x="1060" y="3984"/>
                    </a:lnTo>
                    <a:lnTo>
                      <a:pt x="1070" y="3958"/>
                    </a:lnTo>
                    <a:lnTo>
                      <a:pt x="1079" y="3932"/>
                    </a:lnTo>
                    <a:lnTo>
                      <a:pt x="1086" y="3906"/>
                    </a:lnTo>
                    <a:lnTo>
                      <a:pt x="1091" y="3879"/>
                    </a:lnTo>
                    <a:lnTo>
                      <a:pt x="1097" y="3853"/>
                    </a:lnTo>
                    <a:lnTo>
                      <a:pt x="1100" y="3825"/>
                    </a:lnTo>
                    <a:lnTo>
                      <a:pt x="1102" y="3797"/>
                    </a:lnTo>
                    <a:lnTo>
                      <a:pt x="1103" y="3769"/>
                    </a:lnTo>
                    <a:lnTo>
                      <a:pt x="1103" y="3769"/>
                    </a:lnTo>
                    <a:lnTo>
                      <a:pt x="1102" y="3727"/>
                    </a:lnTo>
                    <a:lnTo>
                      <a:pt x="1097" y="3685"/>
                    </a:lnTo>
                    <a:lnTo>
                      <a:pt x="1089" y="3645"/>
                    </a:lnTo>
                    <a:lnTo>
                      <a:pt x="1079" y="3606"/>
                    </a:lnTo>
                    <a:lnTo>
                      <a:pt x="1066" y="3567"/>
                    </a:lnTo>
                    <a:lnTo>
                      <a:pt x="1050" y="3532"/>
                    </a:lnTo>
                    <a:lnTo>
                      <a:pt x="1031" y="3496"/>
                    </a:lnTo>
                    <a:lnTo>
                      <a:pt x="1010" y="3463"/>
                    </a:lnTo>
                    <a:lnTo>
                      <a:pt x="987" y="3430"/>
                    </a:lnTo>
                    <a:lnTo>
                      <a:pt x="961" y="3399"/>
                    </a:lnTo>
                    <a:lnTo>
                      <a:pt x="934" y="3372"/>
                    </a:lnTo>
                    <a:lnTo>
                      <a:pt x="905" y="3345"/>
                    </a:lnTo>
                    <a:lnTo>
                      <a:pt x="873" y="3320"/>
                    </a:lnTo>
                    <a:lnTo>
                      <a:pt x="840" y="3299"/>
                    </a:lnTo>
                    <a:lnTo>
                      <a:pt x="806" y="3279"/>
                    </a:lnTo>
                    <a:lnTo>
                      <a:pt x="770" y="3262"/>
                    </a:lnTo>
                    <a:lnTo>
                      <a:pt x="770" y="2734"/>
                    </a:lnTo>
                    <a:lnTo>
                      <a:pt x="770" y="2734"/>
                    </a:lnTo>
                    <a:lnTo>
                      <a:pt x="771" y="2701"/>
                    </a:lnTo>
                    <a:lnTo>
                      <a:pt x="774" y="2680"/>
                    </a:lnTo>
                    <a:lnTo>
                      <a:pt x="777" y="2654"/>
                    </a:lnTo>
                    <a:lnTo>
                      <a:pt x="784" y="2625"/>
                    </a:lnTo>
                    <a:lnTo>
                      <a:pt x="793" y="2595"/>
                    </a:lnTo>
                    <a:lnTo>
                      <a:pt x="806" y="2565"/>
                    </a:lnTo>
                    <a:lnTo>
                      <a:pt x="813" y="2549"/>
                    </a:lnTo>
                    <a:lnTo>
                      <a:pt x="820" y="2533"/>
                    </a:lnTo>
                    <a:lnTo>
                      <a:pt x="830" y="2519"/>
                    </a:lnTo>
                    <a:lnTo>
                      <a:pt x="840" y="2505"/>
                    </a:lnTo>
                    <a:lnTo>
                      <a:pt x="852" y="2489"/>
                    </a:lnTo>
                    <a:lnTo>
                      <a:pt x="865" y="2476"/>
                    </a:lnTo>
                    <a:lnTo>
                      <a:pt x="878" y="2462"/>
                    </a:lnTo>
                    <a:lnTo>
                      <a:pt x="893" y="2449"/>
                    </a:lnTo>
                    <a:lnTo>
                      <a:pt x="909" y="2437"/>
                    </a:lnTo>
                    <a:lnTo>
                      <a:pt x="928" y="2426"/>
                    </a:lnTo>
                    <a:lnTo>
                      <a:pt x="946" y="2416"/>
                    </a:lnTo>
                    <a:lnTo>
                      <a:pt x="967" y="2406"/>
                    </a:lnTo>
                    <a:lnTo>
                      <a:pt x="990" y="2398"/>
                    </a:lnTo>
                    <a:lnTo>
                      <a:pt x="1014" y="2391"/>
                    </a:lnTo>
                    <a:lnTo>
                      <a:pt x="1038" y="2385"/>
                    </a:lnTo>
                    <a:lnTo>
                      <a:pt x="1066" y="2381"/>
                    </a:lnTo>
                    <a:lnTo>
                      <a:pt x="1094" y="2380"/>
                    </a:lnTo>
                    <a:lnTo>
                      <a:pt x="1126" y="2378"/>
                    </a:lnTo>
                    <a:lnTo>
                      <a:pt x="1586" y="2378"/>
                    </a:lnTo>
                    <a:lnTo>
                      <a:pt x="1586" y="2378"/>
                    </a:lnTo>
                    <a:lnTo>
                      <a:pt x="1637" y="2377"/>
                    </a:lnTo>
                    <a:lnTo>
                      <a:pt x="1686" y="2374"/>
                    </a:lnTo>
                    <a:lnTo>
                      <a:pt x="1733" y="2370"/>
                    </a:lnTo>
                    <a:lnTo>
                      <a:pt x="1779" y="2364"/>
                    </a:lnTo>
                    <a:lnTo>
                      <a:pt x="1823" y="2355"/>
                    </a:lnTo>
                    <a:lnTo>
                      <a:pt x="1864" y="2345"/>
                    </a:lnTo>
                    <a:lnTo>
                      <a:pt x="1904" y="2334"/>
                    </a:lnTo>
                    <a:lnTo>
                      <a:pt x="1942" y="2321"/>
                    </a:lnTo>
                    <a:lnTo>
                      <a:pt x="1942" y="3263"/>
                    </a:lnTo>
                    <a:lnTo>
                      <a:pt x="1942" y="3263"/>
                    </a:lnTo>
                    <a:lnTo>
                      <a:pt x="1906" y="3279"/>
                    </a:lnTo>
                    <a:lnTo>
                      <a:pt x="1871" y="3299"/>
                    </a:lnTo>
                    <a:lnTo>
                      <a:pt x="1838" y="3320"/>
                    </a:lnTo>
                    <a:lnTo>
                      <a:pt x="1807" y="3345"/>
                    </a:lnTo>
                    <a:lnTo>
                      <a:pt x="1778" y="3372"/>
                    </a:lnTo>
                    <a:lnTo>
                      <a:pt x="1751" y="3399"/>
                    </a:lnTo>
                    <a:lnTo>
                      <a:pt x="1725" y="3430"/>
                    </a:lnTo>
                    <a:lnTo>
                      <a:pt x="1702" y="3463"/>
                    </a:lnTo>
                    <a:lnTo>
                      <a:pt x="1680" y="3496"/>
                    </a:lnTo>
                    <a:lnTo>
                      <a:pt x="1662" y="3532"/>
                    </a:lnTo>
                    <a:lnTo>
                      <a:pt x="1646" y="3567"/>
                    </a:lnTo>
                    <a:lnTo>
                      <a:pt x="1633" y="3606"/>
                    </a:lnTo>
                    <a:lnTo>
                      <a:pt x="1623" y="3645"/>
                    </a:lnTo>
                    <a:lnTo>
                      <a:pt x="1614" y="3685"/>
                    </a:lnTo>
                    <a:lnTo>
                      <a:pt x="1610" y="3727"/>
                    </a:lnTo>
                    <a:lnTo>
                      <a:pt x="1609" y="3769"/>
                    </a:lnTo>
                    <a:lnTo>
                      <a:pt x="1609" y="3769"/>
                    </a:lnTo>
                    <a:lnTo>
                      <a:pt x="1609" y="3797"/>
                    </a:lnTo>
                    <a:lnTo>
                      <a:pt x="1611" y="3825"/>
                    </a:lnTo>
                    <a:lnTo>
                      <a:pt x="1614" y="3853"/>
                    </a:lnTo>
                    <a:lnTo>
                      <a:pt x="1620" y="3879"/>
                    </a:lnTo>
                    <a:lnTo>
                      <a:pt x="1626" y="3906"/>
                    </a:lnTo>
                    <a:lnTo>
                      <a:pt x="1633" y="3932"/>
                    </a:lnTo>
                    <a:lnTo>
                      <a:pt x="1642" y="3958"/>
                    </a:lnTo>
                    <a:lnTo>
                      <a:pt x="1652" y="3984"/>
                    </a:lnTo>
                    <a:lnTo>
                      <a:pt x="1663" y="4008"/>
                    </a:lnTo>
                    <a:lnTo>
                      <a:pt x="1675" y="4031"/>
                    </a:lnTo>
                    <a:lnTo>
                      <a:pt x="1689" y="4054"/>
                    </a:lnTo>
                    <a:lnTo>
                      <a:pt x="1703" y="4077"/>
                    </a:lnTo>
                    <a:lnTo>
                      <a:pt x="1718" y="4099"/>
                    </a:lnTo>
                    <a:lnTo>
                      <a:pt x="1735" y="4119"/>
                    </a:lnTo>
                    <a:lnTo>
                      <a:pt x="1752" y="4139"/>
                    </a:lnTo>
                    <a:lnTo>
                      <a:pt x="1769" y="4159"/>
                    </a:lnTo>
                    <a:lnTo>
                      <a:pt x="1789" y="4176"/>
                    </a:lnTo>
                    <a:lnTo>
                      <a:pt x="1810" y="4194"/>
                    </a:lnTo>
                    <a:lnTo>
                      <a:pt x="1830" y="4211"/>
                    </a:lnTo>
                    <a:lnTo>
                      <a:pt x="1851" y="4227"/>
                    </a:lnTo>
                    <a:lnTo>
                      <a:pt x="1874" y="4241"/>
                    </a:lnTo>
                    <a:lnTo>
                      <a:pt x="1897" y="4254"/>
                    </a:lnTo>
                    <a:lnTo>
                      <a:pt x="1922" y="4265"/>
                    </a:lnTo>
                    <a:lnTo>
                      <a:pt x="1946" y="4277"/>
                    </a:lnTo>
                    <a:lnTo>
                      <a:pt x="1970" y="4287"/>
                    </a:lnTo>
                    <a:lnTo>
                      <a:pt x="1996" y="4296"/>
                    </a:lnTo>
                    <a:lnTo>
                      <a:pt x="2022" y="4303"/>
                    </a:lnTo>
                    <a:lnTo>
                      <a:pt x="2049" y="4309"/>
                    </a:lnTo>
                    <a:lnTo>
                      <a:pt x="2077" y="4314"/>
                    </a:lnTo>
                    <a:lnTo>
                      <a:pt x="2104" y="4317"/>
                    </a:lnTo>
                    <a:lnTo>
                      <a:pt x="2131" y="4320"/>
                    </a:lnTo>
                    <a:lnTo>
                      <a:pt x="2160" y="4320"/>
                    </a:lnTo>
                    <a:lnTo>
                      <a:pt x="2160" y="4320"/>
                    </a:lnTo>
                    <a:lnTo>
                      <a:pt x="2189" y="4320"/>
                    </a:lnTo>
                    <a:lnTo>
                      <a:pt x="2216" y="4317"/>
                    </a:lnTo>
                    <a:lnTo>
                      <a:pt x="2243" y="4314"/>
                    </a:lnTo>
                    <a:lnTo>
                      <a:pt x="2271" y="4309"/>
                    </a:lnTo>
                    <a:lnTo>
                      <a:pt x="2298" y="4303"/>
                    </a:lnTo>
                    <a:lnTo>
                      <a:pt x="2324" y="4296"/>
                    </a:lnTo>
                    <a:lnTo>
                      <a:pt x="2350" y="4287"/>
                    </a:lnTo>
                    <a:lnTo>
                      <a:pt x="2374" y="4277"/>
                    </a:lnTo>
                    <a:lnTo>
                      <a:pt x="2398" y="4265"/>
                    </a:lnTo>
                    <a:lnTo>
                      <a:pt x="2423" y="4254"/>
                    </a:lnTo>
                    <a:lnTo>
                      <a:pt x="2446" y="4241"/>
                    </a:lnTo>
                    <a:lnTo>
                      <a:pt x="2469" y="4227"/>
                    </a:lnTo>
                    <a:lnTo>
                      <a:pt x="2490" y="4211"/>
                    </a:lnTo>
                    <a:lnTo>
                      <a:pt x="2510" y="4194"/>
                    </a:lnTo>
                    <a:lnTo>
                      <a:pt x="2531" y="4176"/>
                    </a:lnTo>
                    <a:lnTo>
                      <a:pt x="2551" y="4159"/>
                    </a:lnTo>
                    <a:lnTo>
                      <a:pt x="2568" y="4139"/>
                    </a:lnTo>
                    <a:lnTo>
                      <a:pt x="2585" y="4119"/>
                    </a:lnTo>
                    <a:lnTo>
                      <a:pt x="2602" y="4099"/>
                    </a:lnTo>
                    <a:lnTo>
                      <a:pt x="2617" y="4077"/>
                    </a:lnTo>
                    <a:lnTo>
                      <a:pt x="2631" y="4054"/>
                    </a:lnTo>
                    <a:lnTo>
                      <a:pt x="2645" y="4031"/>
                    </a:lnTo>
                    <a:lnTo>
                      <a:pt x="2657" y="4008"/>
                    </a:lnTo>
                    <a:lnTo>
                      <a:pt x="2668" y="3984"/>
                    </a:lnTo>
                    <a:lnTo>
                      <a:pt x="2678" y="3958"/>
                    </a:lnTo>
                    <a:lnTo>
                      <a:pt x="2687" y="3932"/>
                    </a:lnTo>
                    <a:lnTo>
                      <a:pt x="2694" y="3906"/>
                    </a:lnTo>
                    <a:lnTo>
                      <a:pt x="2700" y="3879"/>
                    </a:lnTo>
                    <a:lnTo>
                      <a:pt x="2706" y="3853"/>
                    </a:lnTo>
                    <a:lnTo>
                      <a:pt x="2709" y="3825"/>
                    </a:lnTo>
                    <a:lnTo>
                      <a:pt x="2711" y="3797"/>
                    </a:lnTo>
                    <a:lnTo>
                      <a:pt x="2711" y="3769"/>
                    </a:lnTo>
                    <a:lnTo>
                      <a:pt x="2711" y="3769"/>
                    </a:lnTo>
                    <a:lnTo>
                      <a:pt x="2710" y="3727"/>
                    </a:lnTo>
                    <a:lnTo>
                      <a:pt x="2706" y="3685"/>
                    </a:lnTo>
                    <a:lnTo>
                      <a:pt x="2697" y="3645"/>
                    </a:lnTo>
                    <a:lnTo>
                      <a:pt x="2687" y="3606"/>
                    </a:lnTo>
                    <a:lnTo>
                      <a:pt x="2674" y="3567"/>
                    </a:lnTo>
                    <a:lnTo>
                      <a:pt x="2658" y="3532"/>
                    </a:lnTo>
                    <a:lnTo>
                      <a:pt x="2640" y="3496"/>
                    </a:lnTo>
                    <a:lnTo>
                      <a:pt x="2618" y="3463"/>
                    </a:lnTo>
                    <a:lnTo>
                      <a:pt x="2595" y="3430"/>
                    </a:lnTo>
                    <a:lnTo>
                      <a:pt x="2569" y="3399"/>
                    </a:lnTo>
                    <a:lnTo>
                      <a:pt x="2542" y="3372"/>
                    </a:lnTo>
                    <a:lnTo>
                      <a:pt x="2513" y="3345"/>
                    </a:lnTo>
                    <a:lnTo>
                      <a:pt x="2482" y="3320"/>
                    </a:lnTo>
                    <a:lnTo>
                      <a:pt x="2449" y="3299"/>
                    </a:lnTo>
                    <a:lnTo>
                      <a:pt x="2414" y="3279"/>
                    </a:lnTo>
                    <a:lnTo>
                      <a:pt x="2378" y="3262"/>
                    </a:lnTo>
                    <a:lnTo>
                      <a:pt x="2378" y="2321"/>
                    </a:lnTo>
                    <a:lnTo>
                      <a:pt x="2378" y="2321"/>
                    </a:lnTo>
                    <a:lnTo>
                      <a:pt x="2416" y="2334"/>
                    </a:lnTo>
                    <a:lnTo>
                      <a:pt x="2456" y="2345"/>
                    </a:lnTo>
                    <a:lnTo>
                      <a:pt x="2498" y="2355"/>
                    </a:lnTo>
                    <a:lnTo>
                      <a:pt x="2541" y="2364"/>
                    </a:lnTo>
                    <a:lnTo>
                      <a:pt x="2587" y="2370"/>
                    </a:lnTo>
                    <a:lnTo>
                      <a:pt x="2634" y="2374"/>
                    </a:lnTo>
                    <a:lnTo>
                      <a:pt x="2683" y="2377"/>
                    </a:lnTo>
                    <a:lnTo>
                      <a:pt x="2734" y="2378"/>
                    </a:lnTo>
                    <a:lnTo>
                      <a:pt x="3194" y="2378"/>
                    </a:lnTo>
                    <a:lnTo>
                      <a:pt x="3194" y="2378"/>
                    </a:lnTo>
                    <a:lnTo>
                      <a:pt x="3224" y="2380"/>
                    </a:lnTo>
                    <a:lnTo>
                      <a:pt x="3251" y="2381"/>
                    </a:lnTo>
                    <a:lnTo>
                      <a:pt x="3277" y="2385"/>
                    </a:lnTo>
                    <a:lnTo>
                      <a:pt x="3303" y="2390"/>
                    </a:lnTo>
                    <a:lnTo>
                      <a:pt x="3326" y="2397"/>
                    </a:lnTo>
                    <a:lnTo>
                      <a:pt x="3348" y="2404"/>
                    </a:lnTo>
                    <a:lnTo>
                      <a:pt x="3368" y="2413"/>
                    </a:lnTo>
                    <a:lnTo>
                      <a:pt x="3386" y="2423"/>
                    </a:lnTo>
                    <a:lnTo>
                      <a:pt x="3404" y="2433"/>
                    </a:lnTo>
                    <a:lnTo>
                      <a:pt x="3420" y="2444"/>
                    </a:lnTo>
                    <a:lnTo>
                      <a:pt x="3435" y="2456"/>
                    </a:lnTo>
                    <a:lnTo>
                      <a:pt x="3450" y="2469"/>
                    </a:lnTo>
                    <a:lnTo>
                      <a:pt x="3461" y="2483"/>
                    </a:lnTo>
                    <a:lnTo>
                      <a:pt x="3473" y="2496"/>
                    </a:lnTo>
                    <a:lnTo>
                      <a:pt x="3484" y="2510"/>
                    </a:lnTo>
                    <a:lnTo>
                      <a:pt x="3493" y="2526"/>
                    </a:lnTo>
                    <a:lnTo>
                      <a:pt x="3501" y="2541"/>
                    </a:lnTo>
                    <a:lnTo>
                      <a:pt x="3510" y="2555"/>
                    </a:lnTo>
                    <a:lnTo>
                      <a:pt x="3523" y="2585"/>
                    </a:lnTo>
                    <a:lnTo>
                      <a:pt x="3533" y="2615"/>
                    </a:lnTo>
                    <a:lnTo>
                      <a:pt x="3540" y="2644"/>
                    </a:lnTo>
                    <a:lnTo>
                      <a:pt x="3544" y="2671"/>
                    </a:lnTo>
                    <a:lnTo>
                      <a:pt x="3547" y="2696"/>
                    </a:lnTo>
                    <a:lnTo>
                      <a:pt x="3550" y="2717"/>
                    </a:lnTo>
                    <a:lnTo>
                      <a:pt x="3550" y="2734"/>
                    </a:lnTo>
                    <a:lnTo>
                      <a:pt x="3550" y="3262"/>
                    </a:lnTo>
                    <a:lnTo>
                      <a:pt x="3550" y="3262"/>
                    </a:lnTo>
                    <a:lnTo>
                      <a:pt x="3514" y="3279"/>
                    </a:lnTo>
                    <a:lnTo>
                      <a:pt x="3480" y="3299"/>
                    </a:lnTo>
                    <a:lnTo>
                      <a:pt x="3447" y="3320"/>
                    </a:lnTo>
                    <a:lnTo>
                      <a:pt x="3415" y="3345"/>
                    </a:lnTo>
                    <a:lnTo>
                      <a:pt x="3386" y="3372"/>
                    </a:lnTo>
                    <a:lnTo>
                      <a:pt x="3359" y="3399"/>
                    </a:lnTo>
                    <a:lnTo>
                      <a:pt x="3333" y="3430"/>
                    </a:lnTo>
                    <a:lnTo>
                      <a:pt x="3310" y="3463"/>
                    </a:lnTo>
                    <a:lnTo>
                      <a:pt x="3289" y="3496"/>
                    </a:lnTo>
                    <a:lnTo>
                      <a:pt x="3270" y="3532"/>
                    </a:lnTo>
                    <a:lnTo>
                      <a:pt x="3254" y="3567"/>
                    </a:lnTo>
                    <a:lnTo>
                      <a:pt x="3241" y="3606"/>
                    </a:lnTo>
                    <a:lnTo>
                      <a:pt x="3231" y="3645"/>
                    </a:lnTo>
                    <a:lnTo>
                      <a:pt x="3223" y="3685"/>
                    </a:lnTo>
                    <a:lnTo>
                      <a:pt x="3218" y="3727"/>
                    </a:lnTo>
                    <a:lnTo>
                      <a:pt x="3217" y="3769"/>
                    </a:lnTo>
                    <a:lnTo>
                      <a:pt x="3217" y="3769"/>
                    </a:lnTo>
                    <a:lnTo>
                      <a:pt x="3218" y="3797"/>
                    </a:lnTo>
                    <a:lnTo>
                      <a:pt x="3220" y="3825"/>
                    </a:lnTo>
                    <a:lnTo>
                      <a:pt x="3223" y="3853"/>
                    </a:lnTo>
                    <a:lnTo>
                      <a:pt x="3229" y="3879"/>
                    </a:lnTo>
                    <a:lnTo>
                      <a:pt x="3234" y="3906"/>
                    </a:lnTo>
                    <a:lnTo>
                      <a:pt x="3241" y="3932"/>
                    </a:lnTo>
                    <a:lnTo>
                      <a:pt x="3250" y="3958"/>
                    </a:lnTo>
                    <a:lnTo>
                      <a:pt x="3260" y="3984"/>
                    </a:lnTo>
                    <a:lnTo>
                      <a:pt x="3272" y="4008"/>
                    </a:lnTo>
                    <a:lnTo>
                      <a:pt x="3283" y="4031"/>
                    </a:lnTo>
                    <a:lnTo>
                      <a:pt x="3297" y="4054"/>
                    </a:lnTo>
                    <a:lnTo>
                      <a:pt x="3312" y="4077"/>
                    </a:lnTo>
                    <a:lnTo>
                      <a:pt x="3326" y="4099"/>
                    </a:lnTo>
                    <a:lnTo>
                      <a:pt x="3343" y="4119"/>
                    </a:lnTo>
                    <a:lnTo>
                      <a:pt x="3361" y="4139"/>
                    </a:lnTo>
                    <a:lnTo>
                      <a:pt x="3379" y="4159"/>
                    </a:lnTo>
                    <a:lnTo>
                      <a:pt x="3398" y="4176"/>
                    </a:lnTo>
                    <a:lnTo>
                      <a:pt x="3418" y="4194"/>
                    </a:lnTo>
                    <a:lnTo>
                      <a:pt x="3438" y="4211"/>
                    </a:lnTo>
                    <a:lnTo>
                      <a:pt x="3460" y="4227"/>
                    </a:lnTo>
                    <a:lnTo>
                      <a:pt x="3483" y="4241"/>
                    </a:lnTo>
                    <a:lnTo>
                      <a:pt x="3506" y="4254"/>
                    </a:lnTo>
                    <a:lnTo>
                      <a:pt x="3530" y="4265"/>
                    </a:lnTo>
                    <a:lnTo>
                      <a:pt x="3555" y="4277"/>
                    </a:lnTo>
                    <a:lnTo>
                      <a:pt x="3579" y="4287"/>
                    </a:lnTo>
                    <a:lnTo>
                      <a:pt x="3605" y="4296"/>
                    </a:lnTo>
                    <a:lnTo>
                      <a:pt x="3631" y="4303"/>
                    </a:lnTo>
                    <a:lnTo>
                      <a:pt x="3658" y="4309"/>
                    </a:lnTo>
                    <a:lnTo>
                      <a:pt x="3685" y="4314"/>
                    </a:lnTo>
                    <a:lnTo>
                      <a:pt x="3713" y="4317"/>
                    </a:lnTo>
                    <a:lnTo>
                      <a:pt x="3740" y="4320"/>
                    </a:lnTo>
                    <a:lnTo>
                      <a:pt x="3769" y="4320"/>
                    </a:lnTo>
                    <a:lnTo>
                      <a:pt x="3769" y="4320"/>
                    </a:lnTo>
                    <a:lnTo>
                      <a:pt x="3797" y="4320"/>
                    </a:lnTo>
                    <a:lnTo>
                      <a:pt x="3825" y="4317"/>
                    </a:lnTo>
                    <a:lnTo>
                      <a:pt x="3853" y="4314"/>
                    </a:lnTo>
                    <a:lnTo>
                      <a:pt x="3879" y="4309"/>
                    </a:lnTo>
                    <a:lnTo>
                      <a:pt x="3906" y="4303"/>
                    </a:lnTo>
                    <a:lnTo>
                      <a:pt x="3932" y="4296"/>
                    </a:lnTo>
                    <a:lnTo>
                      <a:pt x="3958" y="4287"/>
                    </a:lnTo>
                    <a:lnTo>
                      <a:pt x="3984" y="4277"/>
                    </a:lnTo>
                    <a:lnTo>
                      <a:pt x="4008" y="4265"/>
                    </a:lnTo>
                    <a:lnTo>
                      <a:pt x="4031" y="4254"/>
                    </a:lnTo>
                    <a:lnTo>
                      <a:pt x="4054" y="4241"/>
                    </a:lnTo>
                    <a:lnTo>
                      <a:pt x="4077" y="4227"/>
                    </a:lnTo>
                    <a:lnTo>
                      <a:pt x="4099" y="4211"/>
                    </a:lnTo>
                    <a:lnTo>
                      <a:pt x="4119" y="4194"/>
                    </a:lnTo>
                    <a:lnTo>
                      <a:pt x="4139" y="4176"/>
                    </a:lnTo>
                    <a:lnTo>
                      <a:pt x="4159" y="4159"/>
                    </a:lnTo>
                    <a:lnTo>
                      <a:pt x="4176" y="4139"/>
                    </a:lnTo>
                    <a:lnTo>
                      <a:pt x="4194" y="4119"/>
                    </a:lnTo>
                    <a:lnTo>
                      <a:pt x="4211" y="4099"/>
                    </a:lnTo>
                    <a:lnTo>
                      <a:pt x="4227" y="4077"/>
                    </a:lnTo>
                    <a:lnTo>
                      <a:pt x="4241" y="4054"/>
                    </a:lnTo>
                    <a:lnTo>
                      <a:pt x="4254" y="4031"/>
                    </a:lnTo>
                    <a:lnTo>
                      <a:pt x="4265" y="4008"/>
                    </a:lnTo>
                    <a:lnTo>
                      <a:pt x="4277" y="3984"/>
                    </a:lnTo>
                    <a:lnTo>
                      <a:pt x="4287" y="3958"/>
                    </a:lnTo>
                    <a:lnTo>
                      <a:pt x="4296" y="3932"/>
                    </a:lnTo>
                    <a:lnTo>
                      <a:pt x="4303" y="3906"/>
                    </a:lnTo>
                    <a:lnTo>
                      <a:pt x="4309" y="3879"/>
                    </a:lnTo>
                    <a:lnTo>
                      <a:pt x="4314" y="3853"/>
                    </a:lnTo>
                    <a:lnTo>
                      <a:pt x="4317" y="3825"/>
                    </a:lnTo>
                    <a:lnTo>
                      <a:pt x="4320" y="3797"/>
                    </a:lnTo>
                    <a:lnTo>
                      <a:pt x="4320" y="3769"/>
                    </a:lnTo>
                    <a:lnTo>
                      <a:pt x="4320" y="3769"/>
                    </a:lnTo>
                    <a:lnTo>
                      <a:pt x="4319" y="3727"/>
                    </a:lnTo>
                    <a:lnTo>
                      <a:pt x="4314" y="3685"/>
                    </a:lnTo>
                    <a:lnTo>
                      <a:pt x="4306" y="3645"/>
                    </a:lnTo>
                    <a:lnTo>
                      <a:pt x="4296" y="3606"/>
                    </a:lnTo>
                    <a:lnTo>
                      <a:pt x="4283" y="3567"/>
                    </a:lnTo>
                    <a:lnTo>
                      <a:pt x="4267" y="3532"/>
                    </a:lnTo>
                    <a:lnTo>
                      <a:pt x="4248" y="3496"/>
                    </a:lnTo>
                    <a:lnTo>
                      <a:pt x="4227" y="3463"/>
                    </a:lnTo>
                    <a:lnTo>
                      <a:pt x="4204" y="3430"/>
                    </a:lnTo>
                    <a:lnTo>
                      <a:pt x="4178" y="3399"/>
                    </a:lnTo>
                    <a:lnTo>
                      <a:pt x="4151" y="3372"/>
                    </a:lnTo>
                    <a:lnTo>
                      <a:pt x="4122" y="3345"/>
                    </a:lnTo>
                    <a:lnTo>
                      <a:pt x="4090" y="3320"/>
                    </a:lnTo>
                    <a:lnTo>
                      <a:pt x="4057" y="3299"/>
                    </a:lnTo>
                    <a:lnTo>
                      <a:pt x="4023" y="3279"/>
                    </a:lnTo>
                    <a:lnTo>
                      <a:pt x="3987" y="3262"/>
                    </a:lnTo>
                    <a:lnTo>
                      <a:pt x="3987" y="3262"/>
                    </a:lnTo>
                    <a:close/>
                    <a:moveTo>
                      <a:pt x="869" y="3769"/>
                    </a:moveTo>
                    <a:lnTo>
                      <a:pt x="869" y="3769"/>
                    </a:lnTo>
                    <a:lnTo>
                      <a:pt x="867" y="3802"/>
                    </a:lnTo>
                    <a:lnTo>
                      <a:pt x="863" y="3833"/>
                    </a:lnTo>
                    <a:lnTo>
                      <a:pt x="855" y="3863"/>
                    </a:lnTo>
                    <a:lnTo>
                      <a:pt x="844" y="3892"/>
                    </a:lnTo>
                    <a:lnTo>
                      <a:pt x="832" y="3921"/>
                    </a:lnTo>
                    <a:lnTo>
                      <a:pt x="816" y="3947"/>
                    </a:lnTo>
                    <a:lnTo>
                      <a:pt x="797" y="3971"/>
                    </a:lnTo>
                    <a:lnTo>
                      <a:pt x="777" y="3994"/>
                    </a:lnTo>
                    <a:lnTo>
                      <a:pt x="754" y="4014"/>
                    </a:lnTo>
                    <a:lnTo>
                      <a:pt x="730" y="4033"/>
                    </a:lnTo>
                    <a:lnTo>
                      <a:pt x="702" y="4049"/>
                    </a:lnTo>
                    <a:lnTo>
                      <a:pt x="675" y="4061"/>
                    </a:lnTo>
                    <a:lnTo>
                      <a:pt x="646" y="4073"/>
                    </a:lnTo>
                    <a:lnTo>
                      <a:pt x="616" y="4080"/>
                    </a:lnTo>
                    <a:lnTo>
                      <a:pt x="585" y="4086"/>
                    </a:lnTo>
                    <a:lnTo>
                      <a:pt x="551" y="4087"/>
                    </a:lnTo>
                    <a:lnTo>
                      <a:pt x="551" y="4087"/>
                    </a:lnTo>
                    <a:lnTo>
                      <a:pt x="518" y="4086"/>
                    </a:lnTo>
                    <a:lnTo>
                      <a:pt x="487" y="4080"/>
                    </a:lnTo>
                    <a:lnTo>
                      <a:pt x="457" y="4073"/>
                    </a:lnTo>
                    <a:lnTo>
                      <a:pt x="428" y="4061"/>
                    </a:lnTo>
                    <a:lnTo>
                      <a:pt x="399" y="4049"/>
                    </a:lnTo>
                    <a:lnTo>
                      <a:pt x="373" y="4033"/>
                    </a:lnTo>
                    <a:lnTo>
                      <a:pt x="349" y="4014"/>
                    </a:lnTo>
                    <a:lnTo>
                      <a:pt x="326" y="3994"/>
                    </a:lnTo>
                    <a:lnTo>
                      <a:pt x="306" y="3971"/>
                    </a:lnTo>
                    <a:lnTo>
                      <a:pt x="287" y="3947"/>
                    </a:lnTo>
                    <a:lnTo>
                      <a:pt x="271" y="3921"/>
                    </a:lnTo>
                    <a:lnTo>
                      <a:pt x="259" y="3892"/>
                    </a:lnTo>
                    <a:lnTo>
                      <a:pt x="247" y="3863"/>
                    </a:lnTo>
                    <a:lnTo>
                      <a:pt x="240" y="3833"/>
                    </a:lnTo>
                    <a:lnTo>
                      <a:pt x="234" y="3802"/>
                    </a:lnTo>
                    <a:lnTo>
                      <a:pt x="233" y="3769"/>
                    </a:lnTo>
                    <a:lnTo>
                      <a:pt x="233" y="3769"/>
                    </a:lnTo>
                    <a:lnTo>
                      <a:pt x="234" y="3735"/>
                    </a:lnTo>
                    <a:lnTo>
                      <a:pt x="240" y="3704"/>
                    </a:lnTo>
                    <a:lnTo>
                      <a:pt x="247" y="3674"/>
                    </a:lnTo>
                    <a:lnTo>
                      <a:pt x="259" y="3645"/>
                    </a:lnTo>
                    <a:lnTo>
                      <a:pt x="271" y="3616"/>
                    </a:lnTo>
                    <a:lnTo>
                      <a:pt x="287" y="3590"/>
                    </a:lnTo>
                    <a:lnTo>
                      <a:pt x="306" y="3566"/>
                    </a:lnTo>
                    <a:lnTo>
                      <a:pt x="326" y="3543"/>
                    </a:lnTo>
                    <a:lnTo>
                      <a:pt x="349" y="3523"/>
                    </a:lnTo>
                    <a:lnTo>
                      <a:pt x="373" y="3504"/>
                    </a:lnTo>
                    <a:lnTo>
                      <a:pt x="399" y="3488"/>
                    </a:lnTo>
                    <a:lnTo>
                      <a:pt x="428" y="3476"/>
                    </a:lnTo>
                    <a:lnTo>
                      <a:pt x="457" y="3465"/>
                    </a:lnTo>
                    <a:lnTo>
                      <a:pt x="487" y="3457"/>
                    </a:lnTo>
                    <a:lnTo>
                      <a:pt x="518" y="3453"/>
                    </a:lnTo>
                    <a:lnTo>
                      <a:pt x="551" y="3451"/>
                    </a:lnTo>
                    <a:lnTo>
                      <a:pt x="551" y="3451"/>
                    </a:lnTo>
                    <a:lnTo>
                      <a:pt x="585" y="3453"/>
                    </a:lnTo>
                    <a:lnTo>
                      <a:pt x="616" y="3457"/>
                    </a:lnTo>
                    <a:lnTo>
                      <a:pt x="646" y="3465"/>
                    </a:lnTo>
                    <a:lnTo>
                      <a:pt x="675" y="3476"/>
                    </a:lnTo>
                    <a:lnTo>
                      <a:pt x="702" y="3488"/>
                    </a:lnTo>
                    <a:lnTo>
                      <a:pt x="730" y="3504"/>
                    </a:lnTo>
                    <a:lnTo>
                      <a:pt x="754" y="3523"/>
                    </a:lnTo>
                    <a:lnTo>
                      <a:pt x="777" y="3543"/>
                    </a:lnTo>
                    <a:lnTo>
                      <a:pt x="797" y="3566"/>
                    </a:lnTo>
                    <a:lnTo>
                      <a:pt x="816" y="3590"/>
                    </a:lnTo>
                    <a:lnTo>
                      <a:pt x="832" y="3616"/>
                    </a:lnTo>
                    <a:lnTo>
                      <a:pt x="844" y="3645"/>
                    </a:lnTo>
                    <a:lnTo>
                      <a:pt x="855" y="3674"/>
                    </a:lnTo>
                    <a:lnTo>
                      <a:pt x="863" y="3704"/>
                    </a:lnTo>
                    <a:lnTo>
                      <a:pt x="867" y="3735"/>
                    </a:lnTo>
                    <a:lnTo>
                      <a:pt x="869" y="3769"/>
                    </a:lnTo>
                    <a:lnTo>
                      <a:pt x="869" y="3769"/>
                    </a:lnTo>
                    <a:close/>
                    <a:moveTo>
                      <a:pt x="1841" y="551"/>
                    </a:moveTo>
                    <a:lnTo>
                      <a:pt x="1841" y="551"/>
                    </a:lnTo>
                    <a:lnTo>
                      <a:pt x="1844" y="518"/>
                    </a:lnTo>
                    <a:lnTo>
                      <a:pt x="1848" y="487"/>
                    </a:lnTo>
                    <a:lnTo>
                      <a:pt x="1856" y="457"/>
                    </a:lnTo>
                    <a:lnTo>
                      <a:pt x="1867" y="428"/>
                    </a:lnTo>
                    <a:lnTo>
                      <a:pt x="1880" y="399"/>
                    </a:lnTo>
                    <a:lnTo>
                      <a:pt x="1896" y="373"/>
                    </a:lnTo>
                    <a:lnTo>
                      <a:pt x="1914" y="349"/>
                    </a:lnTo>
                    <a:lnTo>
                      <a:pt x="1935" y="326"/>
                    </a:lnTo>
                    <a:lnTo>
                      <a:pt x="1958" y="306"/>
                    </a:lnTo>
                    <a:lnTo>
                      <a:pt x="1982" y="287"/>
                    </a:lnTo>
                    <a:lnTo>
                      <a:pt x="2008" y="271"/>
                    </a:lnTo>
                    <a:lnTo>
                      <a:pt x="2036" y="259"/>
                    </a:lnTo>
                    <a:lnTo>
                      <a:pt x="2065" y="247"/>
                    </a:lnTo>
                    <a:lnTo>
                      <a:pt x="2095" y="240"/>
                    </a:lnTo>
                    <a:lnTo>
                      <a:pt x="2127" y="234"/>
                    </a:lnTo>
                    <a:lnTo>
                      <a:pt x="2160" y="233"/>
                    </a:lnTo>
                    <a:lnTo>
                      <a:pt x="2160" y="233"/>
                    </a:lnTo>
                    <a:lnTo>
                      <a:pt x="2193" y="234"/>
                    </a:lnTo>
                    <a:lnTo>
                      <a:pt x="2225" y="240"/>
                    </a:lnTo>
                    <a:lnTo>
                      <a:pt x="2255" y="247"/>
                    </a:lnTo>
                    <a:lnTo>
                      <a:pt x="2284" y="259"/>
                    </a:lnTo>
                    <a:lnTo>
                      <a:pt x="2312" y="271"/>
                    </a:lnTo>
                    <a:lnTo>
                      <a:pt x="2338" y="287"/>
                    </a:lnTo>
                    <a:lnTo>
                      <a:pt x="2363" y="306"/>
                    </a:lnTo>
                    <a:lnTo>
                      <a:pt x="2385" y="326"/>
                    </a:lnTo>
                    <a:lnTo>
                      <a:pt x="2406" y="349"/>
                    </a:lnTo>
                    <a:lnTo>
                      <a:pt x="2424" y="373"/>
                    </a:lnTo>
                    <a:lnTo>
                      <a:pt x="2440" y="399"/>
                    </a:lnTo>
                    <a:lnTo>
                      <a:pt x="2453" y="428"/>
                    </a:lnTo>
                    <a:lnTo>
                      <a:pt x="2464" y="457"/>
                    </a:lnTo>
                    <a:lnTo>
                      <a:pt x="2472" y="487"/>
                    </a:lnTo>
                    <a:lnTo>
                      <a:pt x="2476" y="518"/>
                    </a:lnTo>
                    <a:lnTo>
                      <a:pt x="2479" y="551"/>
                    </a:lnTo>
                    <a:lnTo>
                      <a:pt x="2479" y="551"/>
                    </a:lnTo>
                    <a:lnTo>
                      <a:pt x="2476" y="585"/>
                    </a:lnTo>
                    <a:lnTo>
                      <a:pt x="2472" y="616"/>
                    </a:lnTo>
                    <a:lnTo>
                      <a:pt x="2464" y="646"/>
                    </a:lnTo>
                    <a:lnTo>
                      <a:pt x="2453" y="675"/>
                    </a:lnTo>
                    <a:lnTo>
                      <a:pt x="2440" y="704"/>
                    </a:lnTo>
                    <a:lnTo>
                      <a:pt x="2424" y="730"/>
                    </a:lnTo>
                    <a:lnTo>
                      <a:pt x="2406" y="754"/>
                    </a:lnTo>
                    <a:lnTo>
                      <a:pt x="2385" y="777"/>
                    </a:lnTo>
                    <a:lnTo>
                      <a:pt x="2363" y="797"/>
                    </a:lnTo>
                    <a:lnTo>
                      <a:pt x="2338" y="816"/>
                    </a:lnTo>
                    <a:lnTo>
                      <a:pt x="2312" y="832"/>
                    </a:lnTo>
                    <a:lnTo>
                      <a:pt x="2284" y="844"/>
                    </a:lnTo>
                    <a:lnTo>
                      <a:pt x="2255" y="855"/>
                    </a:lnTo>
                    <a:lnTo>
                      <a:pt x="2225" y="863"/>
                    </a:lnTo>
                    <a:lnTo>
                      <a:pt x="2193" y="867"/>
                    </a:lnTo>
                    <a:lnTo>
                      <a:pt x="2160" y="869"/>
                    </a:lnTo>
                    <a:lnTo>
                      <a:pt x="2160" y="869"/>
                    </a:lnTo>
                    <a:lnTo>
                      <a:pt x="2127" y="867"/>
                    </a:lnTo>
                    <a:lnTo>
                      <a:pt x="2095" y="863"/>
                    </a:lnTo>
                    <a:lnTo>
                      <a:pt x="2065" y="855"/>
                    </a:lnTo>
                    <a:lnTo>
                      <a:pt x="2036" y="844"/>
                    </a:lnTo>
                    <a:lnTo>
                      <a:pt x="2008" y="832"/>
                    </a:lnTo>
                    <a:lnTo>
                      <a:pt x="1982" y="816"/>
                    </a:lnTo>
                    <a:lnTo>
                      <a:pt x="1958" y="797"/>
                    </a:lnTo>
                    <a:lnTo>
                      <a:pt x="1935" y="777"/>
                    </a:lnTo>
                    <a:lnTo>
                      <a:pt x="1914" y="754"/>
                    </a:lnTo>
                    <a:lnTo>
                      <a:pt x="1896" y="730"/>
                    </a:lnTo>
                    <a:lnTo>
                      <a:pt x="1880" y="704"/>
                    </a:lnTo>
                    <a:lnTo>
                      <a:pt x="1867" y="675"/>
                    </a:lnTo>
                    <a:lnTo>
                      <a:pt x="1856" y="646"/>
                    </a:lnTo>
                    <a:lnTo>
                      <a:pt x="1848" y="616"/>
                    </a:lnTo>
                    <a:lnTo>
                      <a:pt x="1844" y="585"/>
                    </a:lnTo>
                    <a:lnTo>
                      <a:pt x="1841" y="551"/>
                    </a:lnTo>
                    <a:lnTo>
                      <a:pt x="1841" y="551"/>
                    </a:lnTo>
                    <a:close/>
                    <a:moveTo>
                      <a:pt x="2479" y="3769"/>
                    </a:moveTo>
                    <a:lnTo>
                      <a:pt x="2479" y="3769"/>
                    </a:lnTo>
                    <a:lnTo>
                      <a:pt x="2476" y="3802"/>
                    </a:lnTo>
                    <a:lnTo>
                      <a:pt x="2472" y="3833"/>
                    </a:lnTo>
                    <a:lnTo>
                      <a:pt x="2464" y="3863"/>
                    </a:lnTo>
                    <a:lnTo>
                      <a:pt x="2453" y="3892"/>
                    </a:lnTo>
                    <a:lnTo>
                      <a:pt x="2440" y="3921"/>
                    </a:lnTo>
                    <a:lnTo>
                      <a:pt x="2424" y="3947"/>
                    </a:lnTo>
                    <a:lnTo>
                      <a:pt x="2406" y="3971"/>
                    </a:lnTo>
                    <a:lnTo>
                      <a:pt x="2385" y="3994"/>
                    </a:lnTo>
                    <a:lnTo>
                      <a:pt x="2363" y="4014"/>
                    </a:lnTo>
                    <a:lnTo>
                      <a:pt x="2338" y="4033"/>
                    </a:lnTo>
                    <a:lnTo>
                      <a:pt x="2312" y="4049"/>
                    </a:lnTo>
                    <a:lnTo>
                      <a:pt x="2284" y="4061"/>
                    </a:lnTo>
                    <a:lnTo>
                      <a:pt x="2255" y="4073"/>
                    </a:lnTo>
                    <a:lnTo>
                      <a:pt x="2225" y="4080"/>
                    </a:lnTo>
                    <a:lnTo>
                      <a:pt x="2193" y="4086"/>
                    </a:lnTo>
                    <a:lnTo>
                      <a:pt x="2160" y="4087"/>
                    </a:lnTo>
                    <a:lnTo>
                      <a:pt x="2160" y="4087"/>
                    </a:lnTo>
                    <a:lnTo>
                      <a:pt x="2127" y="4086"/>
                    </a:lnTo>
                    <a:lnTo>
                      <a:pt x="2095" y="4080"/>
                    </a:lnTo>
                    <a:lnTo>
                      <a:pt x="2065" y="4073"/>
                    </a:lnTo>
                    <a:lnTo>
                      <a:pt x="2036" y="4061"/>
                    </a:lnTo>
                    <a:lnTo>
                      <a:pt x="2008" y="4049"/>
                    </a:lnTo>
                    <a:lnTo>
                      <a:pt x="1982" y="4033"/>
                    </a:lnTo>
                    <a:lnTo>
                      <a:pt x="1958" y="4014"/>
                    </a:lnTo>
                    <a:lnTo>
                      <a:pt x="1935" y="3994"/>
                    </a:lnTo>
                    <a:lnTo>
                      <a:pt x="1914" y="3971"/>
                    </a:lnTo>
                    <a:lnTo>
                      <a:pt x="1896" y="3947"/>
                    </a:lnTo>
                    <a:lnTo>
                      <a:pt x="1880" y="3921"/>
                    </a:lnTo>
                    <a:lnTo>
                      <a:pt x="1867" y="3892"/>
                    </a:lnTo>
                    <a:lnTo>
                      <a:pt x="1856" y="3863"/>
                    </a:lnTo>
                    <a:lnTo>
                      <a:pt x="1848" y="3833"/>
                    </a:lnTo>
                    <a:lnTo>
                      <a:pt x="1844" y="3802"/>
                    </a:lnTo>
                    <a:lnTo>
                      <a:pt x="1841" y="3769"/>
                    </a:lnTo>
                    <a:lnTo>
                      <a:pt x="1841" y="3769"/>
                    </a:lnTo>
                    <a:lnTo>
                      <a:pt x="1844" y="3735"/>
                    </a:lnTo>
                    <a:lnTo>
                      <a:pt x="1848" y="3704"/>
                    </a:lnTo>
                    <a:lnTo>
                      <a:pt x="1856" y="3674"/>
                    </a:lnTo>
                    <a:lnTo>
                      <a:pt x="1867" y="3645"/>
                    </a:lnTo>
                    <a:lnTo>
                      <a:pt x="1880" y="3616"/>
                    </a:lnTo>
                    <a:lnTo>
                      <a:pt x="1896" y="3590"/>
                    </a:lnTo>
                    <a:lnTo>
                      <a:pt x="1914" y="3566"/>
                    </a:lnTo>
                    <a:lnTo>
                      <a:pt x="1935" y="3543"/>
                    </a:lnTo>
                    <a:lnTo>
                      <a:pt x="1958" y="3523"/>
                    </a:lnTo>
                    <a:lnTo>
                      <a:pt x="1982" y="3504"/>
                    </a:lnTo>
                    <a:lnTo>
                      <a:pt x="2008" y="3488"/>
                    </a:lnTo>
                    <a:lnTo>
                      <a:pt x="2036" y="3476"/>
                    </a:lnTo>
                    <a:lnTo>
                      <a:pt x="2065" y="3465"/>
                    </a:lnTo>
                    <a:lnTo>
                      <a:pt x="2095" y="3457"/>
                    </a:lnTo>
                    <a:lnTo>
                      <a:pt x="2127" y="3453"/>
                    </a:lnTo>
                    <a:lnTo>
                      <a:pt x="2160" y="3451"/>
                    </a:lnTo>
                    <a:lnTo>
                      <a:pt x="2160" y="3451"/>
                    </a:lnTo>
                    <a:lnTo>
                      <a:pt x="2193" y="3453"/>
                    </a:lnTo>
                    <a:lnTo>
                      <a:pt x="2225" y="3457"/>
                    </a:lnTo>
                    <a:lnTo>
                      <a:pt x="2255" y="3465"/>
                    </a:lnTo>
                    <a:lnTo>
                      <a:pt x="2284" y="3476"/>
                    </a:lnTo>
                    <a:lnTo>
                      <a:pt x="2312" y="3488"/>
                    </a:lnTo>
                    <a:lnTo>
                      <a:pt x="2338" y="3504"/>
                    </a:lnTo>
                    <a:lnTo>
                      <a:pt x="2363" y="3523"/>
                    </a:lnTo>
                    <a:lnTo>
                      <a:pt x="2385" y="3543"/>
                    </a:lnTo>
                    <a:lnTo>
                      <a:pt x="2406" y="3566"/>
                    </a:lnTo>
                    <a:lnTo>
                      <a:pt x="2424" y="3590"/>
                    </a:lnTo>
                    <a:lnTo>
                      <a:pt x="2440" y="3616"/>
                    </a:lnTo>
                    <a:lnTo>
                      <a:pt x="2453" y="3645"/>
                    </a:lnTo>
                    <a:lnTo>
                      <a:pt x="2464" y="3674"/>
                    </a:lnTo>
                    <a:lnTo>
                      <a:pt x="2472" y="3704"/>
                    </a:lnTo>
                    <a:lnTo>
                      <a:pt x="2476" y="3735"/>
                    </a:lnTo>
                    <a:lnTo>
                      <a:pt x="2479" y="3769"/>
                    </a:lnTo>
                    <a:lnTo>
                      <a:pt x="2479" y="3769"/>
                    </a:lnTo>
                    <a:close/>
                    <a:moveTo>
                      <a:pt x="3769" y="4087"/>
                    </a:moveTo>
                    <a:lnTo>
                      <a:pt x="3769" y="4087"/>
                    </a:lnTo>
                    <a:lnTo>
                      <a:pt x="3735" y="4086"/>
                    </a:lnTo>
                    <a:lnTo>
                      <a:pt x="3704" y="4080"/>
                    </a:lnTo>
                    <a:lnTo>
                      <a:pt x="3674" y="4073"/>
                    </a:lnTo>
                    <a:lnTo>
                      <a:pt x="3645" y="4061"/>
                    </a:lnTo>
                    <a:lnTo>
                      <a:pt x="3618" y="4049"/>
                    </a:lnTo>
                    <a:lnTo>
                      <a:pt x="3590" y="4033"/>
                    </a:lnTo>
                    <a:lnTo>
                      <a:pt x="3566" y="4014"/>
                    </a:lnTo>
                    <a:lnTo>
                      <a:pt x="3543" y="3994"/>
                    </a:lnTo>
                    <a:lnTo>
                      <a:pt x="3523" y="3971"/>
                    </a:lnTo>
                    <a:lnTo>
                      <a:pt x="3504" y="3947"/>
                    </a:lnTo>
                    <a:lnTo>
                      <a:pt x="3488" y="3921"/>
                    </a:lnTo>
                    <a:lnTo>
                      <a:pt x="3476" y="3892"/>
                    </a:lnTo>
                    <a:lnTo>
                      <a:pt x="3465" y="3863"/>
                    </a:lnTo>
                    <a:lnTo>
                      <a:pt x="3457" y="3833"/>
                    </a:lnTo>
                    <a:lnTo>
                      <a:pt x="3453" y="3802"/>
                    </a:lnTo>
                    <a:lnTo>
                      <a:pt x="3451" y="3769"/>
                    </a:lnTo>
                    <a:lnTo>
                      <a:pt x="3451" y="3769"/>
                    </a:lnTo>
                    <a:lnTo>
                      <a:pt x="3453" y="3735"/>
                    </a:lnTo>
                    <a:lnTo>
                      <a:pt x="3457" y="3704"/>
                    </a:lnTo>
                    <a:lnTo>
                      <a:pt x="3465" y="3674"/>
                    </a:lnTo>
                    <a:lnTo>
                      <a:pt x="3476" y="3645"/>
                    </a:lnTo>
                    <a:lnTo>
                      <a:pt x="3488" y="3616"/>
                    </a:lnTo>
                    <a:lnTo>
                      <a:pt x="3504" y="3590"/>
                    </a:lnTo>
                    <a:lnTo>
                      <a:pt x="3523" y="3566"/>
                    </a:lnTo>
                    <a:lnTo>
                      <a:pt x="3543" y="3543"/>
                    </a:lnTo>
                    <a:lnTo>
                      <a:pt x="3566" y="3523"/>
                    </a:lnTo>
                    <a:lnTo>
                      <a:pt x="3590" y="3504"/>
                    </a:lnTo>
                    <a:lnTo>
                      <a:pt x="3618" y="3488"/>
                    </a:lnTo>
                    <a:lnTo>
                      <a:pt x="3645" y="3476"/>
                    </a:lnTo>
                    <a:lnTo>
                      <a:pt x="3674" y="3465"/>
                    </a:lnTo>
                    <a:lnTo>
                      <a:pt x="3704" y="3457"/>
                    </a:lnTo>
                    <a:lnTo>
                      <a:pt x="3735" y="3453"/>
                    </a:lnTo>
                    <a:lnTo>
                      <a:pt x="3769" y="3451"/>
                    </a:lnTo>
                    <a:lnTo>
                      <a:pt x="3769" y="3451"/>
                    </a:lnTo>
                    <a:lnTo>
                      <a:pt x="3802" y="3453"/>
                    </a:lnTo>
                    <a:lnTo>
                      <a:pt x="3833" y="3457"/>
                    </a:lnTo>
                    <a:lnTo>
                      <a:pt x="3863" y="3465"/>
                    </a:lnTo>
                    <a:lnTo>
                      <a:pt x="3892" y="3476"/>
                    </a:lnTo>
                    <a:lnTo>
                      <a:pt x="3921" y="3488"/>
                    </a:lnTo>
                    <a:lnTo>
                      <a:pt x="3947" y="3504"/>
                    </a:lnTo>
                    <a:lnTo>
                      <a:pt x="3971" y="3523"/>
                    </a:lnTo>
                    <a:lnTo>
                      <a:pt x="3994" y="3543"/>
                    </a:lnTo>
                    <a:lnTo>
                      <a:pt x="4014" y="3566"/>
                    </a:lnTo>
                    <a:lnTo>
                      <a:pt x="4033" y="3590"/>
                    </a:lnTo>
                    <a:lnTo>
                      <a:pt x="4049" y="3616"/>
                    </a:lnTo>
                    <a:lnTo>
                      <a:pt x="4061" y="3645"/>
                    </a:lnTo>
                    <a:lnTo>
                      <a:pt x="4073" y="3674"/>
                    </a:lnTo>
                    <a:lnTo>
                      <a:pt x="4080" y="3704"/>
                    </a:lnTo>
                    <a:lnTo>
                      <a:pt x="4086" y="3735"/>
                    </a:lnTo>
                    <a:lnTo>
                      <a:pt x="4087" y="3769"/>
                    </a:lnTo>
                    <a:lnTo>
                      <a:pt x="4087" y="3769"/>
                    </a:lnTo>
                    <a:lnTo>
                      <a:pt x="4086" y="3802"/>
                    </a:lnTo>
                    <a:lnTo>
                      <a:pt x="4080" y="3833"/>
                    </a:lnTo>
                    <a:lnTo>
                      <a:pt x="4073" y="3863"/>
                    </a:lnTo>
                    <a:lnTo>
                      <a:pt x="4061" y="3892"/>
                    </a:lnTo>
                    <a:lnTo>
                      <a:pt x="4049" y="3921"/>
                    </a:lnTo>
                    <a:lnTo>
                      <a:pt x="4033" y="3947"/>
                    </a:lnTo>
                    <a:lnTo>
                      <a:pt x="4014" y="3971"/>
                    </a:lnTo>
                    <a:lnTo>
                      <a:pt x="3994" y="3994"/>
                    </a:lnTo>
                    <a:lnTo>
                      <a:pt x="3971" y="4014"/>
                    </a:lnTo>
                    <a:lnTo>
                      <a:pt x="3947" y="4033"/>
                    </a:lnTo>
                    <a:lnTo>
                      <a:pt x="3921" y="4049"/>
                    </a:lnTo>
                    <a:lnTo>
                      <a:pt x="3892" y="4061"/>
                    </a:lnTo>
                    <a:lnTo>
                      <a:pt x="3863" y="4073"/>
                    </a:lnTo>
                    <a:lnTo>
                      <a:pt x="3833" y="4080"/>
                    </a:lnTo>
                    <a:lnTo>
                      <a:pt x="3802" y="4086"/>
                    </a:lnTo>
                    <a:lnTo>
                      <a:pt x="3769" y="4087"/>
                    </a:lnTo>
                    <a:lnTo>
                      <a:pt x="3769" y="4087"/>
                    </a:lnTo>
                    <a:close/>
                  </a:path>
                </a:pathLst>
              </a:custGeom>
              <a:solidFill>
                <a:srgbClr val="214794"/>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700" kern="0" dirty="0">
                  <a:solidFill>
                    <a:srgbClr val="676767"/>
                  </a:solidFill>
                  <a:latin typeface="メイリオ"/>
                  <a:ea typeface="メイリオ"/>
                  <a:cs typeface="メイリオ"/>
                </a:endParaRPr>
              </a:p>
            </p:txBody>
          </p:sp>
        </p:grpSp>
        <p:sp>
          <p:nvSpPr>
            <p:cNvPr id="340" name="Rectangle 339"/>
            <p:cNvSpPr/>
            <p:nvPr/>
          </p:nvSpPr>
          <p:spPr>
            <a:xfrm>
              <a:off x="3701088" y="2990477"/>
              <a:ext cx="2126247" cy="610179"/>
            </a:xfrm>
            <a:prstGeom prst="rect">
              <a:avLst/>
            </a:prstGeom>
            <a:noFill/>
            <a:ln>
              <a:noFill/>
            </a:ln>
          </p:spPr>
          <p:txBody>
            <a:bodyPr wrap="square" tIns="18288">
              <a:noAutofit/>
            </a:bodyPr>
            <a:lstStyle/>
            <a:p>
              <a:pPr algn="ctr" defTabSz="801221">
                <a:defRPr/>
              </a:pPr>
              <a:r>
                <a:rPr lang="en-US" sz="700" kern="0" dirty="0">
                  <a:solidFill>
                    <a:prstClr val="white"/>
                  </a:solidFill>
                  <a:latin typeface="メイリオ"/>
                  <a:ea typeface="メイリオ"/>
                  <a:cs typeface="メイリオ"/>
                </a:rPr>
                <a:t>Object &amp; Policy</a:t>
              </a:r>
              <a:br>
                <a:rPr lang="en-US" sz="700" kern="0" dirty="0">
                  <a:solidFill>
                    <a:prstClr val="white"/>
                  </a:solidFill>
                  <a:latin typeface="メイリオ"/>
                  <a:ea typeface="メイリオ"/>
                  <a:cs typeface="メイリオ"/>
                </a:rPr>
              </a:br>
              <a:r>
                <a:rPr lang="en-US" sz="700" kern="0" dirty="0">
                  <a:solidFill>
                    <a:prstClr val="white"/>
                  </a:solidFill>
                  <a:latin typeface="メイリオ"/>
                  <a:ea typeface="メイリオ"/>
                  <a:cs typeface="メイリオ"/>
                </a:rPr>
                <a:t>Analysis</a:t>
              </a:r>
            </a:p>
          </p:txBody>
        </p:sp>
      </p:grpSp>
      <p:sp>
        <p:nvSpPr>
          <p:cNvPr id="321" name="TextBox 320"/>
          <p:cNvSpPr txBox="1"/>
          <p:nvPr/>
        </p:nvSpPr>
        <p:spPr>
          <a:xfrm>
            <a:off x="485775" y="3905568"/>
            <a:ext cx="1776222" cy="596586"/>
          </a:xfrm>
          <a:prstGeom prst="rect">
            <a:avLst/>
          </a:prstGeom>
          <a:solidFill>
            <a:schemeClr val="bg1">
              <a:lumMod val="95000"/>
            </a:schemeClr>
          </a:solidFill>
        </p:spPr>
        <p:txBody>
          <a:bodyPr wrap="square" lIns="68580" tIns="34290" rIns="68580" bIns="34290" rtlCol="0">
            <a:noAutofit/>
          </a:bodyPr>
          <a:lstStyle/>
          <a:p>
            <a:r>
              <a:rPr lang="ja-JP" altLang="en-US" sz="1100" b="1" dirty="0" smtClean="0">
                <a:solidFill>
                  <a:srgbClr val="1A315D"/>
                </a:solidFill>
                <a:latin typeface="メイリオ"/>
                <a:ea typeface="メイリオ"/>
                <a:cs typeface="メイリオ"/>
              </a:rPr>
              <a:t>最適化</a:t>
            </a:r>
            <a:r>
              <a:rPr lang="en-US" sz="1100" b="1" dirty="0" smtClean="0">
                <a:solidFill>
                  <a:srgbClr val="1A315D"/>
                </a:solidFill>
                <a:latin typeface="メイリオ"/>
                <a:ea typeface="メイリオ"/>
                <a:cs typeface="メイリオ"/>
              </a:rPr>
              <a:t>: </a:t>
            </a:r>
            <a:r>
              <a:rPr lang="ja-JP" altLang="en-US" sz="1100" dirty="0" smtClean="0">
                <a:latin typeface="メイリオ"/>
                <a:ea typeface="メイリオ"/>
                <a:cs typeface="メイリオ"/>
              </a:rPr>
              <a:t>パフォーマンスを最適化する為のセキュリティポリシーの調整</a:t>
            </a:r>
            <a:endParaRPr lang="en-US" sz="1100" dirty="0">
              <a:latin typeface="メイリオ"/>
              <a:ea typeface="メイリオ"/>
              <a:cs typeface="メイリオ"/>
            </a:endParaRPr>
          </a:p>
        </p:txBody>
      </p:sp>
      <p:sp>
        <p:nvSpPr>
          <p:cNvPr id="322" name="TextBox 321"/>
          <p:cNvSpPr txBox="1"/>
          <p:nvPr/>
        </p:nvSpPr>
        <p:spPr>
          <a:xfrm>
            <a:off x="6834071" y="1613691"/>
            <a:ext cx="1827764" cy="596344"/>
          </a:xfrm>
          <a:prstGeom prst="rect">
            <a:avLst/>
          </a:prstGeom>
          <a:solidFill>
            <a:schemeClr val="bg1">
              <a:lumMod val="95000"/>
            </a:schemeClr>
          </a:solidFill>
        </p:spPr>
        <p:txBody>
          <a:bodyPr wrap="square" lIns="68580" tIns="34290" rIns="68580" bIns="34290" rtlCol="0">
            <a:noAutofit/>
          </a:bodyPr>
          <a:lstStyle/>
          <a:p>
            <a:r>
              <a:rPr lang="ja-JP" altLang="en-US" sz="1100" b="1" dirty="0" smtClean="0">
                <a:solidFill>
                  <a:srgbClr val="1A315D"/>
                </a:solidFill>
                <a:latin typeface="メイリオ"/>
                <a:ea typeface="メイリオ"/>
                <a:cs typeface="メイリオ"/>
              </a:rPr>
              <a:t>オーデット</a:t>
            </a:r>
            <a:r>
              <a:rPr lang="en-US" sz="1100" b="1" dirty="0" smtClean="0">
                <a:solidFill>
                  <a:srgbClr val="1A315D"/>
                </a:solidFill>
                <a:latin typeface="メイリオ"/>
                <a:ea typeface="メイリオ"/>
                <a:cs typeface="メイリオ"/>
              </a:rPr>
              <a:t>: </a:t>
            </a:r>
            <a:r>
              <a:rPr lang="ja-JP" altLang="en-US" sz="1100" dirty="0" smtClean="0">
                <a:latin typeface="メイリオ"/>
                <a:ea typeface="メイリオ"/>
                <a:cs typeface="メイリオ"/>
              </a:rPr>
              <a:t>ポリシーなどの解析で問題を直ぐに特定可能</a:t>
            </a:r>
            <a:endParaRPr lang="en-US" sz="1100" dirty="0">
              <a:latin typeface="メイリオ"/>
              <a:ea typeface="メイリオ"/>
              <a:cs typeface="メイリオ"/>
            </a:endParaRPr>
          </a:p>
        </p:txBody>
      </p:sp>
      <p:sp>
        <p:nvSpPr>
          <p:cNvPr id="333" name="TextBox 332"/>
          <p:cNvSpPr txBox="1"/>
          <p:nvPr/>
        </p:nvSpPr>
        <p:spPr>
          <a:xfrm>
            <a:off x="485776" y="1613691"/>
            <a:ext cx="1776182" cy="596344"/>
          </a:xfrm>
          <a:prstGeom prst="rect">
            <a:avLst/>
          </a:prstGeom>
          <a:solidFill>
            <a:schemeClr val="bg1">
              <a:lumMod val="95000"/>
            </a:schemeClr>
          </a:solidFill>
        </p:spPr>
        <p:txBody>
          <a:bodyPr wrap="square" lIns="68580" tIns="34290" rIns="68580" bIns="34290" rtlCol="0">
            <a:noAutofit/>
          </a:bodyPr>
          <a:lstStyle/>
          <a:p>
            <a:r>
              <a:rPr lang="ja-JP" altLang="en-US" sz="1100" b="1" dirty="0" smtClean="0">
                <a:solidFill>
                  <a:srgbClr val="1A315D"/>
                </a:solidFill>
                <a:latin typeface="メイリオ"/>
                <a:ea typeface="メイリオ"/>
                <a:cs typeface="メイリオ"/>
              </a:rPr>
              <a:t>変更管理</a:t>
            </a:r>
            <a:r>
              <a:rPr lang="en-US" sz="1100" b="1" dirty="0" smtClean="0">
                <a:solidFill>
                  <a:srgbClr val="1A315D"/>
                </a:solidFill>
                <a:latin typeface="メイリオ"/>
                <a:ea typeface="メイリオ"/>
                <a:cs typeface="メイリオ"/>
              </a:rPr>
              <a:t>: </a:t>
            </a:r>
            <a:r>
              <a:rPr lang="ja-JP" altLang="en-US" sz="1100" dirty="0" smtClean="0">
                <a:latin typeface="メイリオ"/>
                <a:ea typeface="メイリオ"/>
                <a:cs typeface="メイリオ"/>
              </a:rPr>
              <a:t>変更によるデバイスやセキュリティサービスへの影響を可視化</a:t>
            </a:r>
            <a:endParaRPr lang="en-US" sz="1100" dirty="0">
              <a:latin typeface="メイリオ"/>
              <a:ea typeface="メイリオ"/>
              <a:cs typeface="メイリオ"/>
            </a:endParaRPr>
          </a:p>
        </p:txBody>
      </p:sp>
      <p:grpSp>
        <p:nvGrpSpPr>
          <p:cNvPr id="306" name="Group 305"/>
          <p:cNvGrpSpPr/>
          <p:nvPr/>
        </p:nvGrpSpPr>
        <p:grpSpPr>
          <a:xfrm>
            <a:off x="2780635" y="1898647"/>
            <a:ext cx="1594685" cy="801845"/>
            <a:chOff x="4723397" y="2531530"/>
            <a:chExt cx="2126247" cy="1069126"/>
          </a:xfrm>
        </p:grpSpPr>
        <p:sp>
          <p:nvSpPr>
            <p:cNvPr id="344" name="Rectangle 343"/>
            <p:cNvSpPr/>
            <p:nvPr/>
          </p:nvSpPr>
          <p:spPr>
            <a:xfrm>
              <a:off x="4723397" y="2990477"/>
              <a:ext cx="2126247" cy="610179"/>
            </a:xfrm>
            <a:prstGeom prst="rect">
              <a:avLst/>
            </a:prstGeom>
            <a:noFill/>
            <a:ln>
              <a:noFill/>
            </a:ln>
          </p:spPr>
          <p:txBody>
            <a:bodyPr wrap="square" tIns="18288">
              <a:noAutofit/>
            </a:bodyPr>
            <a:lstStyle/>
            <a:p>
              <a:pPr algn="ctr" defTabSz="801221">
                <a:defRPr/>
              </a:pPr>
              <a:r>
                <a:rPr lang="en-US" sz="700" kern="0" dirty="0">
                  <a:solidFill>
                    <a:prstClr val="white"/>
                  </a:solidFill>
                  <a:latin typeface="メイリオ"/>
                  <a:ea typeface="メイリオ"/>
                  <a:cs typeface="メイリオ"/>
                </a:rPr>
                <a:t>Change Impact</a:t>
              </a:r>
              <a:br>
                <a:rPr lang="en-US" sz="700" kern="0" dirty="0">
                  <a:solidFill>
                    <a:prstClr val="white"/>
                  </a:solidFill>
                  <a:latin typeface="メイリオ"/>
                  <a:ea typeface="メイリオ"/>
                  <a:cs typeface="メイリオ"/>
                </a:rPr>
              </a:br>
              <a:r>
                <a:rPr lang="en-US" sz="700" kern="0" dirty="0">
                  <a:solidFill>
                    <a:prstClr val="white"/>
                  </a:solidFill>
                  <a:latin typeface="メイリオ"/>
                  <a:ea typeface="メイリオ"/>
                  <a:cs typeface="メイリオ"/>
                </a:rPr>
                <a:t>Modeling</a:t>
              </a:r>
            </a:p>
          </p:txBody>
        </p:sp>
        <p:grpSp>
          <p:nvGrpSpPr>
            <p:cNvPr id="346" name="Group 345"/>
            <p:cNvGrpSpPr/>
            <p:nvPr/>
          </p:nvGrpSpPr>
          <p:grpSpPr>
            <a:xfrm>
              <a:off x="5550744" y="2531530"/>
              <a:ext cx="448323" cy="448323"/>
              <a:chOff x="4684877" y="1629035"/>
              <a:chExt cx="113734" cy="113734"/>
            </a:xfrm>
          </p:grpSpPr>
          <p:sp>
            <p:nvSpPr>
              <p:cNvPr id="347" name="Oval 346"/>
              <p:cNvSpPr/>
              <p:nvPr/>
            </p:nvSpPr>
            <p:spPr>
              <a:xfrm>
                <a:off x="4684877" y="1629035"/>
                <a:ext cx="113734" cy="113734"/>
              </a:xfrm>
              <a:prstGeom prst="ellipse">
                <a:avLst/>
              </a:prstGeom>
              <a:solidFill>
                <a:sysClr val="window" lastClr="FFFFFF"/>
              </a:solidFill>
              <a:ln w="19050" cap="flat" cmpd="sng" algn="ctr">
                <a:noFill/>
                <a:prstDash val="solid"/>
              </a:ln>
              <a:effectLst/>
            </p:spPr>
            <p:txBody>
              <a:bodyPr rtlCol="0" anchor="ctr"/>
              <a:lstStyle/>
              <a:p>
                <a:pPr algn="ctr" defTabSz="685800" fontAlgn="auto">
                  <a:spcBef>
                    <a:spcPts val="0"/>
                  </a:spcBef>
                  <a:spcAft>
                    <a:spcPts val="0"/>
                  </a:spcAft>
                  <a:defRPr/>
                </a:pPr>
                <a:endParaRPr lang="en-US" sz="700" kern="0" dirty="0">
                  <a:solidFill>
                    <a:srgbClr val="FFFFFF"/>
                  </a:solidFill>
                  <a:latin typeface="メイリオ"/>
                  <a:ea typeface="メイリオ"/>
                  <a:cs typeface="メイリオ"/>
                </a:endParaRPr>
              </a:p>
            </p:txBody>
          </p:sp>
          <p:sp>
            <p:nvSpPr>
              <p:cNvPr id="351" name="Freeform 392"/>
              <p:cNvSpPr>
                <a:spLocks noEditPoints="1"/>
              </p:cNvSpPr>
              <p:nvPr/>
            </p:nvSpPr>
            <p:spPr bwMode="auto">
              <a:xfrm>
                <a:off x="4710905" y="1659383"/>
                <a:ext cx="60554" cy="57293"/>
              </a:xfrm>
              <a:custGeom>
                <a:avLst/>
                <a:gdLst>
                  <a:gd name="T0" fmla="*/ 1759 w 1820"/>
                  <a:gd name="T1" fmla="*/ 1269 h 1724"/>
                  <a:gd name="T2" fmla="*/ 1675 w 1820"/>
                  <a:gd name="T3" fmla="*/ 1405 h 1724"/>
                  <a:gd name="T4" fmla="*/ 1561 w 1820"/>
                  <a:gd name="T5" fmla="*/ 1515 h 1724"/>
                  <a:gd name="T6" fmla="*/ 1421 w 1820"/>
                  <a:gd name="T7" fmla="*/ 1596 h 1724"/>
                  <a:gd name="T8" fmla="*/ 1331 w 1820"/>
                  <a:gd name="T9" fmla="*/ 1285 h 1724"/>
                  <a:gd name="T10" fmla="*/ 1463 w 1820"/>
                  <a:gd name="T11" fmla="*/ 1208 h 1724"/>
                  <a:gd name="T12" fmla="*/ 1540 w 1820"/>
                  <a:gd name="T13" fmla="*/ 1127 h 1724"/>
                  <a:gd name="T14" fmla="*/ 1591 w 1820"/>
                  <a:gd name="T15" fmla="*/ 1043 h 1724"/>
                  <a:gd name="T16" fmla="*/ 1619 w 1820"/>
                  <a:gd name="T17" fmla="*/ 957 h 1724"/>
                  <a:gd name="T18" fmla="*/ 1630 w 1820"/>
                  <a:gd name="T19" fmla="*/ 830 h 1724"/>
                  <a:gd name="T20" fmla="*/ 1608 w 1820"/>
                  <a:gd name="T21" fmla="*/ 700 h 1724"/>
                  <a:gd name="T22" fmla="*/ 1558 w 1820"/>
                  <a:gd name="T23" fmla="*/ 570 h 1724"/>
                  <a:gd name="T24" fmla="*/ 1482 w 1820"/>
                  <a:gd name="T25" fmla="*/ 449 h 1724"/>
                  <a:gd name="T26" fmla="*/ 1382 w 1820"/>
                  <a:gd name="T27" fmla="*/ 341 h 1724"/>
                  <a:gd name="T28" fmla="*/ 1260 w 1820"/>
                  <a:gd name="T29" fmla="*/ 251 h 1724"/>
                  <a:gd name="T30" fmla="*/ 1255 w 1820"/>
                  <a:gd name="T31" fmla="*/ 258 h 1724"/>
                  <a:gd name="T32" fmla="*/ 1123 w 1820"/>
                  <a:gd name="T33" fmla="*/ 216 h 1724"/>
                  <a:gd name="T34" fmla="*/ 1017 w 1820"/>
                  <a:gd name="T35" fmla="*/ 74 h 1724"/>
                  <a:gd name="T36" fmla="*/ 1119 w 1820"/>
                  <a:gd name="T37" fmla="*/ 56 h 1724"/>
                  <a:gd name="T38" fmla="*/ 1328 w 1820"/>
                  <a:gd name="T39" fmla="*/ 98 h 1724"/>
                  <a:gd name="T40" fmla="*/ 1408 w 1820"/>
                  <a:gd name="T41" fmla="*/ 214 h 1724"/>
                  <a:gd name="T42" fmla="*/ 1555 w 1820"/>
                  <a:gd name="T43" fmla="*/ 348 h 1724"/>
                  <a:gd name="T44" fmla="*/ 1672 w 1820"/>
                  <a:gd name="T45" fmla="*/ 499 h 1724"/>
                  <a:gd name="T46" fmla="*/ 1743 w 1820"/>
                  <a:gd name="T47" fmla="*/ 629 h 1724"/>
                  <a:gd name="T48" fmla="*/ 1802 w 1820"/>
                  <a:gd name="T49" fmla="*/ 809 h 1724"/>
                  <a:gd name="T50" fmla="*/ 1820 w 1820"/>
                  <a:gd name="T51" fmla="*/ 995 h 1724"/>
                  <a:gd name="T52" fmla="*/ 1794 w 1820"/>
                  <a:gd name="T53" fmla="*/ 1176 h 1724"/>
                  <a:gd name="T54" fmla="*/ 660 w 1820"/>
                  <a:gd name="T55" fmla="*/ 1184 h 1724"/>
                  <a:gd name="T56" fmla="*/ 518 w 1820"/>
                  <a:gd name="T57" fmla="*/ 1065 h 1724"/>
                  <a:gd name="T58" fmla="*/ 415 w 1820"/>
                  <a:gd name="T59" fmla="*/ 926 h 1724"/>
                  <a:gd name="T60" fmla="*/ 352 w 1820"/>
                  <a:gd name="T61" fmla="*/ 777 h 1724"/>
                  <a:gd name="T62" fmla="*/ 332 w 1820"/>
                  <a:gd name="T63" fmla="*/ 625 h 1724"/>
                  <a:gd name="T64" fmla="*/ 357 w 1820"/>
                  <a:gd name="T65" fmla="*/ 478 h 1724"/>
                  <a:gd name="T66" fmla="*/ 428 w 1820"/>
                  <a:gd name="T67" fmla="*/ 344 h 1724"/>
                  <a:gd name="T68" fmla="*/ 476 w 1820"/>
                  <a:gd name="T69" fmla="*/ 290 h 1724"/>
                  <a:gd name="T70" fmla="*/ 564 w 1820"/>
                  <a:gd name="T71" fmla="*/ 222 h 1724"/>
                  <a:gd name="T72" fmla="*/ 666 w 1820"/>
                  <a:gd name="T73" fmla="*/ 174 h 1724"/>
                  <a:gd name="T74" fmla="*/ 754 w 1820"/>
                  <a:gd name="T75" fmla="*/ 151 h 1724"/>
                  <a:gd name="T76" fmla="*/ 635 w 1820"/>
                  <a:gd name="T77" fmla="*/ 0 h 1724"/>
                  <a:gd name="T78" fmla="*/ 468 w 1820"/>
                  <a:gd name="T79" fmla="*/ 41 h 1724"/>
                  <a:gd name="T80" fmla="*/ 314 w 1820"/>
                  <a:gd name="T81" fmla="*/ 115 h 1724"/>
                  <a:gd name="T82" fmla="*/ 182 w 1820"/>
                  <a:gd name="T83" fmla="*/ 221 h 1724"/>
                  <a:gd name="T84" fmla="*/ 120 w 1820"/>
                  <a:gd name="T85" fmla="*/ 298 h 1724"/>
                  <a:gd name="T86" fmla="*/ 66 w 1820"/>
                  <a:gd name="T87" fmla="*/ 390 h 1724"/>
                  <a:gd name="T88" fmla="*/ 28 w 1820"/>
                  <a:gd name="T89" fmla="*/ 487 h 1724"/>
                  <a:gd name="T90" fmla="*/ 7 w 1820"/>
                  <a:gd name="T91" fmla="*/ 589 h 1724"/>
                  <a:gd name="T92" fmla="*/ 3 w 1820"/>
                  <a:gd name="T93" fmla="*/ 757 h 1724"/>
                  <a:gd name="T94" fmla="*/ 32 w 1820"/>
                  <a:gd name="T95" fmla="*/ 909 h 1724"/>
                  <a:gd name="T96" fmla="*/ 74 w 1820"/>
                  <a:gd name="T97" fmla="*/ 1027 h 1724"/>
                  <a:gd name="T98" fmla="*/ 134 w 1820"/>
                  <a:gd name="T99" fmla="*/ 1140 h 1724"/>
                  <a:gd name="T100" fmla="*/ 209 w 1820"/>
                  <a:gd name="T101" fmla="*/ 1248 h 1724"/>
                  <a:gd name="T102" fmla="*/ 301 w 1820"/>
                  <a:gd name="T103" fmla="*/ 1348 h 1724"/>
                  <a:gd name="T104" fmla="*/ 407 w 1820"/>
                  <a:gd name="T105" fmla="*/ 1438 h 1724"/>
                  <a:gd name="T106" fmla="*/ 528 w 1820"/>
                  <a:gd name="T107" fmla="*/ 1518 h 1724"/>
                  <a:gd name="T108" fmla="*/ 591 w 1820"/>
                  <a:gd name="T109" fmla="*/ 1690 h 1724"/>
                  <a:gd name="T110" fmla="*/ 982 w 1820"/>
                  <a:gd name="T111" fmla="*/ 1448 h 1724"/>
                  <a:gd name="T112" fmla="*/ 770 w 1820"/>
                  <a:gd name="T113" fmla="*/ 1149 h 1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0" h="1724">
                    <a:moveTo>
                      <a:pt x="1794" y="1176"/>
                    </a:moveTo>
                    <a:lnTo>
                      <a:pt x="1794" y="1176"/>
                    </a:lnTo>
                    <a:lnTo>
                      <a:pt x="1783" y="1208"/>
                    </a:lnTo>
                    <a:lnTo>
                      <a:pt x="1772" y="1239"/>
                    </a:lnTo>
                    <a:lnTo>
                      <a:pt x="1759" y="1269"/>
                    </a:lnTo>
                    <a:lnTo>
                      <a:pt x="1746" y="1299"/>
                    </a:lnTo>
                    <a:lnTo>
                      <a:pt x="1729" y="1326"/>
                    </a:lnTo>
                    <a:lnTo>
                      <a:pt x="1713" y="1354"/>
                    </a:lnTo>
                    <a:lnTo>
                      <a:pt x="1695" y="1380"/>
                    </a:lnTo>
                    <a:lnTo>
                      <a:pt x="1675" y="1405"/>
                    </a:lnTo>
                    <a:lnTo>
                      <a:pt x="1675" y="1405"/>
                    </a:lnTo>
                    <a:lnTo>
                      <a:pt x="1650" y="1435"/>
                    </a:lnTo>
                    <a:lnTo>
                      <a:pt x="1621" y="1463"/>
                    </a:lnTo>
                    <a:lnTo>
                      <a:pt x="1592" y="1490"/>
                    </a:lnTo>
                    <a:lnTo>
                      <a:pt x="1561" y="1515"/>
                    </a:lnTo>
                    <a:lnTo>
                      <a:pt x="1529" y="1538"/>
                    </a:lnTo>
                    <a:lnTo>
                      <a:pt x="1494" y="1560"/>
                    </a:lnTo>
                    <a:lnTo>
                      <a:pt x="1458" y="1579"/>
                    </a:lnTo>
                    <a:lnTo>
                      <a:pt x="1421" y="1596"/>
                    </a:lnTo>
                    <a:lnTo>
                      <a:pt x="1421" y="1596"/>
                    </a:lnTo>
                    <a:lnTo>
                      <a:pt x="1401" y="1520"/>
                    </a:lnTo>
                    <a:lnTo>
                      <a:pt x="1380" y="1442"/>
                    </a:lnTo>
                    <a:lnTo>
                      <a:pt x="1356" y="1364"/>
                    </a:lnTo>
                    <a:lnTo>
                      <a:pt x="1331" y="1285"/>
                    </a:lnTo>
                    <a:lnTo>
                      <a:pt x="1331" y="1285"/>
                    </a:lnTo>
                    <a:lnTo>
                      <a:pt x="1360" y="1273"/>
                    </a:lnTo>
                    <a:lnTo>
                      <a:pt x="1388" y="1259"/>
                    </a:lnTo>
                    <a:lnTo>
                      <a:pt x="1414" y="1243"/>
                    </a:lnTo>
                    <a:lnTo>
                      <a:pt x="1440" y="1226"/>
                    </a:lnTo>
                    <a:lnTo>
                      <a:pt x="1463" y="1208"/>
                    </a:lnTo>
                    <a:lnTo>
                      <a:pt x="1487" y="1187"/>
                    </a:lnTo>
                    <a:lnTo>
                      <a:pt x="1508" y="1166"/>
                    </a:lnTo>
                    <a:lnTo>
                      <a:pt x="1528" y="1142"/>
                    </a:lnTo>
                    <a:lnTo>
                      <a:pt x="1528" y="1142"/>
                    </a:lnTo>
                    <a:lnTo>
                      <a:pt x="1540" y="1127"/>
                    </a:lnTo>
                    <a:lnTo>
                      <a:pt x="1551" y="1111"/>
                    </a:lnTo>
                    <a:lnTo>
                      <a:pt x="1562" y="1095"/>
                    </a:lnTo>
                    <a:lnTo>
                      <a:pt x="1572" y="1078"/>
                    </a:lnTo>
                    <a:lnTo>
                      <a:pt x="1583" y="1060"/>
                    </a:lnTo>
                    <a:lnTo>
                      <a:pt x="1591" y="1043"/>
                    </a:lnTo>
                    <a:lnTo>
                      <a:pt x="1599" y="1023"/>
                    </a:lnTo>
                    <a:lnTo>
                      <a:pt x="1606" y="1004"/>
                    </a:lnTo>
                    <a:lnTo>
                      <a:pt x="1606" y="1004"/>
                    </a:lnTo>
                    <a:lnTo>
                      <a:pt x="1613" y="980"/>
                    </a:lnTo>
                    <a:lnTo>
                      <a:pt x="1619" y="957"/>
                    </a:lnTo>
                    <a:lnTo>
                      <a:pt x="1624" y="931"/>
                    </a:lnTo>
                    <a:lnTo>
                      <a:pt x="1627" y="907"/>
                    </a:lnTo>
                    <a:lnTo>
                      <a:pt x="1630" y="881"/>
                    </a:lnTo>
                    <a:lnTo>
                      <a:pt x="1631" y="856"/>
                    </a:lnTo>
                    <a:lnTo>
                      <a:pt x="1630" y="830"/>
                    </a:lnTo>
                    <a:lnTo>
                      <a:pt x="1628" y="804"/>
                    </a:lnTo>
                    <a:lnTo>
                      <a:pt x="1625" y="778"/>
                    </a:lnTo>
                    <a:lnTo>
                      <a:pt x="1620" y="752"/>
                    </a:lnTo>
                    <a:lnTo>
                      <a:pt x="1615" y="726"/>
                    </a:lnTo>
                    <a:lnTo>
                      <a:pt x="1608" y="700"/>
                    </a:lnTo>
                    <a:lnTo>
                      <a:pt x="1601" y="673"/>
                    </a:lnTo>
                    <a:lnTo>
                      <a:pt x="1592" y="648"/>
                    </a:lnTo>
                    <a:lnTo>
                      <a:pt x="1582" y="621"/>
                    </a:lnTo>
                    <a:lnTo>
                      <a:pt x="1570" y="596"/>
                    </a:lnTo>
                    <a:lnTo>
                      <a:pt x="1558" y="570"/>
                    </a:lnTo>
                    <a:lnTo>
                      <a:pt x="1545" y="546"/>
                    </a:lnTo>
                    <a:lnTo>
                      <a:pt x="1531" y="520"/>
                    </a:lnTo>
                    <a:lnTo>
                      <a:pt x="1515" y="496"/>
                    </a:lnTo>
                    <a:lnTo>
                      <a:pt x="1499" y="472"/>
                    </a:lnTo>
                    <a:lnTo>
                      <a:pt x="1482" y="449"/>
                    </a:lnTo>
                    <a:lnTo>
                      <a:pt x="1463" y="425"/>
                    </a:lnTo>
                    <a:lnTo>
                      <a:pt x="1444" y="403"/>
                    </a:lnTo>
                    <a:lnTo>
                      <a:pt x="1425" y="382"/>
                    </a:lnTo>
                    <a:lnTo>
                      <a:pt x="1403" y="360"/>
                    </a:lnTo>
                    <a:lnTo>
                      <a:pt x="1382" y="341"/>
                    </a:lnTo>
                    <a:lnTo>
                      <a:pt x="1359" y="320"/>
                    </a:lnTo>
                    <a:lnTo>
                      <a:pt x="1336" y="302"/>
                    </a:lnTo>
                    <a:lnTo>
                      <a:pt x="1311" y="285"/>
                    </a:lnTo>
                    <a:lnTo>
                      <a:pt x="1286" y="267"/>
                    </a:lnTo>
                    <a:lnTo>
                      <a:pt x="1260" y="251"/>
                    </a:lnTo>
                    <a:lnTo>
                      <a:pt x="1260" y="251"/>
                    </a:lnTo>
                    <a:lnTo>
                      <a:pt x="1256" y="259"/>
                    </a:lnTo>
                    <a:lnTo>
                      <a:pt x="1256" y="259"/>
                    </a:lnTo>
                    <a:lnTo>
                      <a:pt x="1255" y="258"/>
                    </a:lnTo>
                    <a:lnTo>
                      <a:pt x="1255" y="258"/>
                    </a:lnTo>
                    <a:lnTo>
                      <a:pt x="1206" y="346"/>
                    </a:lnTo>
                    <a:lnTo>
                      <a:pt x="1206" y="346"/>
                    </a:lnTo>
                    <a:lnTo>
                      <a:pt x="1179" y="301"/>
                    </a:lnTo>
                    <a:lnTo>
                      <a:pt x="1151" y="258"/>
                    </a:lnTo>
                    <a:lnTo>
                      <a:pt x="1123" y="216"/>
                    </a:lnTo>
                    <a:lnTo>
                      <a:pt x="1095" y="176"/>
                    </a:lnTo>
                    <a:lnTo>
                      <a:pt x="1095" y="176"/>
                    </a:lnTo>
                    <a:lnTo>
                      <a:pt x="1069" y="141"/>
                    </a:lnTo>
                    <a:lnTo>
                      <a:pt x="1042" y="107"/>
                    </a:lnTo>
                    <a:lnTo>
                      <a:pt x="1017" y="74"/>
                    </a:lnTo>
                    <a:lnTo>
                      <a:pt x="990" y="44"/>
                    </a:lnTo>
                    <a:lnTo>
                      <a:pt x="990" y="44"/>
                    </a:lnTo>
                    <a:lnTo>
                      <a:pt x="1055" y="49"/>
                    </a:lnTo>
                    <a:lnTo>
                      <a:pt x="1119" y="56"/>
                    </a:lnTo>
                    <a:lnTo>
                      <a:pt x="1119" y="56"/>
                    </a:lnTo>
                    <a:lnTo>
                      <a:pt x="1174" y="64"/>
                    </a:lnTo>
                    <a:lnTo>
                      <a:pt x="1227" y="74"/>
                    </a:lnTo>
                    <a:lnTo>
                      <a:pt x="1279" y="86"/>
                    </a:lnTo>
                    <a:lnTo>
                      <a:pt x="1328" y="98"/>
                    </a:lnTo>
                    <a:lnTo>
                      <a:pt x="1328" y="98"/>
                    </a:lnTo>
                    <a:lnTo>
                      <a:pt x="1306" y="146"/>
                    </a:lnTo>
                    <a:lnTo>
                      <a:pt x="1306" y="146"/>
                    </a:lnTo>
                    <a:lnTo>
                      <a:pt x="1341" y="167"/>
                    </a:lnTo>
                    <a:lnTo>
                      <a:pt x="1375" y="191"/>
                    </a:lnTo>
                    <a:lnTo>
                      <a:pt x="1408" y="214"/>
                    </a:lnTo>
                    <a:lnTo>
                      <a:pt x="1440" y="240"/>
                    </a:lnTo>
                    <a:lnTo>
                      <a:pt x="1470" y="265"/>
                    </a:lnTo>
                    <a:lnTo>
                      <a:pt x="1500" y="292"/>
                    </a:lnTo>
                    <a:lnTo>
                      <a:pt x="1529" y="319"/>
                    </a:lnTo>
                    <a:lnTo>
                      <a:pt x="1555" y="348"/>
                    </a:lnTo>
                    <a:lnTo>
                      <a:pt x="1582" y="377"/>
                    </a:lnTo>
                    <a:lnTo>
                      <a:pt x="1606" y="407"/>
                    </a:lnTo>
                    <a:lnTo>
                      <a:pt x="1630" y="437"/>
                    </a:lnTo>
                    <a:lnTo>
                      <a:pt x="1652" y="467"/>
                    </a:lnTo>
                    <a:lnTo>
                      <a:pt x="1672" y="499"/>
                    </a:lnTo>
                    <a:lnTo>
                      <a:pt x="1692" y="530"/>
                    </a:lnTo>
                    <a:lnTo>
                      <a:pt x="1710" y="562"/>
                    </a:lnTo>
                    <a:lnTo>
                      <a:pt x="1727" y="595"/>
                    </a:lnTo>
                    <a:lnTo>
                      <a:pt x="1727" y="595"/>
                    </a:lnTo>
                    <a:lnTo>
                      <a:pt x="1743" y="629"/>
                    </a:lnTo>
                    <a:lnTo>
                      <a:pt x="1758" y="664"/>
                    </a:lnTo>
                    <a:lnTo>
                      <a:pt x="1771" y="700"/>
                    </a:lnTo>
                    <a:lnTo>
                      <a:pt x="1783" y="736"/>
                    </a:lnTo>
                    <a:lnTo>
                      <a:pt x="1794" y="772"/>
                    </a:lnTo>
                    <a:lnTo>
                      <a:pt x="1802" y="809"/>
                    </a:lnTo>
                    <a:lnTo>
                      <a:pt x="1809" y="847"/>
                    </a:lnTo>
                    <a:lnTo>
                      <a:pt x="1814" y="883"/>
                    </a:lnTo>
                    <a:lnTo>
                      <a:pt x="1818" y="921"/>
                    </a:lnTo>
                    <a:lnTo>
                      <a:pt x="1820" y="958"/>
                    </a:lnTo>
                    <a:lnTo>
                      <a:pt x="1820" y="995"/>
                    </a:lnTo>
                    <a:lnTo>
                      <a:pt x="1819" y="1032"/>
                    </a:lnTo>
                    <a:lnTo>
                      <a:pt x="1815" y="1069"/>
                    </a:lnTo>
                    <a:lnTo>
                      <a:pt x="1810" y="1105"/>
                    </a:lnTo>
                    <a:lnTo>
                      <a:pt x="1803" y="1140"/>
                    </a:lnTo>
                    <a:lnTo>
                      <a:pt x="1794" y="1176"/>
                    </a:lnTo>
                    <a:lnTo>
                      <a:pt x="1794" y="1176"/>
                    </a:lnTo>
                    <a:close/>
                    <a:moveTo>
                      <a:pt x="726" y="1225"/>
                    </a:moveTo>
                    <a:lnTo>
                      <a:pt x="726" y="1225"/>
                    </a:lnTo>
                    <a:lnTo>
                      <a:pt x="692" y="1206"/>
                    </a:lnTo>
                    <a:lnTo>
                      <a:pt x="660" y="1184"/>
                    </a:lnTo>
                    <a:lnTo>
                      <a:pt x="628" y="1162"/>
                    </a:lnTo>
                    <a:lnTo>
                      <a:pt x="599" y="1139"/>
                    </a:lnTo>
                    <a:lnTo>
                      <a:pt x="570" y="1115"/>
                    </a:lnTo>
                    <a:lnTo>
                      <a:pt x="543" y="1090"/>
                    </a:lnTo>
                    <a:lnTo>
                      <a:pt x="518" y="1065"/>
                    </a:lnTo>
                    <a:lnTo>
                      <a:pt x="495" y="1038"/>
                    </a:lnTo>
                    <a:lnTo>
                      <a:pt x="472" y="1011"/>
                    </a:lnTo>
                    <a:lnTo>
                      <a:pt x="452" y="983"/>
                    </a:lnTo>
                    <a:lnTo>
                      <a:pt x="432" y="955"/>
                    </a:lnTo>
                    <a:lnTo>
                      <a:pt x="415" y="926"/>
                    </a:lnTo>
                    <a:lnTo>
                      <a:pt x="399" y="898"/>
                    </a:lnTo>
                    <a:lnTo>
                      <a:pt x="384" y="868"/>
                    </a:lnTo>
                    <a:lnTo>
                      <a:pt x="372" y="837"/>
                    </a:lnTo>
                    <a:lnTo>
                      <a:pt x="361" y="808"/>
                    </a:lnTo>
                    <a:lnTo>
                      <a:pt x="352" y="777"/>
                    </a:lnTo>
                    <a:lnTo>
                      <a:pt x="345" y="747"/>
                    </a:lnTo>
                    <a:lnTo>
                      <a:pt x="338" y="716"/>
                    </a:lnTo>
                    <a:lnTo>
                      <a:pt x="334" y="687"/>
                    </a:lnTo>
                    <a:lnTo>
                      <a:pt x="332" y="656"/>
                    </a:lnTo>
                    <a:lnTo>
                      <a:pt x="332" y="625"/>
                    </a:lnTo>
                    <a:lnTo>
                      <a:pt x="333" y="596"/>
                    </a:lnTo>
                    <a:lnTo>
                      <a:pt x="336" y="566"/>
                    </a:lnTo>
                    <a:lnTo>
                      <a:pt x="342" y="537"/>
                    </a:lnTo>
                    <a:lnTo>
                      <a:pt x="349" y="507"/>
                    </a:lnTo>
                    <a:lnTo>
                      <a:pt x="357" y="478"/>
                    </a:lnTo>
                    <a:lnTo>
                      <a:pt x="367" y="450"/>
                    </a:lnTo>
                    <a:lnTo>
                      <a:pt x="379" y="422"/>
                    </a:lnTo>
                    <a:lnTo>
                      <a:pt x="395" y="396"/>
                    </a:lnTo>
                    <a:lnTo>
                      <a:pt x="410" y="369"/>
                    </a:lnTo>
                    <a:lnTo>
                      <a:pt x="428" y="344"/>
                    </a:lnTo>
                    <a:lnTo>
                      <a:pt x="428" y="344"/>
                    </a:lnTo>
                    <a:lnTo>
                      <a:pt x="446" y="323"/>
                    </a:lnTo>
                    <a:lnTo>
                      <a:pt x="446" y="323"/>
                    </a:lnTo>
                    <a:lnTo>
                      <a:pt x="461" y="306"/>
                    </a:lnTo>
                    <a:lnTo>
                      <a:pt x="476" y="290"/>
                    </a:lnTo>
                    <a:lnTo>
                      <a:pt x="492" y="274"/>
                    </a:lnTo>
                    <a:lnTo>
                      <a:pt x="509" y="260"/>
                    </a:lnTo>
                    <a:lnTo>
                      <a:pt x="527" y="247"/>
                    </a:lnTo>
                    <a:lnTo>
                      <a:pt x="544" y="234"/>
                    </a:lnTo>
                    <a:lnTo>
                      <a:pt x="564" y="222"/>
                    </a:lnTo>
                    <a:lnTo>
                      <a:pt x="583" y="211"/>
                    </a:lnTo>
                    <a:lnTo>
                      <a:pt x="603" y="200"/>
                    </a:lnTo>
                    <a:lnTo>
                      <a:pt x="623" y="191"/>
                    </a:lnTo>
                    <a:lnTo>
                      <a:pt x="644" y="182"/>
                    </a:lnTo>
                    <a:lnTo>
                      <a:pt x="666" y="174"/>
                    </a:lnTo>
                    <a:lnTo>
                      <a:pt x="687" y="167"/>
                    </a:lnTo>
                    <a:lnTo>
                      <a:pt x="709" y="161"/>
                    </a:lnTo>
                    <a:lnTo>
                      <a:pt x="731" y="155"/>
                    </a:lnTo>
                    <a:lnTo>
                      <a:pt x="754" y="151"/>
                    </a:lnTo>
                    <a:lnTo>
                      <a:pt x="754" y="151"/>
                    </a:lnTo>
                    <a:lnTo>
                      <a:pt x="724" y="110"/>
                    </a:lnTo>
                    <a:lnTo>
                      <a:pt x="693" y="71"/>
                    </a:lnTo>
                    <a:lnTo>
                      <a:pt x="664" y="35"/>
                    </a:lnTo>
                    <a:lnTo>
                      <a:pt x="635" y="0"/>
                    </a:lnTo>
                    <a:lnTo>
                      <a:pt x="635" y="0"/>
                    </a:lnTo>
                    <a:lnTo>
                      <a:pt x="601" y="6"/>
                    </a:lnTo>
                    <a:lnTo>
                      <a:pt x="567" y="12"/>
                    </a:lnTo>
                    <a:lnTo>
                      <a:pt x="533" y="20"/>
                    </a:lnTo>
                    <a:lnTo>
                      <a:pt x="500" y="31"/>
                    </a:lnTo>
                    <a:lnTo>
                      <a:pt x="468" y="41"/>
                    </a:lnTo>
                    <a:lnTo>
                      <a:pt x="435" y="53"/>
                    </a:lnTo>
                    <a:lnTo>
                      <a:pt x="404" y="67"/>
                    </a:lnTo>
                    <a:lnTo>
                      <a:pt x="373" y="82"/>
                    </a:lnTo>
                    <a:lnTo>
                      <a:pt x="344" y="98"/>
                    </a:lnTo>
                    <a:lnTo>
                      <a:pt x="314" y="115"/>
                    </a:lnTo>
                    <a:lnTo>
                      <a:pt x="285" y="134"/>
                    </a:lnTo>
                    <a:lnTo>
                      <a:pt x="258" y="154"/>
                    </a:lnTo>
                    <a:lnTo>
                      <a:pt x="232" y="175"/>
                    </a:lnTo>
                    <a:lnTo>
                      <a:pt x="207" y="198"/>
                    </a:lnTo>
                    <a:lnTo>
                      <a:pt x="182" y="221"/>
                    </a:lnTo>
                    <a:lnTo>
                      <a:pt x="160" y="247"/>
                    </a:lnTo>
                    <a:lnTo>
                      <a:pt x="160" y="247"/>
                    </a:lnTo>
                    <a:lnTo>
                      <a:pt x="146" y="263"/>
                    </a:lnTo>
                    <a:lnTo>
                      <a:pt x="132" y="281"/>
                    </a:lnTo>
                    <a:lnTo>
                      <a:pt x="120" y="298"/>
                    </a:lnTo>
                    <a:lnTo>
                      <a:pt x="108" y="315"/>
                    </a:lnTo>
                    <a:lnTo>
                      <a:pt x="97" y="334"/>
                    </a:lnTo>
                    <a:lnTo>
                      <a:pt x="86" y="352"/>
                    </a:lnTo>
                    <a:lnTo>
                      <a:pt x="76" y="370"/>
                    </a:lnTo>
                    <a:lnTo>
                      <a:pt x="66" y="390"/>
                    </a:lnTo>
                    <a:lnTo>
                      <a:pt x="58" y="408"/>
                    </a:lnTo>
                    <a:lnTo>
                      <a:pt x="50" y="427"/>
                    </a:lnTo>
                    <a:lnTo>
                      <a:pt x="42" y="447"/>
                    </a:lnTo>
                    <a:lnTo>
                      <a:pt x="36" y="466"/>
                    </a:lnTo>
                    <a:lnTo>
                      <a:pt x="28" y="487"/>
                    </a:lnTo>
                    <a:lnTo>
                      <a:pt x="23" y="507"/>
                    </a:lnTo>
                    <a:lnTo>
                      <a:pt x="18" y="526"/>
                    </a:lnTo>
                    <a:lnTo>
                      <a:pt x="14" y="547"/>
                    </a:lnTo>
                    <a:lnTo>
                      <a:pt x="10" y="568"/>
                    </a:lnTo>
                    <a:lnTo>
                      <a:pt x="7" y="589"/>
                    </a:lnTo>
                    <a:lnTo>
                      <a:pt x="4" y="609"/>
                    </a:lnTo>
                    <a:lnTo>
                      <a:pt x="2" y="630"/>
                    </a:lnTo>
                    <a:lnTo>
                      <a:pt x="0" y="672"/>
                    </a:lnTo>
                    <a:lnTo>
                      <a:pt x="0" y="714"/>
                    </a:lnTo>
                    <a:lnTo>
                      <a:pt x="3" y="757"/>
                    </a:lnTo>
                    <a:lnTo>
                      <a:pt x="8" y="800"/>
                    </a:lnTo>
                    <a:lnTo>
                      <a:pt x="15" y="843"/>
                    </a:lnTo>
                    <a:lnTo>
                      <a:pt x="24" y="885"/>
                    </a:lnTo>
                    <a:lnTo>
                      <a:pt x="24" y="885"/>
                    </a:lnTo>
                    <a:lnTo>
                      <a:pt x="32" y="909"/>
                    </a:lnTo>
                    <a:lnTo>
                      <a:pt x="39" y="933"/>
                    </a:lnTo>
                    <a:lnTo>
                      <a:pt x="46" y="957"/>
                    </a:lnTo>
                    <a:lnTo>
                      <a:pt x="55" y="980"/>
                    </a:lnTo>
                    <a:lnTo>
                      <a:pt x="64" y="1004"/>
                    </a:lnTo>
                    <a:lnTo>
                      <a:pt x="74" y="1027"/>
                    </a:lnTo>
                    <a:lnTo>
                      <a:pt x="85" y="1050"/>
                    </a:lnTo>
                    <a:lnTo>
                      <a:pt x="96" y="1073"/>
                    </a:lnTo>
                    <a:lnTo>
                      <a:pt x="108" y="1096"/>
                    </a:lnTo>
                    <a:lnTo>
                      <a:pt x="120" y="1118"/>
                    </a:lnTo>
                    <a:lnTo>
                      <a:pt x="134" y="1140"/>
                    </a:lnTo>
                    <a:lnTo>
                      <a:pt x="147" y="1162"/>
                    </a:lnTo>
                    <a:lnTo>
                      <a:pt x="162" y="1184"/>
                    </a:lnTo>
                    <a:lnTo>
                      <a:pt x="177" y="1206"/>
                    </a:lnTo>
                    <a:lnTo>
                      <a:pt x="193" y="1227"/>
                    </a:lnTo>
                    <a:lnTo>
                      <a:pt x="209" y="1248"/>
                    </a:lnTo>
                    <a:lnTo>
                      <a:pt x="226" y="1268"/>
                    </a:lnTo>
                    <a:lnTo>
                      <a:pt x="244" y="1288"/>
                    </a:lnTo>
                    <a:lnTo>
                      <a:pt x="262" y="1309"/>
                    </a:lnTo>
                    <a:lnTo>
                      <a:pt x="281" y="1328"/>
                    </a:lnTo>
                    <a:lnTo>
                      <a:pt x="301" y="1348"/>
                    </a:lnTo>
                    <a:lnTo>
                      <a:pt x="320" y="1367"/>
                    </a:lnTo>
                    <a:lnTo>
                      <a:pt x="342" y="1385"/>
                    </a:lnTo>
                    <a:lnTo>
                      <a:pt x="363" y="1403"/>
                    </a:lnTo>
                    <a:lnTo>
                      <a:pt x="384" y="1421"/>
                    </a:lnTo>
                    <a:lnTo>
                      <a:pt x="407" y="1438"/>
                    </a:lnTo>
                    <a:lnTo>
                      <a:pt x="430" y="1455"/>
                    </a:lnTo>
                    <a:lnTo>
                      <a:pt x="454" y="1471"/>
                    </a:lnTo>
                    <a:lnTo>
                      <a:pt x="477" y="1487"/>
                    </a:lnTo>
                    <a:lnTo>
                      <a:pt x="503" y="1503"/>
                    </a:lnTo>
                    <a:lnTo>
                      <a:pt x="528" y="1518"/>
                    </a:lnTo>
                    <a:lnTo>
                      <a:pt x="554" y="1532"/>
                    </a:lnTo>
                    <a:lnTo>
                      <a:pt x="554" y="1532"/>
                    </a:lnTo>
                    <a:lnTo>
                      <a:pt x="444" y="1724"/>
                    </a:lnTo>
                    <a:lnTo>
                      <a:pt x="444" y="1724"/>
                    </a:lnTo>
                    <a:lnTo>
                      <a:pt x="591" y="1690"/>
                    </a:lnTo>
                    <a:lnTo>
                      <a:pt x="738" y="1657"/>
                    </a:lnTo>
                    <a:lnTo>
                      <a:pt x="884" y="1622"/>
                    </a:lnTo>
                    <a:lnTo>
                      <a:pt x="1027" y="1586"/>
                    </a:lnTo>
                    <a:lnTo>
                      <a:pt x="1027" y="1586"/>
                    </a:lnTo>
                    <a:lnTo>
                      <a:pt x="982" y="1448"/>
                    </a:lnTo>
                    <a:lnTo>
                      <a:pt x="934" y="1310"/>
                    </a:lnTo>
                    <a:lnTo>
                      <a:pt x="885" y="1172"/>
                    </a:lnTo>
                    <a:lnTo>
                      <a:pt x="834" y="1034"/>
                    </a:lnTo>
                    <a:lnTo>
                      <a:pt x="834" y="1034"/>
                    </a:lnTo>
                    <a:lnTo>
                      <a:pt x="770" y="1149"/>
                    </a:lnTo>
                    <a:lnTo>
                      <a:pt x="726" y="1225"/>
                    </a:lnTo>
                    <a:lnTo>
                      <a:pt x="726" y="1225"/>
                    </a:lnTo>
                    <a:close/>
                  </a:path>
                </a:pathLst>
              </a:custGeom>
              <a:solidFill>
                <a:srgbClr val="214794"/>
              </a:solidFill>
              <a:ln>
                <a:noFill/>
              </a:ln>
            </p:spPr>
            <p:txBody>
              <a:bodyPr vert="horz" wrap="square" lIns="91440" tIns="45720" rIns="91440" bIns="45720" numCol="1" anchor="t" anchorCtr="0" compatLnSpc="1">
                <a:prstTxWarp prst="textNoShape">
                  <a:avLst/>
                </a:prstTxWarp>
              </a:bodyPr>
              <a:lstStyle/>
              <a:p>
                <a:pPr defTabSz="685800" fontAlgn="auto">
                  <a:spcBef>
                    <a:spcPts val="0"/>
                  </a:spcBef>
                  <a:spcAft>
                    <a:spcPts val="0"/>
                  </a:spcAft>
                  <a:defRPr/>
                </a:pPr>
                <a:endParaRPr lang="en-US" sz="700" kern="0">
                  <a:solidFill>
                    <a:srgbClr val="676767"/>
                  </a:solidFill>
                  <a:latin typeface="メイリオ"/>
                  <a:ea typeface="メイリオ"/>
                  <a:cs typeface="メイリオ"/>
                </a:endParaRPr>
              </a:p>
            </p:txBody>
          </p:sp>
        </p:grpSp>
      </p:grpSp>
    </p:spTree>
    <p:extLst>
      <p:ext uri="{BB962C8B-B14F-4D97-AF65-F5344CB8AC3E}">
        <p14:creationId xmlns:p14="http://schemas.microsoft.com/office/powerpoint/2010/main" val="71965725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277608" cy="443295"/>
          </a:xfrm>
        </p:spPr>
        <p:txBody>
          <a:bodyPr/>
          <a:lstStyle/>
          <a:p>
            <a:r>
              <a:rPr kumimoji="1" lang="ja-JP" altLang="en-US" dirty="0" smtClean="0"/>
              <a:t>オンボーディング</a:t>
            </a:r>
            <a:endParaRPr kumimoji="1" lang="ja-JP" altLang="en-US" dirty="0"/>
          </a:p>
        </p:txBody>
      </p:sp>
      <p:sp>
        <p:nvSpPr>
          <p:cNvPr id="18" name="Rectangle 15"/>
          <p:cNvSpPr/>
          <p:nvPr/>
        </p:nvSpPr>
        <p:spPr>
          <a:xfrm>
            <a:off x="269314" y="588270"/>
            <a:ext cx="8282770"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nvGrpSpPr>
          <p:cNvPr id="19" name="Group 3"/>
          <p:cNvGrpSpPr/>
          <p:nvPr/>
        </p:nvGrpSpPr>
        <p:grpSpPr>
          <a:xfrm>
            <a:off x="341704" y="664322"/>
            <a:ext cx="3204209" cy="3381030"/>
            <a:chOff x="3634740" y="1676252"/>
            <a:chExt cx="3204209" cy="3381030"/>
          </a:xfrm>
        </p:grpSpPr>
        <p:sp>
          <p:nvSpPr>
            <p:cNvPr id="20" name="Rectangle 107"/>
            <p:cNvSpPr/>
            <p:nvPr/>
          </p:nvSpPr>
          <p:spPr>
            <a:xfrm>
              <a:off x="3634740" y="1676252"/>
              <a:ext cx="3204209" cy="3430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latin typeface="メイリオ"/>
                  <a:ea typeface="メイリオ"/>
                  <a:cs typeface="メイリオ"/>
                </a:rPr>
                <a:t>シンプルなインターフェイスで登録</a:t>
              </a:r>
              <a:endParaRPr lang="en-US" sz="1200" b="1" dirty="0">
                <a:latin typeface="メイリオ"/>
                <a:ea typeface="メイリオ"/>
                <a:cs typeface="メイリオ"/>
              </a:endParaRPr>
            </a:p>
          </p:txBody>
        </p:sp>
        <p:grpSp>
          <p:nvGrpSpPr>
            <p:cNvPr id="21" name="Group 109"/>
            <p:cNvGrpSpPr/>
            <p:nvPr/>
          </p:nvGrpSpPr>
          <p:grpSpPr>
            <a:xfrm>
              <a:off x="3664370" y="3200451"/>
              <a:ext cx="3144948" cy="1856831"/>
              <a:chOff x="3999754" y="1663047"/>
              <a:chExt cx="7278592" cy="4297406"/>
            </a:xfrm>
          </p:grpSpPr>
          <p:pic>
            <p:nvPicPr>
              <p:cNvPr id="22" name="Picture 110"/>
              <p:cNvPicPr>
                <a:picLocks noChangeAspect="1"/>
              </p:cNvPicPr>
              <p:nvPr/>
            </p:nvPicPr>
            <p:blipFill>
              <a:blip r:embed="rId3"/>
              <a:stretch>
                <a:fillRect/>
              </a:stretch>
            </p:blipFill>
            <p:spPr>
              <a:xfrm>
                <a:off x="5085896" y="1805278"/>
                <a:ext cx="5146124" cy="2742391"/>
              </a:xfrm>
              <a:prstGeom prst="rect">
                <a:avLst/>
              </a:prstGeom>
            </p:spPr>
          </p:pic>
          <p:sp>
            <p:nvSpPr>
              <p:cNvPr id="23" name="Rectangle 111"/>
              <p:cNvSpPr/>
              <p:nvPr/>
            </p:nvSpPr>
            <p:spPr>
              <a:xfrm>
                <a:off x="5085896" y="4478219"/>
                <a:ext cx="5146124" cy="228935"/>
              </a:xfrm>
              <a:prstGeom prst="rect">
                <a:avLst/>
              </a:prstGeom>
              <a:solidFill>
                <a:srgbClr val="1E2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pic>
            <p:nvPicPr>
              <p:cNvPr id="24" name="Picture 112"/>
              <p:cNvPicPr>
                <a:picLocks noChangeAspect="1"/>
              </p:cNvPicPr>
              <p:nvPr/>
            </p:nvPicPr>
            <p:blipFill rotWithShape="1">
              <a:blip r:embed="rId4" cstate="print">
                <a:extLst>
                  <a:ext uri="{28A0092B-C50C-407E-A947-70E740481C1C}">
                    <a14:useLocalDpi xmlns:a14="http://schemas.microsoft.com/office/drawing/2010/main" val="0"/>
                  </a:ext>
                </a:extLst>
              </a:blip>
              <a:srcRect l="6785" t="10025" r="6826" b="10603"/>
              <a:stretch/>
            </p:blipFill>
            <p:spPr>
              <a:xfrm>
                <a:off x="3999754" y="1663047"/>
                <a:ext cx="7278592" cy="4297406"/>
              </a:xfrm>
              <a:custGeom>
                <a:avLst/>
                <a:gdLst>
                  <a:gd name="connsiteX0" fmla="*/ 1105646 w 7278592"/>
                  <a:gd name="connsiteY0" fmla="*/ 164963 h 4297406"/>
                  <a:gd name="connsiteX1" fmla="*/ 1105646 w 7278592"/>
                  <a:gd name="connsiteY1" fmla="*/ 3030082 h 4297406"/>
                  <a:gd name="connsiteX2" fmla="*/ 6218666 w 7278592"/>
                  <a:gd name="connsiteY2" fmla="*/ 3030082 h 4297406"/>
                  <a:gd name="connsiteX3" fmla="*/ 6218666 w 7278592"/>
                  <a:gd name="connsiteY3" fmla="*/ 164963 h 4297406"/>
                  <a:gd name="connsiteX4" fmla="*/ 0 w 7278592"/>
                  <a:gd name="connsiteY4" fmla="*/ 0 h 4297406"/>
                  <a:gd name="connsiteX5" fmla="*/ 7278592 w 7278592"/>
                  <a:gd name="connsiteY5" fmla="*/ 0 h 4297406"/>
                  <a:gd name="connsiteX6" fmla="*/ 7278592 w 7278592"/>
                  <a:gd name="connsiteY6" fmla="*/ 4297406 h 4297406"/>
                  <a:gd name="connsiteX7" fmla="*/ 0 w 7278592"/>
                  <a:gd name="connsiteY7" fmla="*/ 4297406 h 4297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8592" h="4297406">
                    <a:moveTo>
                      <a:pt x="1105646" y="164963"/>
                    </a:moveTo>
                    <a:lnTo>
                      <a:pt x="1105646" y="3030082"/>
                    </a:lnTo>
                    <a:lnTo>
                      <a:pt x="6218666" y="3030082"/>
                    </a:lnTo>
                    <a:lnTo>
                      <a:pt x="6218666" y="164963"/>
                    </a:lnTo>
                    <a:close/>
                    <a:moveTo>
                      <a:pt x="0" y="0"/>
                    </a:moveTo>
                    <a:lnTo>
                      <a:pt x="7278592" y="0"/>
                    </a:lnTo>
                    <a:lnTo>
                      <a:pt x="7278592" y="4297406"/>
                    </a:lnTo>
                    <a:lnTo>
                      <a:pt x="0" y="4297406"/>
                    </a:lnTo>
                    <a:close/>
                  </a:path>
                </a:pathLst>
              </a:custGeom>
            </p:spPr>
          </p:pic>
        </p:grpSp>
      </p:grpSp>
      <p:grpSp>
        <p:nvGrpSpPr>
          <p:cNvPr id="25" name="Group 5"/>
          <p:cNvGrpSpPr/>
          <p:nvPr/>
        </p:nvGrpSpPr>
        <p:grpSpPr>
          <a:xfrm>
            <a:off x="3622114" y="664322"/>
            <a:ext cx="4790715" cy="4241268"/>
            <a:chOff x="6915150" y="1676252"/>
            <a:chExt cx="4790715" cy="4241268"/>
          </a:xfrm>
        </p:grpSpPr>
        <p:sp>
          <p:nvSpPr>
            <p:cNvPr id="26" name="Freeform 76"/>
            <p:cNvSpPr/>
            <p:nvPr/>
          </p:nvSpPr>
          <p:spPr>
            <a:xfrm>
              <a:off x="7192202" y="3578961"/>
              <a:ext cx="1504124" cy="912718"/>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2">
                <a:lumMod val="20000"/>
                <a:lumOff val="80000"/>
              </a:schemeClr>
            </a:solidFill>
            <a:ln w="158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メイリオ"/>
                <a:ea typeface="メイリオ"/>
                <a:cs typeface="メイリオ"/>
              </a:endParaRPr>
            </a:p>
          </p:txBody>
        </p:sp>
        <p:sp>
          <p:nvSpPr>
            <p:cNvPr id="27" name="Freeform 85"/>
            <p:cNvSpPr/>
            <p:nvPr/>
          </p:nvSpPr>
          <p:spPr>
            <a:xfrm>
              <a:off x="8257311" y="2095095"/>
              <a:ext cx="1755707" cy="1065381"/>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2">
                <a:lumMod val="20000"/>
                <a:lumOff val="80000"/>
              </a:schemeClr>
            </a:solidFill>
            <a:ln w="15875">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274320" rIns="182880" bIns="91440" rtlCol="0" anchor="ctr"/>
            <a:lstStyle/>
            <a:p>
              <a:pPr algn="ctr"/>
              <a:r>
                <a:rPr lang="en-US" sz="1400" dirty="0">
                  <a:solidFill>
                    <a:schemeClr val="tx1"/>
                  </a:solidFill>
                  <a:latin typeface="メイリオ"/>
                  <a:ea typeface="メイリオ"/>
                  <a:cs typeface="メイリオ"/>
                </a:rPr>
                <a:t>Cisco Defense Orchestrator</a:t>
              </a:r>
            </a:p>
          </p:txBody>
        </p:sp>
        <p:sp>
          <p:nvSpPr>
            <p:cNvPr id="28" name="Freeform 29"/>
            <p:cNvSpPr>
              <a:spLocks noChangeAspect="1" noEditPoints="1"/>
            </p:cNvSpPr>
            <p:nvPr/>
          </p:nvSpPr>
          <p:spPr bwMode="auto">
            <a:xfrm>
              <a:off x="10453987" y="3482482"/>
              <a:ext cx="442614" cy="312254"/>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tx1"/>
            </a:solidFill>
            <a:ln>
              <a:noFill/>
            </a:ln>
            <a:effectLst/>
          </p:spPr>
          <p:txBody>
            <a:bodyPr vert="horz" wrap="square" lIns="68559" tIns="34280" rIns="68559" bIns="34280" numCol="1" anchor="t" anchorCtr="0" compatLnSpc="1">
              <a:prstTxWarp prst="textNoShape">
                <a:avLst/>
              </a:prstTxWarp>
            </a:bodyPr>
            <a:lstStyle/>
            <a:p>
              <a:pPr defTabSz="684490" fontAlgn="base">
                <a:spcBef>
                  <a:spcPct val="0"/>
                </a:spcBef>
                <a:spcAft>
                  <a:spcPct val="0"/>
                </a:spcAft>
                <a:defRPr/>
              </a:pPr>
              <a:endParaRPr lang="en-US" kern="0" dirty="0">
                <a:solidFill>
                  <a:srgbClr val="0096D6"/>
                </a:solidFill>
                <a:latin typeface="メイリオ"/>
                <a:ea typeface="メイリオ"/>
                <a:cs typeface="メイリオ"/>
              </a:endParaRPr>
            </a:p>
          </p:txBody>
        </p:sp>
        <p:sp>
          <p:nvSpPr>
            <p:cNvPr id="29" name="Can 87"/>
            <p:cNvSpPr/>
            <p:nvPr/>
          </p:nvSpPr>
          <p:spPr>
            <a:xfrm rot="5400000">
              <a:off x="10425972" y="3474624"/>
              <a:ext cx="358975" cy="1801478"/>
            </a:xfrm>
            <a:prstGeom prst="can">
              <a:avLst/>
            </a:prstGeom>
            <a:solidFill>
              <a:schemeClr val="accent2">
                <a:lumMod val="20000"/>
                <a:lumOff val="80000"/>
              </a:schemeClr>
            </a:solidFill>
            <a:ln w="158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100" dirty="0" smtClean="0">
                  <a:solidFill>
                    <a:schemeClr val="tx1"/>
                  </a:solidFill>
                  <a:latin typeface="メイリオ"/>
                  <a:ea typeface="メイリオ"/>
                  <a:cs typeface="メイリオ"/>
                </a:rPr>
                <a:t>お客様ネットワーク</a:t>
              </a:r>
              <a:endParaRPr lang="en-US" sz="1100" dirty="0">
                <a:solidFill>
                  <a:schemeClr val="tx1"/>
                </a:solidFill>
                <a:latin typeface="メイリオ"/>
                <a:ea typeface="メイリオ"/>
                <a:cs typeface="メイリオ"/>
              </a:endParaRPr>
            </a:p>
          </p:txBody>
        </p:sp>
        <p:cxnSp>
          <p:nvCxnSpPr>
            <p:cNvPr id="30" name="Straight Connector 93"/>
            <p:cNvCxnSpPr/>
            <p:nvPr/>
          </p:nvCxnSpPr>
          <p:spPr>
            <a:xfrm flipV="1">
              <a:off x="10122005" y="4583279"/>
              <a:ext cx="0" cy="323823"/>
            </a:xfrm>
            <a:prstGeom prst="line">
              <a:avLst/>
            </a:prstGeom>
            <a:ln w="9525">
              <a:solidFill>
                <a:schemeClr val="accent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31" name="Elbow Connector 29"/>
            <p:cNvCxnSpPr>
              <a:stCxn id="26" idx="0"/>
              <a:endCxn id="27" idx="19"/>
            </p:cNvCxnSpPr>
            <p:nvPr/>
          </p:nvCxnSpPr>
          <p:spPr>
            <a:xfrm flipV="1">
              <a:off x="7823127" y="2805349"/>
              <a:ext cx="434184" cy="773612"/>
            </a:xfrm>
            <a:prstGeom prst="bentConnector3">
              <a:avLst>
                <a:gd name="adj1" fmla="val -11166"/>
              </a:avLst>
            </a:prstGeom>
            <a:ln w="9525">
              <a:solidFill>
                <a:schemeClr val="accent2"/>
              </a:solidFill>
              <a:tailEnd type="triangle" w="med" len="sm"/>
            </a:ln>
          </p:spPr>
          <p:style>
            <a:lnRef idx="1">
              <a:schemeClr val="accent1"/>
            </a:lnRef>
            <a:fillRef idx="0">
              <a:schemeClr val="accent1"/>
            </a:fillRef>
            <a:effectRef idx="0">
              <a:schemeClr val="accent1"/>
            </a:effectRef>
            <a:fontRef idx="minor">
              <a:schemeClr val="tx1"/>
            </a:fontRef>
          </p:style>
        </p:cxnSp>
        <p:sp>
          <p:nvSpPr>
            <p:cNvPr id="32" name="TextBox 99"/>
            <p:cNvSpPr txBox="1"/>
            <p:nvPr/>
          </p:nvSpPr>
          <p:spPr>
            <a:xfrm>
              <a:off x="7170493" y="5486632"/>
              <a:ext cx="1525834" cy="430887"/>
            </a:xfrm>
            <a:prstGeom prst="rect">
              <a:avLst/>
            </a:prstGeom>
            <a:solidFill>
              <a:schemeClr val="bg1">
                <a:lumMod val="95000"/>
              </a:schemeClr>
            </a:solidFill>
          </p:spPr>
          <p:txBody>
            <a:bodyPr wrap="square" rtlCol="0">
              <a:noAutofit/>
            </a:bodyPr>
            <a:lstStyle/>
            <a:p>
              <a:pPr algn="ctr"/>
              <a:r>
                <a:rPr lang="ja-JP" altLang="en-US" sz="1100" dirty="0" smtClean="0">
                  <a:latin typeface="メイリオ"/>
                  <a:ea typeface="メイリオ"/>
                  <a:cs typeface="メイリオ"/>
                </a:rPr>
                <a:t>インターネット接続</a:t>
              </a:r>
              <a:endParaRPr lang="en-US" sz="1100" dirty="0">
                <a:latin typeface="メイリオ"/>
                <a:ea typeface="メイリオ"/>
                <a:cs typeface="メイリオ"/>
              </a:endParaRPr>
            </a:p>
          </p:txBody>
        </p:sp>
        <p:sp>
          <p:nvSpPr>
            <p:cNvPr id="33" name="TextBox 100"/>
            <p:cNvSpPr txBox="1"/>
            <p:nvPr/>
          </p:nvSpPr>
          <p:spPr>
            <a:xfrm>
              <a:off x="9620038" y="5486633"/>
              <a:ext cx="2085827" cy="430887"/>
            </a:xfrm>
            <a:prstGeom prst="rect">
              <a:avLst/>
            </a:prstGeom>
            <a:solidFill>
              <a:schemeClr val="bg1">
                <a:lumMod val="95000"/>
              </a:schemeClr>
            </a:solidFill>
          </p:spPr>
          <p:txBody>
            <a:bodyPr wrap="square" rtlCol="0">
              <a:noAutofit/>
            </a:bodyPr>
            <a:lstStyle/>
            <a:p>
              <a:pPr algn="ctr"/>
              <a:r>
                <a:rPr lang="ja-JP" altLang="en-US" sz="1100" dirty="0" smtClean="0">
                  <a:latin typeface="メイリオ"/>
                  <a:ea typeface="メイリオ"/>
                  <a:cs typeface="メイリオ"/>
                </a:rPr>
                <a:t>インタ</a:t>
              </a:r>
              <a:r>
                <a:rPr lang="en-US" altLang="ja-JP" sz="1100" dirty="0" smtClean="0">
                  <a:latin typeface="メイリオ"/>
                  <a:ea typeface="メイリオ"/>
                  <a:cs typeface="メイリオ"/>
                </a:rPr>
                <a:t>〜</a:t>
              </a:r>
              <a:r>
                <a:rPr lang="ja-JP" altLang="en-US" sz="1100" dirty="0" smtClean="0">
                  <a:latin typeface="メイリオ"/>
                  <a:ea typeface="メイリオ"/>
                  <a:cs typeface="メイリオ"/>
                </a:rPr>
                <a:t>ネット接続なし</a:t>
              </a:r>
              <a:r>
                <a:rPr lang="en-US" altLang="ja-JP" sz="1100" dirty="0" smtClean="0">
                  <a:latin typeface="メイリオ"/>
                  <a:ea typeface="メイリオ"/>
                  <a:cs typeface="メイリオ"/>
                </a:rPr>
                <a:t>Secure</a:t>
              </a:r>
              <a:r>
                <a:rPr lang="ja-JP" altLang="en-US" sz="1100" dirty="0" smtClean="0">
                  <a:latin typeface="メイリオ"/>
                  <a:ea typeface="メイリオ"/>
                  <a:cs typeface="メイリオ"/>
                </a:rPr>
                <a:t> </a:t>
              </a:r>
              <a:r>
                <a:rPr lang="en-US" altLang="ja-JP" sz="1100" dirty="0" smtClean="0">
                  <a:latin typeface="メイリオ"/>
                  <a:ea typeface="メイリオ"/>
                  <a:cs typeface="メイリオ"/>
                </a:rPr>
                <a:t>Data</a:t>
              </a:r>
              <a:r>
                <a:rPr lang="ja-JP" altLang="en-US" sz="1100" dirty="0" smtClean="0">
                  <a:latin typeface="メイリオ"/>
                  <a:ea typeface="メイリオ"/>
                  <a:cs typeface="メイリオ"/>
                </a:rPr>
                <a:t> </a:t>
              </a:r>
              <a:r>
                <a:rPr lang="en-US" altLang="ja-JP" sz="1100" dirty="0" smtClean="0">
                  <a:latin typeface="メイリオ"/>
                  <a:ea typeface="メイリオ"/>
                  <a:cs typeface="メイリオ"/>
                </a:rPr>
                <a:t>Connector</a:t>
              </a:r>
              <a:endParaRPr lang="en-US" sz="1100" dirty="0">
                <a:latin typeface="メイリオ"/>
                <a:ea typeface="メイリオ"/>
                <a:cs typeface="メイリオ"/>
              </a:endParaRPr>
            </a:p>
          </p:txBody>
        </p:sp>
        <p:grpSp>
          <p:nvGrpSpPr>
            <p:cNvPr id="34" name="Group 6"/>
            <p:cNvGrpSpPr/>
            <p:nvPr/>
          </p:nvGrpSpPr>
          <p:grpSpPr>
            <a:xfrm>
              <a:off x="7480540" y="3864322"/>
              <a:ext cx="710840" cy="524992"/>
              <a:chOff x="7161110" y="9124983"/>
              <a:chExt cx="710840" cy="524992"/>
            </a:xfrm>
          </p:grpSpPr>
          <p:sp>
            <p:nvSpPr>
              <p:cNvPr id="47" name="Freeform 81"/>
              <p:cNvSpPr/>
              <p:nvPr/>
            </p:nvSpPr>
            <p:spPr>
              <a:xfrm>
                <a:off x="7217087" y="9124983"/>
                <a:ext cx="608836" cy="524992"/>
              </a:xfrm>
              <a:custGeom>
                <a:avLst/>
                <a:gdLst>
                  <a:gd name="connsiteX0" fmla="*/ 2585721 w 5802925"/>
                  <a:gd name="connsiteY0" fmla="*/ 3984041 h 5003800"/>
                  <a:gd name="connsiteX1" fmla="*/ 2326033 w 5802925"/>
                  <a:gd name="connsiteY1" fmla="*/ 4243729 h 5003800"/>
                  <a:gd name="connsiteX2" fmla="*/ 2585721 w 5802925"/>
                  <a:gd name="connsiteY2" fmla="*/ 4503417 h 5003800"/>
                  <a:gd name="connsiteX3" fmla="*/ 2845409 w 5802925"/>
                  <a:gd name="connsiteY3" fmla="*/ 4243729 h 5003800"/>
                  <a:gd name="connsiteX4" fmla="*/ 2585721 w 5802925"/>
                  <a:gd name="connsiteY4" fmla="*/ 3984041 h 5003800"/>
                  <a:gd name="connsiteX5" fmla="*/ 356212 w 5802925"/>
                  <a:gd name="connsiteY5" fmla="*/ 2716601 h 5003800"/>
                  <a:gd name="connsiteX6" fmla="*/ 96524 w 5802925"/>
                  <a:gd name="connsiteY6" fmla="*/ 2976289 h 5003800"/>
                  <a:gd name="connsiteX7" fmla="*/ 356212 w 5802925"/>
                  <a:gd name="connsiteY7" fmla="*/ 3235977 h 5003800"/>
                  <a:gd name="connsiteX8" fmla="*/ 615901 w 5802925"/>
                  <a:gd name="connsiteY8" fmla="*/ 2976289 h 5003800"/>
                  <a:gd name="connsiteX9" fmla="*/ 356212 w 5802925"/>
                  <a:gd name="connsiteY9" fmla="*/ 2716601 h 5003800"/>
                  <a:gd name="connsiteX10" fmla="*/ 5153100 w 5802925"/>
                  <a:gd name="connsiteY10" fmla="*/ 2270968 h 5003800"/>
                  <a:gd name="connsiteX11" fmla="*/ 5188915 w 5802925"/>
                  <a:gd name="connsiteY11" fmla="*/ 2314376 h 5003800"/>
                  <a:gd name="connsiteX12" fmla="*/ 5311224 w 5802925"/>
                  <a:gd name="connsiteY12" fmla="*/ 2396840 h 5003800"/>
                  <a:gd name="connsiteX13" fmla="*/ 5355401 w 5802925"/>
                  <a:gd name="connsiteY13" fmla="*/ 2410553 h 5003800"/>
                  <a:gd name="connsiteX14" fmla="*/ 5360013 w 5802925"/>
                  <a:gd name="connsiteY14" fmla="*/ 2501900 h 5003800"/>
                  <a:gd name="connsiteX15" fmla="*/ 2858113 w 5802925"/>
                  <a:gd name="connsiteY15" fmla="*/ 5003800 h 5003800"/>
                  <a:gd name="connsiteX16" fmla="*/ 552825 w 5802925"/>
                  <a:gd name="connsiteY16" fmla="*/ 3475753 h 5003800"/>
                  <a:gd name="connsiteX17" fmla="*/ 495953 w 5802925"/>
                  <a:gd name="connsiteY17" fmla="*/ 3320367 h 5003800"/>
                  <a:gd name="connsiteX18" fmla="*/ 500915 w 5802925"/>
                  <a:gd name="connsiteY18" fmla="*/ 3318826 h 5003800"/>
                  <a:gd name="connsiteX19" fmla="*/ 619081 w 5802925"/>
                  <a:gd name="connsiteY19" fmla="*/ 3239157 h 5003800"/>
                  <a:gd name="connsiteX20" fmla="*/ 640281 w 5802925"/>
                  <a:gd name="connsiteY20" fmla="*/ 3213463 h 5003800"/>
                  <a:gd name="connsiteX21" fmla="*/ 627330 w 5802925"/>
                  <a:gd name="connsiteY21" fmla="*/ 3205986 h 5003800"/>
                  <a:gd name="connsiteX22" fmla="*/ 629507 w 5802925"/>
                  <a:gd name="connsiteY22" fmla="*/ 3202215 h 5003800"/>
                  <a:gd name="connsiteX23" fmla="*/ 608093 w 5802925"/>
                  <a:gd name="connsiteY23" fmla="*/ 3228169 h 5003800"/>
                  <a:gd name="connsiteX24" fmla="*/ 356212 w 5802925"/>
                  <a:gd name="connsiteY24" fmla="*/ 3332501 h 5003800"/>
                  <a:gd name="connsiteX25" fmla="*/ 0 w 5802925"/>
                  <a:gd name="connsiteY25" fmla="*/ 2976289 h 5003800"/>
                  <a:gd name="connsiteX26" fmla="*/ 356212 w 5802925"/>
                  <a:gd name="connsiteY26" fmla="*/ 2620076 h 5003800"/>
                  <a:gd name="connsiteX27" fmla="*/ 712425 w 5802925"/>
                  <a:gd name="connsiteY27" fmla="*/ 2976289 h 5003800"/>
                  <a:gd name="connsiteX28" fmla="*/ 684432 w 5802925"/>
                  <a:gd name="connsiteY28" fmla="*/ 3114943 h 5003800"/>
                  <a:gd name="connsiteX29" fmla="*/ 673181 w 5802925"/>
                  <a:gd name="connsiteY29" fmla="*/ 3135671 h 5003800"/>
                  <a:gd name="connsiteX30" fmla="*/ 2280106 w 5802925"/>
                  <a:gd name="connsiteY30" fmla="*/ 4063429 h 5003800"/>
                  <a:gd name="connsiteX31" fmla="*/ 2290344 w 5802925"/>
                  <a:gd name="connsiteY31" fmla="*/ 4044567 h 5003800"/>
                  <a:gd name="connsiteX32" fmla="*/ 2585721 w 5802925"/>
                  <a:gd name="connsiteY32" fmla="*/ 3887516 h 5003800"/>
                  <a:gd name="connsiteX33" fmla="*/ 2941933 w 5802925"/>
                  <a:gd name="connsiteY33" fmla="*/ 4243729 h 5003800"/>
                  <a:gd name="connsiteX34" fmla="*/ 2585721 w 5802925"/>
                  <a:gd name="connsiteY34" fmla="*/ 4599941 h 5003800"/>
                  <a:gd name="connsiteX35" fmla="*/ 2229508 w 5802925"/>
                  <a:gd name="connsiteY35" fmla="*/ 4243729 h 5003800"/>
                  <a:gd name="connsiteX36" fmla="*/ 2236745 w 5802925"/>
                  <a:gd name="connsiteY36" fmla="*/ 4171940 h 5003800"/>
                  <a:gd name="connsiteX37" fmla="*/ 2246421 w 5802925"/>
                  <a:gd name="connsiteY37" fmla="*/ 4140769 h 5003800"/>
                  <a:gd name="connsiteX38" fmla="*/ 670484 w 5802925"/>
                  <a:gd name="connsiteY38" fmla="*/ 3230901 h 5003800"/>
                  <a:gd name="connsiteX39" fmla="*/ 716663 w 5802925"/>
                  <a:gd name="connsiteY39" fmla="*/ 3360764 h 5003800"/>
                  <a:gd name="connsiteX40" fmla="*/ 2858112 w 5802925"/>
                  <a:gd name="connsiteY40" fmla="*/ 4808548 h 5003800"/>
                  <a:gd name="connsiteX41" fmla="*/ 5164761 w 5802925"/>
                  <a:gd name="connsiteY41" fmla="*/ 2501899 h 5003800"/>
                  <a:gd name="connsiteX42" fmla="*/ 5446713 w 5802925"/>
                  <a:gd name="connsiteY42" fmla="*/ 1782602 h 5003800"/>
                  <a:gd name="connsiteX43" fmla="*/ 5187025 w 5802925"/>
                  <a:gd name="connsiteY43" fmla="*/ 2042290 h 5003800"/>
                  <a:gd name="connsiteX44" fmla="*/ 5446713 w 5802925"/>
                  <a:gd name="connsiteY44" fmla="*/ 2301978 h 5003800"/>
                  <a:gd name="connsiteX45" fmla="*/ 5706401 w 5802925"/>
                  <a:gd name="connsiteY45" fmla="*/ 2042290 h 5003800"/>
                  <a:gd name="connsiteX46" fmla="*/ 5446713 w 5802925"/>
                  <a:gd name="connsiteY46" fmla="*/ 1782602 h 5003800"/>
                  <a:gd name="connsiteX47" fmla="*/ 5446713 w 5802925"/>
                  <a:gd name="connsiteY47" fmla="*/ 1686077 h 5003800"/>
                  <a:gd name="connsiteX48" fmla="*/ 5802925 w 5802925"/>
                  <a:gd name="connsiteY48" fmla="*/ 2042290 h 5003800"/>
                  <a:gd name="connsiteX49" fmla="*/ 5446713 w 5802925"/>
                  <a:gd name="connsiteY49" fmla="*/ 2398502 h 5003800"/>
                  <a:gd name="connsiteX50" fmla="*/ 5090500 w 5802925"/>
                  <a:gd name="connsiteY50" fmla="*/ 2042290 h 5003800"/>
                  <a:gd name="connsiteX51" fmla="*/ 5446713 w 5802925"/>
                  <a:gd name="connsiteY51" fmla="*/ 1686077 h 5003800"/>
                  <a:gd name="connsiteX52" fmla="*/ 3214326 w 5802925"/>
                  <a:gd name="connsiteY52" fmla="*/ 506801 h 5003800"/>
                  <a:gd name="connsiteX53" fmla="*/ 2954638 w 5802925"/>
                  <a:gd name="connsiteY53" fmla="*/ 766489 h 5003800"/>
                  <a:gd name="connsiteX54" fmla="*/ 3214326 w 5802925"/>
                  <a:gd name="connsiteY54" fmla="*/ 1026177 h 5003800"/>
                  <a:gd name="connsiteX55" fmla="*/ 3474014 w 5802925"/>
                  <a:gd name="connsiteY55" fmla="*/ 766489 h 5003800"/>
                  <a:gd name="connsiteX56" fmla="*/ 3214326 w 5802925"/>
                  <a:gd name="connsiteY56" fmla="*/ 506801 h 5003800"/>
                  <a:gd name="connsiteX57" fmla="*/ 2858113 w 5802925"/>
                  <a:gd name="connsiteY57" fmla="*/ 0 h 5003800"/>
                  <a:gd name="connsiteX58" fmla="*/ 5180831 w 5802925"/>
                  <a:gd name="connsiteY58" fmla="*/ 1570335 h 5003800"/>
                  <a:gd name="connsiteX59" fmla="*/ 5237616 w 5802925"/>
                  <a:gd name="connsiteY59" fmla="*/ 1730022 h 5003800"/>
                  <a:gd name="connsiteX60" fmla="*/ 5188915 w 5802925"/>
                  <a:gd name="connsiteY60" fmla="*/ 1770204 h 5003800"/>
                  <a:gd name="connsiteX61" fmla="*/ 5106452 w 5802925"/>
                  <a:gd name="connsiteY61" fmla="*/ 1892513 h 5003800"/>
                  <a:gd name="connsiteX62" fmla="*/ 5092389 w 5802925"/>
                  <a:gd name="connsiteY62" fmla="*/ 1937818 h 5003800"/>
                  <a:gd name="connsiteX63" fmla="*/ 5080885 w 5802925"/>
                  <a:gd name="connsiteY63" fmla="*/ 1893078 h 5003800"/>
                  <a:gd name="connsiteX64" fmla="*/ 5079018 w 5802925"/>
                  <a:gd name="connsiteY64" fmla="*/ 1896312 h 5003800"/>
                  <a:gd name="connsiteX65" fmla="*/ 3495946 w 5802925"/>
                  <a:gd name="connsiteY65" fmla="*/ 982324 h 5003800"/>
                  <a:gd name="connsiteX66" fmla="*/ 3466206 w 5802925"/>
                  <a:gd name="connsiteY66" fmla="*/ 1018369 h 5003800"/>
                  <a:gd name="connsiteX67" fmla="*/ 3214326 w 5802925"/>
                  <a:gd name="connsiteY67" fmla="*/ 1122701 h 5003800"/>
                  <a:gd name="connsiteX68" fmla="*/ 2858113 w 5802925"/>
                  <a:gd name="connsiteY68" fmla="*/ 766489 h 5003800"/>
                  <a:gd name="connsiteX69" fmla="*/ 3214326 w 5802925"/>
                  <a:gd name="connsiteY69" fmla="*/ 410276 h 5003800"/>
                  <a:gd name="connsiteX70" fmla="*/ 3570538 w 5802925"/>
                  <a:gd name="connsiteY70" fmla="*/ 766489 h 5003800"/>
                  <a:gd name="connsiteX71" fmla="*/ 3542545 w 5802925"/>
                  <a:gd name="connsiteY71" fmla="*/ 905143 h 5003800"/>
                  <a:gd name="connsiteX72" fmla="*/ 3539529 w 5802925"/>
                  <a:gd name="connsiteY72" fmla="*/ 910700 h 5003800"/>
                  <a:gd name="connsiteX73" fmla="*/ 5049060 w 5802925"/>
                  <a:gd name="connsiteY73" fmla="*/ 1782229 h 5003800"/>
                  <a:gd name="connsiteX74" fmla="*/ 4999563 w 5802925"/>
                  <a:gd name="connsiteY74" fmla="*/ 1643034 h 5003800"/>
                  <a:gd name="connsiteX75" fmla="*/ 2858112 w 5802925"/>
                  <a:gd name="connsiteY75" fmla="*/ 195250 h 5003800"/>
                  <a:gd name="connsiteX76" fmla="*/ 551463 w 5802925"/>
                  <a:gd name="connsiteY76" fmla="*/ 2501899 h 5003800"/>
                  <a:gd name="connsiteX77" fmla="*/ 559734 w 5802925"/>
                  <a:gd name="connsiteY77" fmla="*/ 2665678 h 5003800"/>
                  <a:gd name="connsiteX78" fmla="*/ 500915 w 5802925"/>
                  <a:gd name="connsiteY78" fmla="*/ 2633752 h 5003800"/>
                  <a:gd name="connsiteX79" fmla="*/ 431134 w 5802925"/>
                  <a:gd name="connsiteY79" fmla="*/ 2612091 h 5003800"/>
                  <a:gd name="connsiteX80" fmla="*/ 361423 w 5802925"/>
                  <a:gd name="connsiteY80" fmla="*/ 2605063 h 5003800"/>
                  <a:gd name="connsiteX81" fmla="*/ 356213 w 5802925"/>
                  <a:gd name="connsiteY81" fmla="*/ 2501900 h 5003800"/>
                  <a:gd name="connsiteX82" fmla="*/ 2858113 w 5802925"/>
                  <a:gd name="connsiteY82" fmla="*/ 0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802925" h="5003800">
                    <a:moveTo>
                      <a:pt x="2585721" y="3984041"/>
                    </a:moveTo>
                    <a:cubicBezTo>
                      <a:pt x="2442299" y="3984041"/>
                      <a:pt x="2326033" y="4100307"/>
                      <a:pt x="2326033" y="4243729"/>
                    </a:cubicBezTo>
                    <a:cubicBezTo>
                      <a:pt x="2326033" y="4387151"/>
                      <a:pt x="2442299" y="4503417"/>
                      <a:pt x="2585721" y="4503417"/>
                    </a:cubicBezTo>
                    <a:cubicBezTo>
                      <a:pt x="2729143" y="4503417"/>
                      <a:pt x="2845409" y="4387151"/>
                      <a:pt x="2845409" y="4243729"/>
                    </a:cubicBezTo>
                    <a:cubicBezTo>
                      <a:pt x="2845409" y="4100307"/>
                      <a:pt x="2729143" y="3984041"/>
                      <a:pt x="2585721" y="3984041"/>
                    </a:cubicBezTo>
                    <a:close/>
                    <a:moveTo>
                      <a:pt x="356212" y="2716601"/>
                    </a:moveTo>
                    <a:cubicBezTo>
                      <a:pt x="212791" y="2716601"/>
                      <a:pt x="96524" y="2832867"/>
                      <a:pt x="96524" y="2976289"/>
                    </a:cubicBezTo>
                    <a:cubicBezTo>
                      <a:pt x="96524" y="3119711"/>
                      <a:pt x="212791" y="3235977"/>
                      <a:pt x="356212" y="3235977"/>
                    </a:cubicBezTo>
                    <a:cubicBezTo>
                      <a:pt x="499634" y="3235977"/>
                      <a:pt x="615901" y="3119711"/>
                      <a:pt x="615901" y="2976289"/>
                    </a:cubicBezTo>
                    <a:cubicBezTo>
                      <a:pt x="615901" y="2832867"/>
                      <a:pt x="499634" y="2716601"/>
                      <a:pt x="356212" y="2716601"/>
                    </a:cubicBezTo>
                    <a:close/>
                    <a:moveTo>
                      <a:pt x="5153100" y="2270968"/>
                    </a:moveTo>
                    <a:lnTo>
                      <a:pt x="5188915" y="2314376"/>
                    </a:lnTo>
                    <a:cubicBezTo>
                      <a:pt x="5223732" y="2349193"/>
                      <a:pt x="5265189" y="2377368"/>
                      <a:pt x="5311224" y="2396840"/>
                    </a:cubicBezTo>
                    <a:lnTo>
                      <a:pt x="5355401" y="2410553"/>
                    </a:lnTo>
                    <a:lnTo>
                      <a:pt x="5360013" y="2501900"/>
                    </a:lnTo>
                    <a:cubicBezTo>
                      <a:pt x="5360013" y="3883661"/>
                      <a:pt x="4239874" y="5003800"/>
                      <a:pt x="2858113" y="5003800"/>
                    </a:cubicBezTo>
                    <a:cubicBezTo>
                      <a:pt x="1821793" y="5003800"/>
                      <a:pt x="932634" y="4373722"/>
                      <a:pt x="552825" y="3475753"/>
                    </a:cubicBezTo>
                    <a:lnTo>
                      <a:pt x="495953" y="3320367"/>
                    </a:lnTo>
                    <a:lnTo>
                      <a:pt x="500915" y="3318826"/>
                    </a:lnTo>
                    <a:cubicBezTo>
                      <a:pt x="545391" y="3300015"/>
                      <a:pt x="585444" y="3272794"/>
                      <a:pt x="619081" y="3239157"/>
                    </a:cubicBezTo>
                    <a:lnTo>
                      <a:pt x="640281" y="3213463"/>
                    </a:lnTo>
                    <a:lnTo>
                      <a:pt x="627330" y="3205986"/>
                    </a:lnTo>
                    <a:lnTo>
                      <a:pt x="629507" y="3202215"/>
                    </a:lnTo>
                    <a:lnTo>
                      <a:pt x="608093" y="3228169"/>
                    </a:lnTo>
                    <a:cubicBezTo>
                      <a:pt x="543631" y="3292631"/>
                      <a:pt x="454578" y="3332501"/>
                      <a:pt x="356212" y="3332501"/>
                    </a:cubicBezTo>
                    <a:cubicBezTo>
                      <a:pt x="159482" y="3332501"/>
                      <a:pt x="0" y="3173019"/>
                      <a:pt x="0" y="2976289"/>
                    </a:cubicBezTo>
                    <a:cubicBezTo>
                      <a:pt x="0" y="2779558"/>
                      <a:pt x="159482" y="2620076"/>
                      <a:pt x="356212" y="2620076"/>
                    </a:cubicBezTo>
                    <a:cubicBezTo>
                      <a:pt x="552943" y="2620076"/>
                      <a:pt x="712425" y="2779558"/>
                      <a:pt x="712425" y="2976289"/>
                    </a:cubicBezTo>
                    <a:cubicBezTo>
                      <a:pt x="712425" y="3025472"/>
                      <a:pt x="702458" y="3072326"/>
                      <a:pt x="684432" y="3114943"/>
                    </a:cubicBezTo>
                    <a:lnTo>
                      <a:pt x="673181" y="3135671"/>
                    </a:lnTo>
                    <a:lnTo>
                      <a:pt x="2280106" y="4063429"/>
                    </a:lnTo>
                    <a:lnTo>
                      <a:pt x="2290344" y="4044567"/>
                    </a:lnTo>
                    <a:cubicBezTo>
                      <a:pt x="2354358" y="3949814"/>
                      <a:pt x="2462764" y="3887516"/>
                      <a:pt x="2585721" y="3887516"/>
                    </a:cubicBezTo>
                    <a:cubicBezTo>
                      <a:pt x="2782451" y="3887516"/>
                      <a:pt x="2941933" y="4046998"/>
                      <a:pt x="2941933" y="4243729"/>
                    </a:cubicBezTo>
                    <a:cubicBezTo>
                      <a:pt x="2941933" y="4440459"/>
                      <a:pt x="2782451" y="4599941"/>
                      <a:pt x="2585721" y="4599941"/>
                    </a:cubicBezTo>
                    <a:cubicBezTo>
                      <a:pt x="2388990" y="4599941"/>
                      <a:pt x="2229508" y="4440459"/>
                      <a:pt x="2229508" y="4243729"/>
                    </a:cubicBezTo>
                    <a:cubicBezTo>
                      <a:pt x="2229508" y="4219138"/>
                      <a:pt x="2232000" y="4195129"/>
                      <a:pt x="2236745" y="4171940"/>
                    </a:cubicBezTo>
                    <a:lnTo>
                      <a:pt x="2246421" y="4140769"/>
                    </a:lnTo>
                    <a:lnTo>
                      <a:pt x="670484" y="3230901"/>
                    </a:lnTo>
                    <a:lnTo>
                      <a:pt x="716663" y="3360764"/>
                    </a:lnTo>
                    <a:cubicBezTo>
                      <a:pt x="1057315" y="4209347"/>
                      <a:pt x="1887739" y="4808548"/>
                      <a:pt x="2858112" y="4808548"/>
                    </a:cubicBezTo>
                    <a:cubicBezTo>
                      <a:pt x="4132039" y="4808548"/>
                      <a:pt x="5164761" y="3775826"/>
                      <a:pt x="5164761" y="2501899"/>
                    </a:cubicBezTo>
                    <a:close/>
                    <a:moveTo>
                      <a:pt x="5446713" y="1782602"/>
                    </a:moveTo>
                    <a:cubicBezTo>
                      <a:pt x="5303291" y="1782602"/>
                      <a:pt x="5187025" y="1898868"/>
                      <a:pt x="5187025" y="2042290"/>
                    </a:cubicBezTo>
                    <a:cubicBezTo>
                      <a:pt x="5187025" y="2185711"/>
                      <a:pt x="5303291" y="2301978"/>
                      <a:pt x="5446713" y="2301978"/>
                    </a:cubicBezTo>
                    <a:cubicBezTo>
                      <a:pt x="5590134" y="2301978"/>
                      <a:pt x="5706401" y="2185711"/>
                      <a:pt x="5706401" y="2042290"/>
                    </a:cubicBezTo>
                    <a:cubicBezTo>
                      <a:pt x="5706401" y="1898868"/>
                      <a:pt x="5590134" y="1782602"/>
                      <a:pt x="5446713" y="1782602"/>
                    </a:cubicBezTo>
                    <a:close/>
                    <a:moveTo>
                      <a:pt x="5446713" y="1686077"/>
                    </a:moveTo>
                    <a:cubicBezTo>
                      <a:pt x="5643443" y="1686077"/>
                      <a:pt x="5802925" y="1845559"/>
                      <a:pt x="5802925" y="2042290"/>
                    </a:cubicBezTo>
                    <a:cubicBezTo>
                      <a:pt x="5802925" y="2239020"/>
                      <a:pt x="5643443" y="2398502"/>
                      <a:pt x="5446713" y="2398502"/>
                    </a:cubicBezTo>
                    <a:cubicBezTo>
                      <a:pt x="5249982" y="2398502"/>
                      <a:pt x="5090500" y="2239020"/>
                      <a:pt x="5090500" y="2042290"/>
                    </a:cubicBezTo>
                    <a:cubicBezTo>
                      <a:pt x="5090500" y="1845559"/>
                      <a:pt x="5249982" y="1686077"/>
                      <a:pt x="5446713" y="1686077"/>
                    </a:cubicBezTo>
                    <a:close/>
                    <a:moveTo>
                      <a:pt x="3214326" y="506801"/>
                    </a:moveTo>
                    <a:cubicBezTo>
                      <a:pt x="3070904" y="506801"/>
                      <a:pt x="2954638" y="623067"/>
                      <a:pt x="2954638" y="766489"/>
                    </a:cubicBezTo>
                    <a:cubicBezTo>
                      <a:pt x="2954638" y="909910"/>
                      <a:pt x="3070904" y="1026177"/>
                      <a:pt x="3214326" y="1026177"/>
                    </a:cubicBezTo>
                    <a:cubicBezTo>
                      <a:pt x="3357748" y="1026177"/>
                      <a:pt x="3474014" y="909910"/>
                      <a:pt x="3474014" y="766489"/>
                    </a:cubicBezTo>
                    <a:cubicBezTo>
                      <a:pt x="3474014" y="623067"/>
                      <a:pt x="3357748" y="506801"/>
                      <a:pt x="3214326" y="506801"/>
                    </a:cubicBezTo>
                    <a:close/>
                    <a:moveTo>
                      <a:pt x="2858113" y="0"/>
                    </a:moveTo>
                    <a:cubicBezTo>
                      <a:pt x="3910627" y="0"/>
                      <a:pt x="4811343" y="649922"/>
                      <a:pt x="5180831" y="1570335"/>
                    </a:cubicBezTo>
                    <a:lnTo>
                      <a:pt x="5237616" y="1730022"/>
                    </a:lnTo>
                    <a:lnTo>
                      <a:pt x="5188915" y="1770204"/>
                    </a:lnTo>
                    <a:cubicBezTo>
                      <a:pt x="5154099" y="1805020"/>
                      <a:pt x="5125923" y="1846478"/>
                      <a:pt x="5106452" y="1892513"/>
                    </a:cubicBezTo>
                    <a:lnTo>
                      <a:pt x="5092389" y="1937818"/>
                    </a:lnTo>
                    <a:lnTo>
                      <a:pt x="5080885" y="1893078"/>
                    </a:lnTo>
                    <a:lnTo>
                      <a:pt x="5079018" y="1896312"/>
                    </a:lnTo>
                    <a:lnTo>
                      <a:pt x="3495946" y="982324"/>
                    </a:lnTo>
                    <a:lnTo>
                      <a:pt x="3466206" y="1018369"/>
                    </a:lnTo>
                    <a:cubicBezTo>
                      <a:pt x="3401744" y="1082831"/>
                      <a:pt x="3312691" y="1122701"/>
                      <a:pt x="3214326" y="1122701"/>
                    </a:cubicBezTo>
                    <a:cubicBezTo>
                      <a:pt x="3017595" y="1122701"/>
                      <a:pt x="2858113" y="963219"/>
                      <a:pt x="2858113" y="766489"/>
                    </a:cubicBezTo>
                    <a:cubicBezTo>
                      <a:pt x="2858113" y="569758"/>
                      <a:pt x="3017595" y="410276"/>
                      <a:pt x="3214326" y="410276"/>
                    </a:cubicBezTo>
                    <a:cubicBezTo>
                      <a:pt x="3411056" y="410276"/>
                      <a:pt x="3570538" y="569758"/>
                      <a:pt x="3570538" y="766489"/>
                    </a:cubicBezTo>
                    <a:cubicBezTo>
                      <a:pt x="3570538" y="815672"/>
                      <a:pt x="3560571" y="862526"/>
                      <a:pt x="3542545" y="905143"/>
                    </a:cubicBezTo>
                    <a:lnTo>
                      <a:pt x="3539529" y="910700"/>
                    </a:lnTo>
                    <a:lnTo>
                      <a:pt x="5049060" y="1782229"/>
                    </a:lnTo>
                    <a:lnTo>
                      <a:pt x="4999563" y="1643034"/>
                    </a:lnTo>
                    <a:cubicBezTo>
                      <a:pt x="4658910" y="794452"/>
                      <a:pt x="3828487" y="195250"/>
                      <a:pt x="2858112" y="195250"/>
                    </a:cubicBezTo>
                    <a:cubicBezTo>
                      <a:pt x="1584185" y="195250"/>
                      <a:pt x="551463" y="1227972"/>
                      <a:pt x="551463" y="2501899"/>
                    </a:cubicBezTo>
                    <a:lnTo>
                      <a:pt x="559734" y="2665678"/>
                    </a:lnTo>
                    <a:lnTo>
                      <a:pt x="500915" y="2633752"/>
                    </a:lnTo>
                    <a:cubicBezTo>
                      <a:pt x="478678" y="2624346"/>
                      <a:pt x="455334" y="2617043"/>
                      <a:pt x="431134" y="2612091"/>
                    </a:cubicBezTo>
                    <a:lnTo>
                      <a:pt x="361423" y="2605063"/>
                    </a:lnTo>
                    <a:lnTo>
                      <a:pt x="356213" y="2501900"/>
                    </a:lnTo>
                    <a:cubicBezTo>
                      <a:pt x="356213" y="1120139"/>
                      <a:pt x="1476352" y="0"/>
                      <a:pt x="2858113" y="0"/>
                    </a:cubicBez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 dirty="0">
                  <a:latin typeface="メイリオ"/>
                  <a:ea typeface="メイリオ"/>
                  <a:cs typeface="メイリオ"/>
                </a:endParaRPr>
              </a:p>
            </p:txBody>
          </p:sp>
          <p:sp>
            <p:nvSpPr>
              <p:cNvPr id="48" name="TextBox 102"/>
              <p:cNvSpPr txBox="1"/>
              <p:nvPr/>
            </p:nvSpPr>
            <p:spPr>
              <a:xfrm>
                <a:off x="7161110" y="9199193"/>
                <a:ext cx="710840" cy="383182"/>
              </a:xfrm>
              <a:prstGeom prst="rect">
                <a:avLst/>
              </a:prstGeom>
              <a:noFill/>
            </p:spPr>
            <p:txBody>
              <a:bodyPr wrap="square" rtlCol="0">
                <a:spAutoFit/>
              </a:bodyPr>
              <a:lstStyle/>
              <a:p>
                <a:pPr algn="ctr">
                  <a:lnSpc>
                    <a:spcPct val="90000"/>
                  </a:lnSpc>
                </a:pPr>
                <a:r>
                  <a:rPr lang="en-US" sz="700" b="1" dirty="0">
                    <a:solidFill>
                      <a:srgbClr val="36A4D7"/>
                    </a:solidFill>
                    <a:latin typeface="メイリオ"/>
                    <a:ea typeface="メイリオ"/>
                    <a:cs typeface="メイリオ"/>
                  </a:rPr>
                  <a:t>Secure </a:t>
                </a:r>
              </a:p>
              <a:p>
                <a:pPr algn="ctr">
                  <a:lnSpc>
                    <a:spcPct val="90000"/>
                  </a:lnSpc>
                </a:pPr>
                <a:r>
                  <a:rPr lang="en-US" sz="700" b="1" dirty="0">
                    <a:solidFill>
                      <a:srgbClr val="36A4D7"/>
                    </a:solidFill>
                    <a:latin typeface="メイリオ"/>
                    <a:ea typeface="メイリオ"/>
                    <a:cs typeface="メイリオ"/>
                  </a:rPr>
                  <a:t>Data </a:t>
                </a:r>
                <a:br>
                  <a:rPr lang="en-US" sz="700" b="1" dirty="0">
                    <a:solidFill>
                      <a:srgbClr val="36A4D7"/>
                    </a:solidFill>
                    <a:latin typeface="メイリオ"/>
                    <a:ea typeface="メイリオ"/>
                    <a:cs typeface="メイリオ"/>
                  </a:rPr>
                </a:br>
                <a:r>
                  <a:rPr lang="en-US" sz="700" b="1" dirty="0">
                    <a:solidFill>
                      <a:srgbClr val="36A4D7"/>
                    </a:solidFill>
                    <a:latin typeface="メイリオ"/>
                    <a:ea typeface="メイリオ"/>
                    <a:cs typeface="メイリオ"/>
                  </a:rPr>
                  <a:t>Connector</a:t>
                </a:r>
              </a:p>
            </p:txBody>
          </p:sp>
        </p:grpSp>
        <p:sp>
          <p:nvSpPr>
            <p:cNvPr id="35" name="Rectangle 103"/>
            <p:cNvSpPr/>
            <p:nvPr/>
          </p:nvSpPr>
          <p:spPr>
            <a:xfrm>
              <a:off x="6915150" y="1676252"/>
              <a:ext cx="4638675" cy="3430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latin typeface="メイリオ"/>
                  <a:ea typeface="メイリオ"/>
                  <a:cs typeface="メイリオ"/>
                </a:rPr>
                <a:t>２種類の接続形態</a:t>
              </a:r>
              <a:endParaRPr lang="en-US" sz="1200" b="1" dirty="0">
                <a:latin typeface="メイリオ"/>
                <a:ea typeface="メイリオ"/>
                <a:cs typeface="メイリオ"/>
              </a:endParaRPr>
            </a:p>
          </p:txBody>
        </p:sp>
        <p:grpSp>
          <p:nvGrpSpPr>
            <p:cNvPr id="36" name="Group 37"/>
            <p:cNvGrpSpPr/>
            <p:nvPr/>
          </p:nvGrpSpPr>
          <p:grpSpPr>
            <a:xfrm>
              <a:off x="9855199" y="4917037"/>
              <a:ext cx="692099" cy="528228"/>
              <a:chOff x="9855199" y="5010560"/>
              <a:chExt cx="692099" cy="528228"/>
            </a:xfrm>
          </p:grpSpPr>
          <p:sp>
            <p:nvSpPr>
              <p:cNvPr id="45" name="Freeform 90"/>
              <p:cNvSpPr/>
              <p:nvPr/>
            </p:nvSpPr>
            <p:spPr>
              <a:xfrm>
                <a:off x="9895155" y="5010560"/>
                <a:ext cx="612588" cy="528228"/>
              </a:xfrm>
              <a:custGeom>
                <a:avLst/>
                <a:gdLst>
                  <a:gd name="connsiteX0" fmla="*/ 2585721 w 5802925"/>
                  <a:gd name="connsiteY0" fmla="*/ 3984041 h 5003800"/>
                  <a:gd name="connsiteX1" fmla="*/ 2326033 w 5802925"/>
                  <a:gd name="connsiteY1" fmla="*/ 4243729 h 5003800"/>
                  <a:gd name="connsiteX2" fmla="*/ 2585721 w 5802925"/>
                  <a:gd name="connsiteY2" fmla="*/ 4503417 h 5003800"/>
                  <a:gd name="connsiteX3" fmla="*/ 2845409 w 5802925"/>
                  <a:gd name="connsiteY3" fmla="*/ 4243729 h 5003800"/>
                  <a:gd name="connsiteX4" fmla="*/ 2585721 w 5802925"/>
                  <a:gd name="connsiteY4" fmla="*/ 3984041 h 5003800"/>
                  <a:gd name="connsiteX5" fmla="*/ 356212 w 5802925"/>
                  <a:gd name="connsiteY5" fmla="*/ 2716601 h 5003800"/>
                  <a:gd name="connsiteX6" fmla="*/ 96524 w 5802925"/>
                  <a:gd name="connsiteY6" fmla="*/ 2976289 h 5003800"/>
                  <a:gd name="connsiteX7" fmla="*/ 356212 w 5802925"/>
                  <a:gd name="connsiteY7" fmla="*/ 3235977 h 5003800"/>
                  <a:gd name="connsiteX8" fmla="*/ 615901 w 5802925"/>
                  <a:gd name="connsiteY8" fmla="*/ 2976289 h 5003800"/>
                  <a:gd name="connsiteX9" fmla="*/ 356212 w 5802925"/>
                  <a:gd name="connsiteY9" fmla="*/ 2716601 h 5003800"/>
                  <a:gd name="connsiteX10" fmla="*/ 5153100 w 5802925"/>
                  <a:gd name="connsiteY10" fmla="*/ 2270968 h 5003800"/>
                  <a:gd name="connsiteX11" fmla="*/ 5188915 w 5802925"/>
                  <a:gd name="connsiteY11" fmla="*/ 2314376 h 5003800"/>
                  <a:gd name="connsiteX12" fmla="*/ 5311224 w 5802925"/>
                  <a:gd name="connsiteY12" fmla="*/ 2396840 h 5003800"/>
                  <a:gd name="connsiteX13" fmla="*/ 5355401 w 5802925"/>
                  <a:gd name="connsiteY13" fmla="*/ 2410553 h 5003800"/>
                  <a:gd name="connsiteX14" fmla="*/ 5360013 w 5802925"/>
                  <a:gd name="connsiteY14" fmla="*/ 2501900 h 5003800"/>
                  <a:gd name="connsiteX15" fmla="*/ 2858113 w 5802925"/>
                  <a:gd name="connsiteY15" fmla="*/ 5003800 h 5003800"/>
                  <a:gd name="connsiteX16" fmla="*/ 552825 w 5802925"/>
                  <a:gd name="connsiteY16" fmla="*/ 3475753 h 5003800"/>
                  <a:gd name="connsiteX17" fmla="*/ 495953 w 5802925"/>
                  <a:gd name="connsiteY17" fmla="*/ 3320367 h 5003800"/>
                  <a:gd name="connsiteX18" fmla="*/ 500915 w 5802925"/>
                  <a:gd name="connsiteY18" fmla="*/ 3318826 h 5003800"/>
                  <a:gd name="connsiteX19" fmla="*/ 619081 w 5802925"/>
                  <a:gd name="connsiteY19" fmla="*/ 3239157 h 5003800"/>
                  <a:gd name="connsiteX20" fmla="*/ 640281 w 5802925"/>
                  <a:gd name="connsiteY20" fmla="*/ 3213463 h 5003800"/>
                  <a:gd name="connsiteX21" fmla="*/ 627330 w 5802925"/>
                  <a:gd name="connsiteY21" fmla="*/ 3205986 h 5003800"/>
                  <a:gd name="connsiteX22" fmla="*/ 629507 w 5802925"/>
                  <a:gd name="connsiteY22" fmla="*/ 3202215 h 5003800"/>
                  <a:gd name="connsiteX23" fmla="*/ 608093 w 5802925"/>
                  <a:gd name="connsiteY23" fmla="*/ 3228169 h 5003800"/>
                  <a:gd name="connsiteX24" fmla="*/ 356212 w 5802925"/>
                  <a:gd name="connsiteY24" fmla="*/ 3332501 h 5003800"/>
                  <a:gd name="connsiteX25" fmla="*/ 0 w 5802925"/>
                  <a:gd name="connsiteY25" fmla="*/ 2976289 h 5003800"/>
                  <a:gd name="connsiteX26" fmla="*/ 356212 w 5802925"/>
                  <a:gd name="connsiteY26" fmla="*/ 2620076 h 5003800"/>
                  <a:gd name="connsiteX27" fmla="*/ 712425 w 5802925"/>
                  <a:gd name="connsiteY27" fmla="*/ 2976289 h 5003800"/>
                  <a:gd name="connsiteX28" fmla="*/ 684432 w 5802925"/>
                  <a:gd name="connsiteY28" fmla="*/ 3114943 h 5003800"/>
                  <a:gd name="connsiteX29" fmla="*/ 673181 w 5802925"/>
                  <a:gd name="connsiteY29" fmla="*/ 3135671 h 5003800"/>
                  <a:gd name="connsiteX30" fmla="*/ 2280106 w 5802925"/>
                  <a:gd name="connsiteY30" fmla="*/ 4063429 h 5003800"/>
                  <a:gd name="connsiteX31" fmla="*/ 2290344 w 5802925"/>
                  <a:gd name="connsiteY31" fmla="*/ 4044567 h 5003800"/>
                  <a:gd name="connsiteX32" fmla="*/ 2585721 w 5802925"/>
                  <a:gd name="connsiteY32" fmla="*/ 3887516 h 5003800"/>
                  <a:gd name="connsiteX33" fmla="*/ 2941933 w 5802925"/>
                  <a:gd name="connsiteY33" fmla="*/ 4243729 h 5003800"/>
                  <a:gd name="connsiteX34" fmla="*/ 2585721 w 5802925"/>
                  <a:gd name="connsiteY34" fmla="*/ 4599941 h 5003800"/>
                  <a:gd name="connsiteX35" fmla="*/ 2229508 w 5802925"/>
                  <a:gd name="connsiteY35" fmla="*/ 4243729 h 5003800"/>
                  <a:gd name="connsiteX36" fmla="*/ 2236745 w 5802925"/>
                  <a:gd name="connsiteY36" fmla="*/ 4171940 h 5003800"/>
                  <a:gd name="connsiteX37" fmla="*/ 2246421 w 5802925"/>
                  <a:gd name="connsiteY37" fmla="*/ 4140769 h 5003800"/>
                  <a:gd name="connsiteX38" fmla="*/ 670484 w 5802925"/>
                  <a:gd name="connsiteY38" fmla="*/ 3230901 h 5003800"/>
                  <a:gd name="connsiteX39" fmla="*/ 716663 w 5802925"/>
                  <a:gd name="connsiteY39" fmla="*/ 3360764 h 5003800"/>
                  <a:gd name="connsiteX40" fmla="*/ 2858112 w 5802925"/>
                  <a:gd name="connsiteY40" fmla="*/ 4808548 h 5003800"/>
                  <a:gd name="connsiteX41" fmla="*/ 5164761 w 5802925"/>
                  <a:gd name="connsiteY41" fmla="*/ 2501899 h 5003800"/>
                  <a:gd name="connsiteX42" fmla="*/ 5446713 w 5802925"/>
                  <a:gd name="connsiteY42" fmla="*/ 1782602 h 5003800"/>
                  <a:gd name="connsiteX43" fmla="*/ 5187025 w 5802925"/>
                  <a:gd name="connsiteY43" fmla="*/ 2042290 h 5003800"/>
                  <a:gd name="connsiteX44" fmla="*/ 5446713 w 5802925"/>
                  <a:gd name="connsiteY44" fmla="*/ 2301978 h 5003800"/>
                  <a:gd name="connsiteX45" fmla="*/ 5706401 w 5802925"/>
                  <a:gd name="connsiteY45" fmla="*/ 2042290 h 5003800"/>
                  <a:gd name="connsiteX46" fmla="*/ 5446713 w 5802925"/>
                  <a:gd name="connsiteY46" fmla="*/ 1782602 h 5003800"/>
                  <a:gd name="connsiteX47" fmla="*/ 5446713 w 5802925"/>
                  <a:gd name="connsiteY47" fmla="*/ 1686077 h 5003800"/>
                  <a:gd name="connsiteX48" fmla="*/ 5802925 w 5802925"/>
                  <a:gd name="connsiteY48" fmla="*/ 2042290 h 5003800"/>
                  <a:gd name="connsiteX49" fmla="*/ 5446713 w 5802925"/>
                  <a:gd name="connsiteY49" fmla="*/ 2398502 h 5003800"/>
                  <a:gd name="connsiteX50" fmla="*/ 5090500 w 5802925"/>
                  <a:gd name="connsiteY50" fmla="*/ 2042290 h 5003800"/>
                  <a:gd name="connsiteX51" fmla="*/ 5446713 w 5802925"/>
                  <a:gd name="connsiteY51" fmla="*/ 1686077 h 5003800"/>
                  <a:gd name="connsiteX52" fmla="*/ 3214326 w 5802925"/>
                  <a:gd name="connsiteY52" fmla="*/ 506801 h 5003800"/>
                  <a:gd name="connsiteX53" fmla="*/ 2954638 w 5802925"/>
                  <a:gd name="connsiteY53" fmla="*/ 766489 h 5003800"/>
                  <a:gd name="connsiteX54" fmla="*/ 3214326 w 5802925"/>
                  <a:gd name="connsiteY54" fmla="*/ 1026177 h 5003800"/>
                  <a:gd name="connsiteX55" fmla="*/ 3474014 w 5802925"/>
                  <a:gd name="connsiteY55" fmla="*/ 766489 h 5003800"/>
                  <a:gd name="connsiteX56" fmla="*/ 3214326 w 5802925"/>
                  <a:gd name="connsiteY56" fmla="*/ 506801 h 5003800"/>
                  <a:gd name="connsiteX57" fmla="*/ 2858113 w 5802925"/>
                  <a:gd name="connsiteY57" fmla="*/ 0 h 5003800"/>
                  <a:gd name="connsiteX58" fmla="*/ 5180831 w 5802925"/>
                  <a:gd name="connsiteY58" fmla="*/ 1570335 h 5003800"/>
                  <a:gd name="connsiteX59" fmla="*/ 5237616 w 5802925"/>
                  <a:gd name="connsiteY59" fmla="*/ 1730022 h 5003800"/>
                  <a:gd name="connsiteX60" fmla="*/ 5188915 w 5802925"/>
                  <a:gd name="connsiteY60" fmla="*/ 1770204 h 5003800"/>
                  <a:gd name="connsiteX61" fmla="*/ 5106452 w 5802925"/>
                  <a:gd name="connsiteY61" fmla="*/ 1892513 h 5003800"/>
                  <a:gd name="connsiteX62" fmla="*/ 5092389 w 5802925"/>
                  <a:gd name="connsiteY62" fmla="*/ 1937818 h 5003800"/>
                  <a:gd name="connsiteX63" fmla="*/ 5080885 w 5802925"/>
                  <a:gd name="connsiteY63" fmla="*/ 1893078 h 5003800"/>
                  <a:gd name="connsiteX64" fmla="*/ 5079018 w 5802925"/>
                  <a:gd name="connsiteY64" fmla="*/ 1896312 h 5003800"/>
                  <a:gd name="connsiteX65" fmla="*/ 3495946 w 5802925"/>
                  <a:gd name="connsiteY65" fmla="*/ 982324 h 5003800"/>
                  <a:gd name="connsiteX66" fmla="*/ 3466206 w 5802925"/>
                  <a:gd name="connsiteY66" fmla="*/ 1018369 h 5003800"/>
                  <a:gd name="connsiteX67" fmla="*/ 3214326 w 5802925"/>
                  <a:gd name="connsiteY67" fmla="*/ 1122701 h 5003800"/>
                  <a:gd name="connsiteX68" fmla="*/ 2858113 w 5802925"/>
                  <a:gd name="connsiteY68" fmla="*/ 766489 h 5003800"/>
                  <a:gd name="connsiteX69" fmla="*/ 3214326 w 5802925"/>
                  <a:gd name="connsiteY69" fmla="*/ 410276 h 5003800"/>
                  <a:gd name="connsiteX70" fmla="*/ 3570538 w 5802925"/>
                  <a:gd name="connsiteY70" fmla="*/ 766489 h 5003800"/>
                  <a:gd name="connsiteX71" fmla="*/ 3542545 w 5802925"/>
                  <a:gd name="connsiteY71" fmla="*/ 905143 h 5003800"/>
                  <a:gd name="connsiteX72" fmla="*/ 3539529 w 5802925"/>
                  <a:gd name="connsiteY72" fmla="*/ 910700 h 5003800"/>
                  <a:gd name="connsiteX73" fmla="*/ 5049060 w 5802925"/>
                  <a:gd name="connsiteY73" fmla="*/ 1782229 h 5003800"/>
                  <a:gd name="connsiteX74" fmla="*/ 4999563 w 5802925"/>
                  <a:gd name="connsiteY74" fmla="*/ 1643034 h 5003800"/>
                  <a:gd name="connsiteX75" fmla="*/ 2858112 w 5802925"/>
                  <a:gd name="connsiteY75" fmla="*/ 195250 h 5003800"/>
                  <a:gd name="connsiteX76" fmla="*/ 551463 w 5802925"/>
                  <a:gd name="connsiteY76" fmla="*/ 2501899 h 5003800"/>
                  <a:gd name="connsiteX77" fmla="*/ 559734 w 5802925"/>
                  <a:gd name="connsiteY77" fmla="*/ 2665678 h 5003800"/>
                  <a:gd name="connsiteX78" fmla="*/ 500915 w 5802925"/>
                  <a:gd name="connsiteY78" fmla="*/ 2633752 h 5003800"/>
                  <a:gd name="connsiteX79" fmla="*/ 431134 w 5802925"/>
                  <a:gd name="connsiteY79" fmla="*/ 2612091 h 5003800"/>
                  <a:gd name="connsiteX80" fmla="*/ 361423 w 5802925"/>
                  <a:gd name="connsiteY80" fmla="*/ 2605063 h 5003800"/>
                  <a:gd name="connsiteX81" fmla="*/ 356213 w 5802925"/>
                  <a:gd name="connsiteY81" fmla="*/ 2501900 h 5003800"/>
                  <a:gd name="connsiteX82" fmla="*/ 2858113 w 5802925"/>
                  <a:gd name="connsiteY82" fmla="*/ 0 h 500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802925" h="5003800">
                    <a:moveTo>
                      <a:pt x="2585721" y="3984041"/>
                    </a:moveTo>
                    <a:cubicBezTo>
                      <a:pt x="2442299" y="3984041"/>
                      <a:pt x="2326033" y="4100307"/>
                      <a:pt x="2326033" y="4243729"/>
                    </a:cubicBezTo>
                    <a:cubicBezTo>
                      <a:pt x="2326033" y="4387151"/>
                      <a:pt x="2442299" y="4503417"/>
                      <a:pt x="2585721" y="4503417"/>
                    </a:cubicBezTo>
                    <a:cubicBezTo>
                      <a:pt x="2729143" y="4503417"/>
                      <a:pt x="2845409" y="4387151"/>
                      <a:pt x="2845409" y="4243729"/>
                    </a:cubicBezTo>
                    <a:cubicBezTo>
                      <a:pt x="2845409" y="4100307"/>
                      <a:pt x="2729143" y="3984041"/>
                      <a:pt x="2585721" y="3984041"/>
                    </a:cubicBezTo>
                    <a:close/>
                    <a:moveTo>
                      <a:pt x="356212" y="2716601"/>
                    </a:moveTo>
                    <a:cubicBezTo>
                      <a:pt x="212791" y="2716601"/>
                      <a:pt x="96524" y="2832867"/>
                      <a:pt x="96524" y="2976289"/>
                    </a:cubicBezTo>
                    <a:cubicBezTo>
                      <a:pt x="96524" y="3119711"/>
                      <a:pt x="212791" y="3235977"/>
                      <a:pt x="356212" y="3235977"/>
                    </a:cubicBezTo>
                    <a:cubicBezTo>
                      <a:pt x="499634" y="3235977"/>
                      <a:pt x="615901" y="3119711"/>
                      <a:pt x="615901" y="2976289"/>
                    </a:cubicBezTo>
                    <a:cubicBezTo>
                      <a:pt x="615901" y="2832867"/>
                      <a:pt x="499634" y="2716601"/>
                      <a:pt x="356212" y="2716601"/>
                    </a:cubicBezTo>
                    <a:close/>
                    <a:moveTo>
                      <a:pt x="5153100" y="2270968"/>
                    </a:moveTo>
                    <a:lnTo>
                      <a:pt x="5188915" y="2314376"/>
                    </a:lnTo>
                    <a:cubicBezTo>
                      <a:pt x="5223732" y="2349193"/>
                      <a:pt x="5265189" y="2377368"/>
                      <a:pt x="5311224" y="2396840"/>
                    </a:cubicBezTo>
                    <a:lnTo>
                      <a:pt x="5355401" y="2410553"/>
                    </a:lnTo>
                    <a:lnTo>
                      <a:pt x="5360013" y="2501900"/>
                    </a:lnTo>
                    <a:cubicBezTo>
                      <a:pt x="5360013" y="3883661"/>
                      <a:pt x="4239874" y="5003800"/>
                      <a:pt x="2858113" y="5003800"/>
                    </a:cubicBezTo>
                    <a:cubicBezTo>
                      <a:pt x="1821793" y="5003800"/>
                      <a:pt x="932634" y="4373722"/>
                      <a:pt x="552825" y="3475753"/>
                    </a:cubicBezTo>
                    <a:lnTo>
                      <a:pt x="495953" y="3320367"/>
                    </a:lnTo>
                    <a:lnTo>
                      <a:pt x="500915" y="3318826"/>
                    </a:lnTo>
                    <a:cubicBezTo>
                      <a:pt x="545391" y="3300015"/>
                      <a:pt x="585444" y="3272794"/>
                      <a:pt x="619081" y="3239157"/>
                    </a:cubicBezTo>
                    <a:lnTo>
                      <a:pt x="640281" y="3213463"/>
                    </a:lnTo>
                    <a:lnTo>
                      <a:pt x="627330" y="3205986"/>
                    </a:lnTo>
                    <a:lnTo>
                      <a:pt x="629507" y="3202215"/>
                    </a:lnTo>
                    <a:lnTo>
                      <a:pt x="608093" y="3228169"/>
                    </a:lnTo>
                    <a:cubicBezTo>
                      <a:pt x="543631" y="3292631"/>
                      <a:pt x="454578" y="3332501"/>
                      <a:pt x="356212" y="3332501"/>
                    </a:cubicBezTo>
                    <a:cubicBezTo>
                      <a:pt x="159482" y="3332501"/>
                      <a:pt x="0" y="3173019"/>
                      <a:pt x="0" y="2976289"/>
                    </a:cubicBezTo>
                    <a:cubicBezTo>
                      <a:pt x="0" y="2779558"/>
                      <a:pt x="159482" y="2620076"/>
                      <a:pt x="356212" y="2620076"/>
                    </a:cubicBezTo>
                    <a:cubicBezTo>
                      <a:pt x="552943" y="2620076"/>
                      <a:pt x="712425" y="2779558"/>
                      <a:pt x="712425" y="2976289"/>
                    </a:cubicBezTo>
                    <a:cubicBezTo>
                      <a:pt x="712425" y="3025472"/>
                      <a:pt x="702458" y="3072326"/>
                      <a:pt x="684432" y="3114943"/>
                    </a:cubicBezTo>
                    <a:lnTo>
                      <a:pt x="673181" y="3135671"/>
                    </a:lnTo>
                    <a:lnTo>
                      <a:pt x="2280106" y="4063429"/>
                    </a:lnTo>
                    <a:lnTo>
                      <a:pt x="2290344" y="4044567"/>
                    </a:lnTo>
                    <a:cubicBezTo>
                      <a:pt x="2354358" y="3949814"/>
                      <a:pt x="2462764" y="3887516"/>
                      <a:pt x="2585721" y="3887516"/>
                    </a:cubicBezTo>
                    <a:cubicBezTo>
                      <a:pt x="2782451" y="3887516"/>
                      <a:pt x="2941933" y="4046998"/>
                      <a:pt x="2941933" y="4243729"/>
                    </a:cubicBezTo>
                    <a:cubicBezTo>
                      <a:pt x="2941933" y="4440459"/>
                      <a:pt x="2782451" y="4599941"/>
                      <a:pt x="2585721" y="4599941"/>
                    </a:cubicBezTo>
                    <a:cubicBezTo>
                      <a:pt x="2388990" y="4599941"/>
                      <a:pt x="2229508" y="4440459"/>
                      <a:pt x="2229508" y="4243729"/>
                    </a:cubicBezTo>
                    <a:cubicBezTo>
                      <a:pt x="2229508" y="4219138"/>
                      <a:pt x="2232000" y="4195129"/>
                      <a:pt x="2236745" y="4171940"/>
                    </a:cubicBezTo>
                    <a:lnTo>
                      <a:pt x="2246421" y="4140769"/>
                    </a:lnTo>
                    <a:lnTo>
                      <a:pt x="670484" y="3230901"/>
                    </a:lnTo>
                    <a:lnTo>
                      <a:pt x="716663" y="3360764"/>
                    </a:lnTo>
                    <a:cubicBezTo>
                      <a:pt x="1057315" y="4209347"/>
                      <a:pt x="1887739" y="4808548"/>
                      <a:pt x="2858112" y="4808548"/>
                    </a:cubicBezTo>
                    <a:cubicBezTo>
                      <a:pt x="4132039" y="4808548"/>
                      <a:pt x="5164761" y="3775826"/>
                      <a:pt x="5164761" y="2501899"/>
                    </a:cubicBezTo>
                    <a:close/>
                    <a:moveTo>
                      <a:pt x="5446713" y="1782602"/>
                    </a:moveTo>
                    <a:cubicBezTo>
                      <a:pt x="5303291" y="1782602"/>
                      <a:pt x="5187025" y="1898868"/>
                      <a:pt x="5187025" y="2042290"/>
                    </a:cubicBezTo>
                    <a:cubicBezTo>
                      <a:pt x="5187025" y="2185711"/>
                      <a:pt x="5303291" y="2301978"/>
                      <a:pt x="5446713" y="2301978"/>
                    </a:cubicBezTo>
                    <a:cubicBezTo>
                      <a:pt x="5590134" y="2301978"/>
                      <a:pt x="5706401" y="2185711"/>
                      <a:pt x="5706401" y="2042290"/>
                    </a:cubicBezTo>
                    <a:cubicBezTo>
                      <a:pt x="5706401" y="1898868"/>
                      <a:pt x="5590134" y="1782602"/>
                      <a:pt x="5446713" y="1782602"/>
                    </a:cubicBezTo>
                    <a:close/>
                    <a:moveTo>
                      <a:pt x="5446713" y="1686077"/>
                    </a:moveTo>
                    <a:cubicBezTo>
                      <a:pt x="5643443" y="1686077"/>
                      <a:pt x="5802925" y="1845559"/>
                      <a:pt x="5802925" y="2042290"/>
                    </a:cubicBezTo>
                    <a:cubicBezTo>
                      <a:pt x="5802925" y="2239020"/>
                      <a:pt x="5643443" y="2398502"/>
                      <a:pt x="5446713" y="2398502"/>
                    </a:cubicBezTo>
                    <a:cubicBezTo>
                      <a:pt x="5249982" y="2398502"/>
                      <a:pt x="5090500" y="2239020"/>
                      <a:pt x="5090500" y="2042290"/>
                    </a:cubicBezTo>
                    <a:cubicBezTo>
                      <a:pt x="5090500" y="1845559"/>
                      <a:pt x="5249982" y="1686077"/>
                      <a:pt x="5446713" y="1686077"/>
                    </a:cubicBezTo>
                    <a:close/>
                    <a:moveTo>
                      <a:pt x="3214326" y="506801"/>
                    </a:moveTo>
                    <a:cubicBezTo>
                      <a:pt x="3070904" y="506801"/>
                      <a:pt x="2954638" y="623067"/>
                      <a:pt x="2954638" y="766489"/>
                    </a:cubicBezTo>
                    <a:cubicBezTo>
                      <a:pt x="2954638" y="909910"/>
                      <a:pt x="3070904" y="1026177"/>
                      <a:pt x="3214326" y="1026177"/>
                    </a:cubicBezTo>
                    <a:cubicBezTo>
                      <a:pt x="3357748" y="1026177"/>
                      <a:pt x="3474014" y="909910"/>
                      <a:pt x="3474014" y="766489"/>
                    </a:cubicBezTo>
                    <a:cubicBezTo>
                      <a:pt x="3474014" y="623067"/>
                      <a:pt x="3357748" y="506801"/>
                      <a:pt x="3214326" y="506801"/>
                    </a:cubicBezTo>
                    <a:close/>
                    <a:moveTo>
                      <a:pt x="2858113" y="0"/>
                    </a:moveTo>
                    <a:cubicBezTo>
                      <a:pt x="3910627" y="0"/>
                      <a:pt x="4811343" y="649922"/>
                      <a:pt x="5180831" y="1570335"/>
                    </a:cubicBezTo>
                    <a:lnTo>
                      <a:pt x="5237616" y="1730022"/>
                    </a:lnTo>
                    <a:lnTo>
                      <a:pt x="5188915" y="1770204"/>
                    </a:lnTo>
                    <a:cubicBezTo>
                      <a:pt x="5154099" y="1805020"/>
                      <a:pt x="5125923" y="1846478"/>
                      <a:pt x="5106452" y="1892513"/>
                    </a:cubicBezTo>
                    <a:lnTo>
                      <a:pt x="5092389" y="1937818"/>
                    </a:lnTo>
                    <a:lnTo>
                      <a:pt x="5080885" y="1893078"/>
                    </a:lnTo>
                    <a:lnTo>
                      <a:pt x="5079018" y="1896312"/>
                    </a:lnTo>
                    <a:lnTo>
                      <a:pt x="3495946" y="982324"/>
                    </a:lnTo>
                    <a:lnTo>
                      <a:pt x="3466206" y="1018369"/>
                    </a:lnTo>
                    <a:cubicBezTo>
                      <a:pt x="3401744" y="1082831"/>
                      <a:pt x="3312691" y="1122701"/>
                      <a:pt x="3214326" y="1122701"/>
                    </a:cubicBezTo>
                    <a:cubicBezTo>
                      <a:pt x="3017595" y="1122701"/>
                      <a:pt x="2858113" y="963219"/>
                      <a:pt x="2858113" y="766489"/>
                    </a:cubicBezTo>
                    <a:cubicBezTo>
                      <a:pt x="2858113" y="569758"/>
                      <a:pt x="3017595" y="410276"/>
                      <a:pt x="3214326" y="410276"/>
                    </a:cubicBezTo>
                    <a:cubicBezTo>
                      <a:pt x="3411056" y="410276"/>
                      <a:pt x="3570538" y="569758"/>
                      <a:pt x="3570538" y="766489"/>
                    </a:cubicBezTo>
                    <a:cubicBezTo>
                      <a:pt x="3570538" y="815672"/>
                      <a:pt x="3560571" y="862526"/>
                      <a:pt x="3542545" y="905143"/>
                    </a:cubicBezTo>
                    <a:lnTo>
                      <a:pt x="3539529" y="910700"/>
                    </a:lnTo>
                    <a:lnTo>
                      <a:pt x="5049060" y="1782229"/>
                    </a:lnTo>
                    <a:lnTo>
                      <a:pt x="4999563" y="1643034"/>
                    </a:lnTo>
                    <a:cubicBezTo>
                      <a:pt x="4658910" y="794452"/>
                      <a:pt x="3828487" y="195250"/>
                      <a:pt x="2858112" y="195250"/>
                    </a:cubicBezTo>
                    <a:cubicBezTo>
                      <a:pt x="1584185" y="195250"/>
                      <a:pt x="551463" y="1227972"/>
                      <a:pt x="551463" y="2501899"/>
                    </a:cubicBezTo>
                    <a:lnTo>
                      <a:pt x="559734" y="2665678"/>
                    </a:lnTo>
                    <a:lnTo>
                      <a:pt x="500915" y="2633752"/>
                    </a:lnTo>
                    <a:cubicBezTo>
                      <a:pt x="478678" y="2624346"/>
                      <a:pt x="455334" y="2617043"/>
                      <a:pt x="431134" y="2612091"/>
                    </a:cubicBezTo>
                    <a:lnTo>
                      <a:pt x="361423" y="2605063"/>
                    </a:lnTo>
                    <a:lnTo>
                      <a:pt x="356213" y="2501900"/>
                    </a:lnTo>
                    <a:cubicBezTo>
                      <a:pt x="356213" y="1120139"/>
                      <a:pt x="1476352" y="0"/>
                      <a:pt x="2858113" y="0"/>
                    </a:cubicBez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 dirty="0">
                  <a:latin typeface="メイリオ"/>
                  <a:ea typeface="メイリオ"/>
                  <a:cs typeface="メイリオ"/>
                </a:endParaRPr>
              </a:p>
            </p:txBody>
          </p:sp>
          <p:sp>
            <p:nvSpPr>
              <p:cNvPr id="46" name="TextBox 113"/>
              <p:cNvSpPr txBox="1"/>
              <p:nvPr/>
            </p:nvSpPr>
            <p:spPr>
              <a:xfrm>
                <a:off x="9855199" y="5089727"/>
                <a:ext cx="692099" cy="383182"/>
              </a:xfrm>
              <a:prstGeom prst="rect">
                <a:avLst/>
              </a:prstGeom>
              <a:noFill/>
            </p:spPr>
            <p:txBody>
              <a:bodyPr wrap="square" rtlCol="0">
                <a:spAutoFit/>
              </a:bodyPr>
              <a:lstStyle/>
              <a:p>
                <a:pPr algn="ctr">
                  <a:lnSpc>
                    <a:spcPct val="90000"/>
                  </a:lnSpc>
                </a:pPr>
                <a:r>
                  <a:rPr lang="en-US" sz="700" b="1" dirty="0">
                    <a:solidFill>
                      <a:srgbClr val="36A4D7"/>
                    </a:solidFill>
                    <a:latin typeface="メイリオ"/>
                    <a:ea typeface="メイリオ"/>
                    <a:cs typeface="メイリオ"/>
                  </a:rPr>
                  <a:t>Secure </a:t>
                </a:r>
              </a:p>
              <a:p>
                <a:pPr algn="ctr">
                  <a:lnSpc>
                    <a:spcPct val="90000"/>
                  </a:lnSpc>
                </a:pPr>
                <a:r>
                  <a:rPr lang="en-US" sz="700" b="1" dirty="0">
                    <a:solidFill>
                      <a:srgbClr val="36A4D7"/>
                    </a:solidFill>
                    <a:latin typeface="メイリオ"/>
                    <a:ea typeface="メイリオ"/>
                    <a:cs typeface="メイリオ"/>
                  </a:rPr>
                  <a:t>Data </a:t>
                </a:r>
                <a:br>
                  <a:rPr lang="en-US" sz="700" b="1" dirty="0">
                    <a:solidFill>
                      <a:srgbClr val="36A4D7"/>
                    </a:solidFill>
                    <a:latin typeface="メイリオ"/>
                    <a:ea typeface="メイリオ"/>
                    <a:cs typeface="メイリオ"/>
                  </a:rPr>
                </a:br>
                <a:r>
                  <a:rPr lang="en-US" sz="700" b="1" dirty="0">
                    <a:solidFill>
                      <a:srgbClr val="36A4D7"/>
                    </a:solidFill>
                    <a:latin typeface="メイリオ"/>
                    <a:ea typeface="メイリオ"/>
                    <a:cs typeface="メイリオ"/>
                  </a:rPr>
                  <a:t>Connector</a:t>
                </a:r>
              </a:p>
            </p:txBody>
          </p:sp>
        </p:grpSp>
        <p:cxnSp>
          <p:nvCxnSpPr>
            <p:cNvPr id="37" name="Elbow Connector 66"/>
            <p:cNvCxnSpPr/>
            <p:nvPr/>
          </p:nvCxnSpPr>
          <p:spPr>
            <a:xfrm rot="10800000">
              <a:off x="9991728" y="2808431"/>
              <a:ext cx="683893" cy="641347"/>
            </a:xfrm>
            <a:prstGeom prst="bentConnector3">
              <a:avLst>
                <a:gd name="adj1" fmla="val 557"/>
              </a:avLst>
            </a:prstGeom>
            <a:ln w="9525">
              <a:solidFill>
                <a:schemeClr val="accent2"/>
              </a:solidFill>
              <a:tailEnd type="triangle" w="med" len="sm"/>
            </a:ln>
          </p:spPr>
          <p:style>
            <a:lnRef idx="1">
              <a:schemeClr val="accent1"/>
            </a:lnRef>
            <a:fillRef idx="0">
              <a:schemeClr val="accent1"/>
            </a:fillRef>
            <a:effectRef idx="0">
              <a:schemeClr val="accent1"/>
            </a:effectRef>
            <a:fontRef idx="minor">
              <a:schemeClr val="tx1"/>
            </a:fontRef>
          </p:style>
        </p:cxnSp>
        <p:sp>
          <p:nvSpPr>
            <p:cNvPr id="38" name="Freeform 29"/>
            <p:cNvSpPr>
              <a:spLocks noChangeAspect="1" noEditPoints="1"/>
            </p:cNvSpPr>
            <p:nvPr/>
          </p:nvSpPr>
          <p:spPr bwMode="auto">
            <a:xfrm>
              <a:off x="7618712" y="4460382"/>
              <a:ext cx="442614" cy="312254"/>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tx1"/>
            </a:solidFill>
            <a:ln>
              <a:noFill/>
            </a:ln>
            <a:effectLst/>
          </p:spPr>
          <p:txBody>
            <a:bodyPr vert="horz" wrap="square" lIns="68559" tIns="34280" rIns="68559" bIns="34280" numCol="1" anchor="t" anchorCtr="0" compatLnSpc="1">
              <a:prstTxWarp prst="textNoShape">
                <a:avLst/>
              </a:prstTxWarp>
            </a:bodyPr>
            <a:lstStyle/>
            <a:p>
              <a:pPr defTabSz="684490" fontAlgn="base">
                <a:spcBef>
                  <a:spcPct val="0"/>
                </a:spcBef>
                <a:spcAft>
                  <a:spcPct val="0"/>
                </a:spcAft>
                <a:defRPr/>
              </a:pPr>
              <a:endParaRPr lang="en-US" kern="0" dirty="0">
                <a:solidFill>
                  <a:srgbClr val="0096D6"/>
                </a:solidFill>
                <a:latin typeface="メイリオ"/>
                <a:ea typeface="メイリオ"/>
                <a:cs typeface="メイリオ"/>
              </a:endParaRPr>
            </a:p>
          </p:txBody>
        </p:sp>
        <p:sp>
          <p:nvSpPr>
            <p:cNvPr id="39" name="Freeform 29"/>
            <p:cNvSpPr>
              <a:spLocks noChangeAspect="1" noEditPoints="1"/>
            </p:cNvSpPr>
            <p:nvPr/>
          </p:nvSpPr>
          <p:spPr bwMode="auto">
            <a:xfrm>
              <a:off x="7618712" y="5057282"/>
              <a:ext cx="442614" cy="312254"/>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tx1"/>
            </a:solidFill>
            <a:ln>
              <a:noFill/>
            </a:ln>
            <a:effectLst/>
          </p:spPr>
          <p:txBody>
            <a:bodyPr vert="horz" wrap="square" lIns="68559" tIns="34280" rIns="68559" bIns="34280" numCol="1" anchor="t" anchorCtr="0" compatLnSpc="1">
              <a:prstTxWarp prst="textNoShape">
                <a:avLst/>
              </a:prstTxWarp>
            </a:bodyPr>
            <a:lstStyle/>
            <a:p>
              <a:pPr defTabSz="684490" fontAlgn="base">
                <a:spcBef>
                  <a:spcPct val="0"/>
                </a:spcBef>
                <a:spcAft>
                  <a:spcPct val="0"/>
                </a:spcAft>
                <a:defRPr/>
              </a:pPr>
              <a:endParaRPr lang="en-US" kern="0" dirty="0">
                <a:solidFill>
                  <a:srgbClr val="0096D6"/>
                </a:solidFill>
                <a:latin typeface="メイリオ"/>
                <a:ea typeface="メイリオ"/>
                <a:cs typeface="メイリオ"/>
              </a:endParaRPr>
            </a:p>
          </p:txBody>
        </p:sp>
        <p:cxnSp>
          <p:nvCxnSpPr>
            <p:cNvPr id="40" name="Straight Arrow Connector 35"/>
            <p:cNvCxnSpPr/>
            <p:nvPr/>
          </p:nvCxnSpPr>
          <p:spPr>
            <a:xfrm flipV="1">
              <a:off x="10677199" y="3833158"/>
              <a:ext cx="0" cy="365760"/>
            </a:xfrm>
            <a:prstGeom prst="straightConnector1">
              <a:avLst/>
            </a:prstGeom>
            <a:ln w="9525">
              <a:solidFill>
                <a:schemeClr val="accent2"/>
              </a:solidFill>
              <a:tailEnd type="triangle" w="med" len="sm"/>
            </a:ln>
          </p:spPr>
          <p:style>
            <a:lnRef idx="1">
              <a:schemeClr val="accent1"/>
            </a:lnRef>
            <a:fillRef idx="0">
              <a:schemeClr val="accent1"/>
            </a:fillRef>
            <a:effectRef idx="0">
              <a:schemeClr val="accent1"/>
            </a:effectRef>
            <a:fontRef idx="minor">
              <a:schemeClr val="tx1"/>
            </a:fontRef>
          </p:style>
        </p:cxnSp>
        <p:sp>
          <p:nvSpPr>
            <p:cNvPr id="41" name="Freeform 29"/>
            <p:cNvSpPr>
              <a:spLocks noChangeAspect="1" noEditPoints="1"/>
            </p:cNvSpPr>
            <p:nvPr/>
          </p:nvSpPr>
          <p:spPr bwMode="auto">
            <a:xfrm>
              <a:off x="10771487" y="5057282"/>
              <a:ext cx="442614" cy="312254"/>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tx1"/>
            </a:solidFill>
            <a:ln>
              <a:noFill/>
            </a:ln>
            <a:effectLst/>
          </p:spPr>
          <p:txBody>
            <a:bodyPr vert="horz" wrap="square" lIns="68559" tIns="34280" rIns="68559" bIns="34280" numCol="1" anchor="t" anchorCtr="0" compatLnSpc="1">
              <a:prstTxWarp prst="textNoShape">
                <a:avLst/>
              </a:prstTxWarp>
            </a:bodyPr>
            <a:lstStyle/>
            <a:p>
              <a:pPr defTabSz="684490" fontAlgn="base">
                <a:spcBef>
                  <a:spcPct val="0"/>
                </a:spcBef>
                <a:spcAft>
                  <a:spcPct val="0"/>
                </a:spcAft>
                <a:defRPr/>
              </a:pPr>
              <a:endParaRPr lang="en-US" kern="0" dirty="0">
                <a:solidFill>
                  <a:srgbClr val="0096D6"/>
                </a:solidFill>
                <a:latin typeface="メイリオ"/>
                <a:ea typeface="メイリオ"/>
                <a:cs typeface="メイリオ"/>
              </a:endParaRPr>
            </a:p>
          </p:txBody>
        </p:sp>
        <p:cxnSp>
          <p:nvCxnSpPr>
            <p:cNvPr id="42" name="Straight Connector 84"/>
            <p:cNvCxnSpPr/>
            <p:nvPr/>
          </p:nvCxnSpPr>
          <p:spPr>
            <a:xfrm flipV="1">
              <a:off x="10274405" y="4583279"/>
              <a:ext cx="0" cy="323823"/>
            </a:xfrm>
            <a:prstGeom prst="line">
              <a:avLst/>
            </a:prstGeom>
            <a:ln w="9525">
              <a:solidFill>
                <a:schemeClr val="bg1">
                  <a:lumMod val="65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3" name="Elbow Connector 89"/>
            <p:cNvCxnSpPr/>
            <p:nvPr/>
          </p:nvCxnSpPr>
          <p:spPr>
            <a:xfrm rot="16200000" flipH="1">
              <a:off x="10586561" y="4640878"/>
              <a:ext cx="480060" cy="307657"/>
            </a:xfrm>
            <a:prstGeom prst="bentConnector3">
              <a:avLst>
                <a:gd name="adj1" fmla="val 50000"/>
              </a:avLst>
            </a:prstGeom>
            <a:ln w="9525">
              <a:solidFill>
                <a:schemeClr val="bg1">
                  <a:lumMod val="65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4" name="Straight Connector 91"/>
            <p:cNvCxnSpPr/>
            <p:nvPr/>
          </p:nvCxnSpPr>
          <p:spPr>
            <a:xfrm>
              <a:off x="7840019" y="4781307"/>
              <a:ext cx="0" cy="263908"/>
            </a:xfrm>
            <a:prstGeom prst="line">
              <a:avLst/>
            </a:prstGeom>
            <a:ln w="9525">
              <a:solidFill>
                <a:schemeClr val="bg1">
                  <a:lumMod val="65000"/>
                </a:schemeClr>
              </a:solidFill>
              <a:tailEnd type="triangle" w="med" len="sm"/>
            </a:ln>
          </p:spPr>
          <p:style>
            <a:lnRef idx="1">
              <a:schemeClr val="accent1"/>
            </a:lnRef>
            <a:fillRef idx="0">
              <a:schemeClr val="accent1"/>
            </a:fillRef>
            <a:effectRef idx="0">
              <a:schemeClr val="accent1"/>
            </a:effectRef>
            <a:fontRef idx="minor">
              <a:schemeClr val="tx1"/>
            </a:fontRef>
          </p:style>
        </p:cxnSp>
      </p:grpSp>
      <p:sp>
        <p:nvSpPr>
          <p:cNvPr id="49" name="Rectangle 2"/>
          <p:cNvSpPr/>
          <p:nvPr/>
        </p:nvSpPr>
        <p:spPr>
          <a:xfrm>
            <a:off x="3651948" y="4468371"/>
            <a:ext cx="247218" cy="43721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メイリオ"/>
                <a:ea typeface="メイリオ"/>
                <a:cs typeface="メイリオ"/>
              </a:rPr>
              <a:t>1</a:t>
            </a:r>
          </a:p>
        </p:txBody>
      </p:sp>
      <p:sp>
        <p:nvSpPr>
          <p:cNvPr id="50" name="Rectangle 60"/>
          <p:cNvSpPr/>
          <p:nvPr/>
        </p:nvSpPr>
        <p:spPr>
          <a:xfrm>
            <a:off x="6118020" y="4468371"/>
            <a:ext cx="247218" cy="43721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メイリオ"/>
                <a:ea typeface="メイリオ"/>
                <a:cs typeface="メイリオ"/>
              </a:rPr>
              <a:t>2</a:t>
            </a:r>
          </a:p>
        </p:txBody>
      </p:sp>
    </p:spTree>
    <p:extLst>
      <p:ext uri="{BB962C8B-B14F-4D97-AF65-F5344CB8AC3E}">
        <p14:creationId xmlns:p14="http://schemas.microsoft.com/office/powerpoint/2010/main" val="8934555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250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10" presetClass="entr" presetSubtype="0" fill="hold" grpId="0" nodeType="withEffect">
                                  <p:stCondLst>
                                    <p:cond delay="250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500"/>
                                        <p:tgtEl>
                                          <p:spTgt spid="49"/>
                                        </p:tgtEl>
                                      </p:cBhvr>
                                    </p:animEffect>
                                  </p:childTnLst>
                                </p:cTn>
                              </p:par>
                              <p:par>
                                <p:cTn id="15" presetID="10" presetClass="entr" presetSubtype="0" fill="hold" grpId="0" nodeType="withEffect">
                                  <p:stCondLst>
                                    <p:cond delay="250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Meraki</a:t>
            </a:r>
            <a:r>
              <a:rPr lang="en-US" dirty="0" smtClean="0"/>
              <a:t> MX Update</a:t>
            </a:r>
            <a:endParaRPr lang="en-US" dirty="0"/>
          </a:p>
        </p:txBody>
      </p:sp>
      <p:sp>
        <p:nvSpPr>
          <p:cNvPr id="3" name="サブタイトル 2"/>
          <p:cNvSpPr>
            <a:spLocks noGrp="1"/>
          </p:cNvSpPr>
          <p:nvPr>
            <p:ph type="subTitle" idx="1"/>
          </p:nvPr>
        </p:nvSpPr>
        <p:spPr/>
        <p:txBody>
          <a:bodyPr/>
          <a:lstStyle/>
          <a:p>
            <a:endParaRPr kumimoji="1" lang="ja-JP" altLang="en-US"/>
          </a:p>
        </p:txBody>
      </p:sp>
      <p:sp>
        <p:nvSpPr>
          <p:cNvPr id="6" name="テキスト プレースホルダー 5"/>
          <p:cNvSpPr>
            <a:spLocks noGrp="1"/>
          </p:cNvSpPr>
          <p:nvPr>
            <p:ph type="body" sz="quarter" idx="11"/>
          </p:nvPr>
        </p:nvSpPr>
        <p:spPr/>
        <p:txBody>
          <a:bodyPr/>
          <a:lstStyle/>
          <a:p>
            <a:endParaRPr kumimoji="1" lang="ja-JP" altLang="en-US"/>
          </a:p>
        </p:txBody>
      </p:sp>
    </p:spTree>
    <p:extLst>
      <p:ext uri="{BB962C8B-B14F-4D97-AF65-F5344CB8AC3E}">
        <p14:creationId xmlns:p14="http://schemas.microsoft.com/office/powerpoint/2010/main" val="153197906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520274" cy="443295"/>
          </a:xfrm>
        </p:spPr>
        <p:txBody>
          <a:bodyPr/>
          <a:lstStyle/>
          <a:p>
            <a:r>
              <a:rPr kumimoji="1" lang="en-US" altLang="ja-JP" sz="2000" dirty="0" smtClean="0"/>
              <a:t>Search – </a:t>
            </a:r>
            <a:r>
              <a:rPr kumimoji="1" lang="ja-JP" altLang="en-US" sz="2000" dirty="0" smtClean="0"/>
              <a:t>簡単にどのポリシーがどこで適用されてるかを可視化</a:t>
            </a:r>
            <a:endParaRPr kumimoji="1" lang="ja-JP" altLang="en-US" sz="2000" dirty="0"/>
          </a:p>
        </p:txBody>
      </p:sp>
      <p:sp>
        <p:nvSpPr>
          <p:cNvPr id="127" name="Freeform 862"/>
          <p:cNvSpPr/>
          <p:nvPr/>
        </p:nvSpPr>
        <p:spPr>
          <a:xfrm>
            <a:off x="4717125" y="1202418"/>
            <a:ext cx="3621655" cy="3764757"/>
          </a:xfrm>
          <a:custGeom>
            <a:avLst/>
            <a:gdLst>
              <a:gd name="connsiteX0" fmla="*/ 523266 w 4309685"/>
              <a:gd name="connsiteY0" fmla="*/ 188119 h 3764757"/>
              <a:gd name="connsiteX1" fmla="*/ 254605 w 4309685"/>
              <a:gd name="connsiteY1" fmla="*/ 456780 h 3764757"/>
              <a:gd name="connsiteX2" fmla="*/ 254605 w 4309685"/>
              <a:gd name="connsiteY2" fmla="*/ 3310358 h 3764757"/>
              <a:gd name="connsiteX3" fmla="*/ 523266 w 4309685"/>
              <a:gd name="connsiteY3" fmla="*/ 3579019 h 3764757"/>
              <a:gd name="connsiteX4" fmla="*/ 3786419 w 4309685"/>
              <a:gd name="connsiteY4" fmla="*/ 3579019 h 3764757"/>
              <a:gd name="connsiteX5" fmla="*/ 4055080 w 4309685"/>
              <a:gd name="connsiteY5" fmla="*/ 3310358 h 3764757"/>
              <a:gd name="connsiteX6" fmla="*/ 4055080 w 4309685"/>
              <a:gd name="connsiteY6" fmla="*/ 642938 h 3764757"/>
              <a:gd name="connsiteX7" fmla="*/ 3321844 w 4309685"/>
              <a:gd name="connsiteY7" fmla="*/ 642938 h 3764757"/>
              <a:gd name="connsiteX8" fmla="*/ 3326898 w 4309685"/>
              <a:gd name="connsiteY8" fmla="*/ 188119 h 3764757"/>
              <a:gd name="connsiteX9" fmla="*/ 3328988 w 4309685"/>
              <a:gd name="connsiteY9" fmla="*/ 0 h 3764757"/>
              <a:gd name="connsiteX10" fmla="*/ 3332612 w 4309685"/>
              <a:gd name="connsiteY10" fmla="*/ 2382 h 3764757"/>
              <a:gd name="connsiteX11" fmla="*/ 3334011 w 4309685"/>
              <a:gd name="connsiteY11" fmla="*/ 2382 h 3764757"/>
              <a:gd name="connsiteX12" fmla="*/ 3616002 w 4309685"/>
              <a:gd name="connsiteY12" fmla="*/ 188119 h 3764757"/>
              <a:gd name="connsiteX13" fmla="*/ 3615236 w 4309685"/>
              <a:gd name="connsiteY13" fmla="*/ 188119 h 3764757"/>
              <a:gd name="connsiteX14" fmla="*/ 4307304 w 4309685"/>
              <a:gd name="connsiteY14" fmla="*/ 642938 h 3764757"/>
              <a:gd name="connsiteX15" fmla="*/ 4306518 w 4309685"/>
              <a:gd name="connsiteY15" fmla="*/ 642938 h 3764757"/>
              <a:gd name="connsiteX16" fmla="*/ 4309685 w 4309685"/>
              <a:gd name="connsiteY16" fmla="*/ 645024 h 3764757"/>
              <a:gd name="connsiteX17" fmla="*/ 4309685 w 4309685"/>
              <a:gd name="connsiteY17" fmla="*/ 3356765 h 3764757"/>
              <a:gd name="connsiteX18" fmla="*/ 3901693 w 4309685"/>
              <a:gd name="connsiteY18" fmla="*/ 3764757 h 3764757"/>
              <a:gd name="connsiteX19" fmla="*/ 407992 w 4309685"/>
              <a:gd name="connsiteY19" fmla="*/ 3764757 h 3764757"/>
              <a:gd name="connsiteX20" fmla="*/ 0 w 4309685"/>
              <a:gd name="connsiteY20" fmla="*/ 3356765 h 3764757"/>
              <a:gd name="connsiteX21" fmla="*/ 0 w 4309685"/>
              <a:gd name="connsiteY21" fmla="*/ 410374 h 3764757"/>
              <a:gd name="connsiteX22" fmla="*/ 407992 w 4309685"/>
              <a:gd name="connsiteY22" fmla="*/ 2382 h 3764757"/>
              <a:gd name="connsiteX23" fmla="*/ 3328962 w 4309685"/>
              <a:gd name="connsiteY23" fmla="*/ 2382 h 376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09685" h="3764757">
                <a:moveTo>
                  <a:pt x="523266" y="188119"/>
                </a:moveTo>
                <a:cubicBezTo>
                  <a:pt x="374889" y="188119"/>
                  <a:pt x="254605" y="308403"/>
                  <a:pt x="254605" y="456780"/>
                </a:cubicBezTo>
                <a:lnTo>
                  <a:pt x="254605" y="3310358"/>
                </a:lnTo>
                <a:cubicBezTo>
                  <a:pt x="254605" y="3458735"/>
                  <a:pt x="374889" y="3579019"/>
                  <a:pt x="523266" y="3579019"/>
                </a:cubicBezTo>
                <a:lnTo>
                  <a:pt x="3786419" y="3579019"/>
                </a:lnTo>
                <a:cubicBezTo>
                  <a:pt x="3934796" y="3579019"/>
                  <a:pt x="4055080" y="3458735"/>
                  <a:pt x="4055080" y="3310358"/>
                </a:cubicBezTo>
                <a:lnTo>
                  <a:pt x="4055080" y="642938"/>
                </a:lnTo>
                <a:lnTo>
                  <a:pt x="3321844" y="642938"/>
                </a:lnTo>
                <a:lnTo>
                  <a:pt x="3326898" y="188119"/>
                </a:lnTo>
                <a:close/>
                <a:moveTo>
                  <a:pt x="3328988" y="0"/>
                </a:moveTo>
                <a:lnTo>
                  <a:pt x="3332612" y="2382"/>
                </a:lnTo>
                <a:lnTo>
                  <a:pt x="3334011" y="2382"/>
                </a:lnTo>
                <a:lnTo>
                  <a:pt x="3616002" y="188119"/>
                </a:lnTo>
                <a:lnTo>
                  <a:pt x="3615236" y="188119"/>
                </a:lnTo>
                <a:lnTo>
                  <a:pt x="4307304" y="642938"/>
                </a:lnTo>
                <a:lnTo>
                  <a:pt x="4306518" y="642938"/>
                </a:lnTo>
                <a:lnTo>
                  <a:pt x="4309685" y="645024"/>
                </a:lnTo>
                <a:lnTo>
                  <a:pt x="4309685" y="3356765"/>
                </a:lnTo>
                <a:cubicBezTo>
                  <a:pt x="4309685" y="3582093"/>
                  <a:pt x="4127021" y="3764757"/>
                  <a:pt x="3901693" y="3764757"/>
                </a:cubicBezTo>
                <a:lnTo>
                  <a:pt x="407992" y="3764757"/>
                </a:lnTo>
                <a:cubicBezTo>
                  <a:pt x="182664" y="3764757"/>
                  <a:pt x="0" y="3582093"/>
                  <a:pt x="0" y="3356765"/>
                </a:cubicBezTo>
                <a:lnTo>
                  <a:pt x="0" y="410374"/>
                </a:lnTo>
                <a:cubicBezTo>
                  <a:pt x="0" y="185046"/>
                  <a:pt x="182664" y="2382"/>
                  <a:pt x="407992" y="2382"/>
                </a:cubicBezTo>
                <a:lnTo>
                  <a:pt x="3328962" y="2382"/>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7"/>
          <p:cNvGrpSpPr/>
          <p:nvPr/>
        </p:nvGrpSpPr>
        <p:grpSpPr>
          <a:xfrm>
            <a:off x="398146" y="1121507"/>
            <a:ext cx="4287972" cy="3937000"/>
            <a:chOff x="3570153" y="2133600"/>
            <a:chExt cx="4287972" cy="3937000"/>
          </a:xfrm>
        </p:grpSpPr>
        <p:sp>
          <p:nvSpPr>
            <p:cNvPr id="129" name="Freeform 367"/>
            <p:cNvSpPr/>
            <p:nvPr/>
          </p:nvSpPr>
          <p:spPr>
            <a:xfrm>
              <a:off x="3570153" y="2133600"/>
              <a:ext cx="4287972" cy="3937000"/>
            </a:xfrm>
            <a:custGeom>
              <a:avLst/>
              <a:gdLst>
                <a:gd name="connsiteX0" fmla="*/ 0 w 2932215"/>
                <a:gd name="connsiteY0" fmla="*/ 0 h 3952564"/>
                <a:gd name="connsiteX1" fmla="*/ 675996 w 2932215"/>
                <a:gd name="connsiteY1" fmla="*/ 0 h 3952564"/>
                <a:gd name="connsiteX2" fmla="*/ 675996 w 2932215"/>
                <a:gd name="connsiteY2" fmla="*/ 3230 h 3952564"/>
                <a:gd name="connsiteX3" fmla="*/ 2551541 w 2932215"/>
                <a:gd name="connsiteY3" fmla="*/ 960940 h 3952564"/>
                <a:gd name="connsiteX4" fmla="*/ 2551541 w 2932215"/>
                <a:gd name="connsiteY4" fmla="*/ 956121 h 3952564"/>
                <a:gd name="connsiteX5" fmla="*/ 2932215 w 2932215"/>
                <a:gd name="connsiteY5" fmla="*/ 956121 h 3952564"/>
                <a:gd name="connsiteX6" fmla="*/ 2932215 w 2932215"/>
                <a:gd name="connsiteY6" fmla="*/ 2991187 h 3952564"/>
                <a:gd name="connsiteX7" fmla="*/ 2551541 w 2932215"/>
                <a:gd name="connsiteY7" fmla="*/ 2991187 h 3952564"/>
                <a:gd name="connsiteX8" fmla="*/ 2551541 w 2932215"/>
                <a:gd name="connsiteY8" fmla="*/ 2988709 h 3952564"/>
                <a:gd name="connsiteX9" fmla="*/ 675996 w 2932215"/>
                <a:gd name="connsiteY9" fmla="*/ 3946418 h 3952564"/>
                <a:gd name="connsiteX10" fmla="*/ 675996 w 2932215"/>
                <a:gd name="connsiteY10" fmla="*/ 3952564 h 3952564"/>
                <a:gd name="connsiteX11" fmla="*/ 0 w 2932215"/>
                <a:gd name="connsiteY11" fmla="*/ 3952564 h 395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2215" h="3952564">
                  <a:moveTo>
                    <a:pt x="0" y="0"/>
                  </a:moveTo>
                  <a:lnTo>
                    <a:pt x="675996" y="0"/>
                  </a:lnTo>
                  <a:lnTo>
                    <a:pt x="675996" y="3230"/>
                  </a:lnTo>
                  <a:lnTo>
                    <a:pt x="2551541" y="960940"/>
                  </a:lnTo>
                  <a:lnTo>
                    <a:pt x="2551541" y="956121"/>
                  </a:lnTo>
                  <a:lnTo>
                    <a:pt x="2932215" y="956121"/>
                  </a:lnTo>
                  <a:lnTo>
                    <a:pt x="2932215" y="2991187"/>
                  </a:lnTo>
                  <a:lnTo>
                    <a:pt x="2551541" y="2991187"/>
                  </a:lnTo>
                  <a:lnTo>
                    <a:pt x="2551541" y="2988709"/>
                  </a:lnTo>
                  <a:lnTo>
                    <a:pt x="675996" y="3946418"/>
                  </a:lnTo>
                  <a:lnTo>
                    <a:pt x="675996" y="3952564"/>
                  </a:lnTo>
                  <a:lnTo>
                    <a:pt x="0" y="3952564"/>
                  </a:lnTo>
                  <a:close/>
                </a:path>
              </a:pathLst>
            </a:custGeom>
            <a:solidFill>
              <a:srgbClr val="FAFA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Oval 292"/>
            <p:cNvSpPr/>
            <p:nvPr/>
          </p:nvSpPr>
          <p:spPr>
            <a:xfrm>
              <a:off x="5016401" y="431434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31" name="Oval 368"/>
            <p:cNvSpPr/>
            <p:nvPr/>
          </p:nvSpPr>
          <p:spPr>
            <a:xfrm>
              <a:off x="4997804" y="3513885"/>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32" name="Oval 302"/>
            <p:cNvSpPr/>
            <p:nvPr/>
          </p:nvSpPr>
          <p:spPr>
            <a:xfrm>
              <a:off x="5164145" y="305220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33" name="Group 41"/>
            <p:cNvGrpSpPr/>
            <p:nvPr/>
          </p:nvGrpSpPr>
          <p:grpSpPr>
            <a:xfrm>
              <a:off x="4961315" y="4869732"/>
              <a:ext cx="314169" cy="376283"/>
              <a:chOff x="2699362" y="419773"/>
              <a:chExt cx="1310784" cy="1503649"/>
            </a:xfrm>
            <a:solidFill>
              <a:schemeClr val="bg1">
                <a:lumMod val="85000"/>
              </a:schemeClr>
            </a:solidFill>
          </p:grpSpPr>
          <p:grpSp>
            <p:nvGrpSpPr>
              <p:cNvPr id="908" name="Group 66"/>
              <p:cNvGrpSpPr/>
              <p:nvPr/>
            </p:nvGrpSpPr>
            <p:grpSpPr>
              <a:xfrm>
                <a:off x="2699362" y="419773"/>
                <a:ext cx="1310784" cy="1503649"/>
                <a:chOff x="2699358" y="419774"/>
                <a:chExt cx="1310782" cy="1503648"/>
              </a:xfrm>
              <a:grpFill/>
            </p:grpSpPr>
            <p:sp>
              <p:nvSpPr>
                <p:cNvPr id="914" name="Freeform 72"/>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15" name="Rectangle 7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16" name="Rectangle 7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09" name="Rectangle 6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10" name="Rectangle 6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11" name="Rectangle 6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12" name="Rectangle 7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1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4" name="Group 75"/>
            <p:cNvGrpSpPr/>
            <p:nvPr/>
          </p:nvGrpSpPr>
          <p:grpSpPr>
            <a:xfrm>
              <a:off x="6471786" y="4103627"/>
              <a:ext cx="314169" cy="376283"/>
              <a:chOff x="2699362" y="419773"/>
              <a:chExt cx="1310784" cy="1503649"/>
            </a:xfrm>
            <a:solidFill>
              <a:schemeClr val="bg1">
                <a:lumMod val="85000"/>
              </a:schemeClr>
            </a:solidFill>
          </p:grpSpPr>
          <p:grpSp>
            <p:nvGrpSpPr>
              <p:cNvPr id="899" name="Group 76"/>
              <p:cNvGrpSpPr/>
              <p:nvPr/>
            </p:nvGrpSpPr>
            <p:grpSpPr>
              <a:xfrm>
                <a:off x="2699362" y="419773"/>
                <a:ext cx="1310784" cy="1503649"/>
                <a:chOff x="2699358" y="419774"/>
                <a:chExt cx="1310782" cy="1503648"/>
              </a:xfrm>
              <a:grpFill/>
            </p:grpSpPr>
            <p:sp>
              <p:nvSpPr>
                <p:cNvPr id="90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06" name="Rectangle 8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07" name="Rectangle 8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00" name="Rectangle 7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01" name="Rectangle 7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02" name="Rectangle 7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03" name="Rectangle 8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0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5" name="Group 95"/>
            <p:cNvGrpSpPr/>
            <p:nvPr/>
          </p:nvGrpSpPr>
          <p:grpSpPr>
            <a:xfrm>
              <a:off x="5451907" y="4577993"/>
              <a:ext cx="314169" cy="376283"/>
              <a:chOff x="2699362" y="419773"/>
              <a:chExt cx="1310784" cy="1503649"/>
            </a:xfrm>
            <a:solidFill>
              <a:schemeClr val="bg1">
                <a:lumMod val="85000"/>
              </a:schemeClr>
            </a:solidFill>
          </p:grpSpPr>
          <p:grpSp>
            <p:nvGrpSpPr>
              <p:cNvPr id="890" name="Group 96"/>
              <p:cNvGrpSpPr/>
              <p:nvPr/>
            </p:nvGrpSpPr>
            <p:grpSpPr>
              <a:xfrm>
                <a:off x="2699362" y="419773"/>
                <a:ext cx="1310784" cy="1503649"/>
                <a:chOff x="2699358" y="419774"/>
                <a:chExt cx="1310782" cy="1503648"/>
              </a:xfrm>
              <a:grpFill/>
            </p:grpSpPr>
            <p:sp>
              <p:nvSpPr>
                <p:cNvPr id="896"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97" name="Rectangle 10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98" name="Rectangle 10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91" name="Rectangle 9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92" name="Rectangle 9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93" name="Rectangle 9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94" name="Rectangle 10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9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6" name="Group 131"/>
            <p:cNvGrpSpPr/>
            <p:nvPr/>
          </p:nvGrpSpPr>
          <p:grpSpPr>
            <a:xfrm>
              <a:off x="4456693" y="3328802"/>
              <a:ext cx="314169" cy="376283"/>
              <a:chOff x="2699362" y="419773"/>
              <a:chExt cx="1310784" cy="1503649"/>
            </a:xfrm>
            <a:solidFill>
              <a:schemeClr val="bg1">
                <a:lumMod val="85000"/>
              </a:schemeClr>
            </a:solidFill>
          </p:grpSpPr>
          <p:grpSp>
            <p:nvGrpSpPr>
              <p:cNvPr id="881" name="Group 132"/>
              <p:cNvGrpSpPr/>
              <p:nvPr/>
            </p:nvGrpSpPr>
            <p:grpSpPr>
              <a:xfrm>
                <a:off x="2699362" y="419773"/>
                <a:ext cx="1310784" cy="1503649"/>
                <a:chOff x="2699358" y="419774"/>
                <a:chExt cx="1310782" cy="1503648"/>
              </a:xfrm>
              <a:grpFill/>
            </p:grpSpPr>
            <p:sp>
              <p:nvSpPr>
                <p:cNvPr id="887" name="Freeform 13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88" name="Rectangle 13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89" name="Rectangle 14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82" name="Rectangle 13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83" name="Rectangle 13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84" name="Rectangle 13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85" name="Rectangle 13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8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7" name="Group 141"/>
            <p:cNvGrpSpPr/>
            <p:nvPr/>
          </p:nvGrpSpPr>
          <p:grpSpPr>
            <a:xfrm>
              <a:off x="4003396" y="4544683"/>
              <a:ext cx="314169" cy="376283"/>
              <a:chOff x="2699362" y="419773"/>
              <a:chExt cx="1310784" cy="1503649"/>
            </a:xfrm>
            <a:solidFill>
              <a:schemeClr val="bg1">
                <a:lumMod val="85000"/>
              </a:schemeClr>
            </a:solidFill>
          </p:grpSpPr>
          <p:grpSp>
            <p:nvGrpSpPr>
              <p:cNvPr id="872" name="Group 142"/>
              <p:cNvGrpSpPr/>
              <p:nvPr/>
            </p:nvGrpSpPr>
            <p:grpSpPr>
              <a:xfrm>
                <a:off x="2699362" y="419773"/>
                <a:ext cx="1310784" cy="1503649"/>
                <a:chOff x="2699358" y="419774"/>
                <a:chExt cx="1310782" cy="1503648"/>
              </a:xfrm>
              <a:grpFill/>
            </p:grpSpPr>
            <p:sp>
              <p:nvSpPr>
                <p:cNvPr id="87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79" name="Rectangle 14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80" name="Rectangle 15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73" name="Rectangle 14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74" name="Rectangle 14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75" name="Rectangle 14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76" name="Rectangle 14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7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8" name="Group 151"/>
            <p:cNvGrpSpPr/>
            <p:nvPr/>
          </p:nvGrpSpPr>
          <p:grpSpPr>
            <a:xfrm>
              <a:off x="4861706" y="2977693"/>
              <a:ext cx="314169" cy="376283"/>
              <a:chOff x="2699362" y="419773"/>
              <a:chExt cx="1310784" cy="1503649"/>
            </a:xfrm>
            <a:solidFill>
              <a:schemeClr val="bg1">
                <a:lumMod val="85000"/>
              </a:schemeClr>
            </a:solidFill>
          </p:grpSpPr>
          <p:grpSp>
            <p:nvGrpSpPr>
              <p:cNvPr id="863" name="Group 152"/>
              <p:cNvGrpSpPr/>
              <p:nvPr/>
            </p:nvGrpSpPr>
            <p:grpSpPr>
              <a:xfrm>
                <a:off x="2699362" y="419773"/>
                <a:ext cx="1310784" cy="1503649"/>
                <a:chOff x="2699358" y="419774"/>
                <a:chExt cx="1310782" cy="1503648"/>
              </a:xfrm>
              <a:grpFill/>
            </p:grpSpPr>
            <p:sp>
              <p:nvSpPr>
                <p:cNvPr id="869" name="Freeform 15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70" name="Rectangle 15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71" name="Rectangle 16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64" name="Rectangle 15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65" name="Rectangle 15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66" name="Rectangle 15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67" name="Rectangle 15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6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39" name="Group 161"/>
            <p:cNvGrpSpPr/>
            <p:nvPr/>
          </p:nvGrpSpPr>
          <p:grpSpPr>
            <a:xfrm>
              <a:off x="5481905" y="3323339"/>
              <a:ext cx="314169" cy="376283"/>
              <a:chOff x="2699362" y="419773"/>
              <a:chExt cx="1310784" cy="1503649"/>
            </a:xfrm>
            <a:solidFill>
              <a:schemeClr val="bg1">
                <a:lumMod val="85000"/>
              </a:schemeClr>
            </a:solidFill>
          </p:grpSpPr>
          <p:grpSp>
            <p:nvGrpSpPr>
              <p:cNvPr id="854" name="Group 162"/>
              <p:cNvGrpSpPr/>
              <p:nvPr/>
            </p:nvGrpSpPr>
            <p:grpSpPr>
              <a:xfrm>
                <a:off x="2699362" y="419773"/>
                <a:ext cx="1310784" cy="1503649"/>
                <a:chOff x="2699358" y="419774"/>
                <a:chExt cx="1310782" cy="1503648"/>
              </a:xfrm>
              <a:grpFill/>
            </p:grpSpPr>
            <p:sp>
              <p:nvSpPr>
                <p:cNvPr id="86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61" name="Rectangle 16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62" name="Rectangle 17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55" name="Rectangle 16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56" name="Rectangle 16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57" name="Rectangle 16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58" name="Rectangle 16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5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0" name="Group 181"/>
            <p:cNvGrpSpPr/>
            <p:nvPr/>
          </p:nvGrpSpPr>
          <p:grpSpPr>
            <a:xfrm>
              <a:off x="5652751" y="3783912"/>
              <a:ext cx="314169" cy="376283"/>
              <a:chOff x="2699362" y="419773"/>
              <a:chExt cx="1310784" cy="1503649"/>
            </a:xfrm>
            <a:solidFill>
              <a:schemeClr val="bg1">
                <a:lumMod val="85000"/>
              </a:schemeClr>
            </a:solidFill>
          </p:grpSpPr>
          <p:grpSp>
            <p:nvGrpSpPr>
              <p:cNvPr id="845" name="Group 182"/>
              <p:cNvGrpSpPr/>
              <p:nvPr/>
            </p:nvGrpSpPr>
            <p:grpSpPr>
              <a:xfrm>
                <a:off x="2699362" y="419773"/>
                <a:ext cx="1310784" cy="1503649"/>
                <a:chOff x="2699358" y="419774"/>
                <a:chExt cx="1310782" cy="1503648"/>
              </a:xfrm>
              <a:grpFill/>
            </p:grpSpPr>
            <p:sp>
              <p:nvSpPr>
                <p:cNvPr id="85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52" name="Rectangle 18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53" name="Rectangle 19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46" name="Rectangle 18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47" name="Rectangle 18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48" name="Rectangle 18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49" name="Rectangle 18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5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1" name="Group 191"/>
            <p:cNvGrpSpPr/>
            <p:nvPr/>
          </p:nvGrpSpPr>
          <p:grpSpPr>
            <a:xfrm>
              <a:off x="5281435" y="3916656"/>
              <a:ext cx="314169" cy="376283"/>
              <a:chOff x="2699362" y="419773"/>
              <a:chExt cx="1310784" cy="1503649"/>
            </a:xfrm>
            <a:solidFill>
              <a:schemeClr val="bg1">
                <a:lumMod val="85000"/>
              </a:schemeClr>
            </a:solidFill>
          </p:grpSpPr>
          <p:grpSp>
            <p:nvGrpSpPr>
              <p:cNvPr id="836" name="Group 192"/>
              <p:cNvGrpSpPr/>
              <p:nvPr/>
            </p:nvGrpSpPr>
            <p:grpSpPr>
              <a:xfrm>
                <a:off x="2699362" y="419773"/>
                <a:ext cx="1310784" cy="1503649"/>
                <a:chOff x="2699358" y="419774"/>
                <a:chExt cx="1310782" cy="1503648"/>
              </a:xfrm>
              <a:grpFill/>
            </p:grpSpPr>
            <p:sp>
              <p:nvSpPr>
                <p:cNvPr id="842" name="Freeform 19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43" name="Rectangle 19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44" name="Rectangle 20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37" name="Rectangle 19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38" name="Rectangle 19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39" name="Rectangle 19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40" name="Rectangle 19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4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2" name="Group 201"/>
            <p:cNvGrpSpPr/>
            <p:nvPr/>
          </p:nvGrpSpPr>
          <p:grpSpPr>
            <a:xfrm>
              <a:off x="4293168" y="4421765"/>
              <a:ext cx="314169" cy="376283"/>
              <a:chOff x="2699362" y="419773"/>
              <a:chExt cx="1310784" cy="1503649"/>
            </a:xfrm>
            <a:solidFill>
              <a:schemeClr val="bg1">
                <a:lumMod val="85000"/>
              </a:schemeClr>
            </a:solidFill>
          </p:grpSpPr>
          <p:grpSp>
            <p:nvGrpSpPr>
              <p:cNvPr id="827" name="Group 202"/>
              <p:cNvGrpSpPr/>
              <p:nvPr/>
            </p:nvGrpSpPr>
            <p:grpSpPr>
              <a:xfrm>
                <a:off x="2699362" y="419773"/>
                <a:ext cx="1310784" cy="1503649"/>
                <a:chOff x="2699358" y="419774"/>
                <a:chExt cx="1310782" cy="1503648"/>
              </a:xfrm>
              <a:grpFill/>
            </p:grpSpPr>
            <p:sp>
              <p:nvSpPr>
                <p:cNvPr id="83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34" name="Rectangle 20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35" name="Rectangle 21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28" name="Rectangle 20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29" name="Rectangle 20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30" name="Rectangle 20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31" name="Rectangle 20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3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3" name="Group 211"/>
            <p:cNvGrpSpPr/>
            <p:nvPr/>
          </p:nvGrpSpPr>
          <p:grpSpPr>
            <a:xfrm>
              <a:off x="4667960" y="3729817"/>
              <a:ext cx="314169" cy="376283"/>
              <a:chOff x="2699362" y="419773"/>
              <a:chExt cx="1310784" cy="1503649"/>
            </a:xfrm>
            <a:solidFill>
              <a:schemeClr val="bg1">
                <a:lumMod val="85000"/>
              </a:schemeClr>
            </a:solidFill>
          </p:grpSpPr>
          <p:grpSp>
            <p:nvGrpSpPr>
              <p:cNvPr id="818" name="Group 212"/>
              <p:cNvGrpSpPr/>
              <p:nvPr/>
            </p:nvGrpSpPr>
            <p:grpSpPr>
              <a:xfrm>
                <a:off x="2699362" y="419773"/>
                <a:ext cx="1310784" cy="1503649"/>
                <a:chOff x="2699358" y="419774"/>
                <a:chExt cx="1310782" cy="1503648"/>
              </a:xfrm>
              <a:grpFill/>
            </p:grpSpPr>
            <p:sp>
              <p:nvSpPr>
                <p:cNvPr id="824" name="Freeform 21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25" name="Rectangle 21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26" name="Rectangle 22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19" name="Rectangle 21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20" name="Rectangle 21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21" name="Rectangle 21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22" name="Rectangle 21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2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4" name="Group 221"/>
            <p:cNvGrpSpPr/>
            <p:nvPr/>
          </p:nvGrpSpPr>
          <p:grpSpPr>
            <a:xfrm>
              <a:off x="5956817" y="3422027"/>
              <a:ext cx="314169" cy="376283"/>
              <a:chOff x="2699362" y="419773"/>
              <a:chExt cx="1310784" cy="1503649"/>
            </a:xfrm>
            <a:solidFill>
              <a:schemeClr val="bg1">
                <a:lumMod val="85000"/>
              </a:schemeClr>
            </a:solidFill>
          </p:grpSpPr>
          <p:grpSp>
            <p:nvGrpSpPr>
              <p:cNvPr id="809" name="Group 222"/>
              <p:cNvGrpSpPr/>
              <p:nvPr/>
            </p:nvGrpSpPr>
            <p:grpSpPr>
              <a:xfrm>
                <a:off x="2699362" y="419773"/>
                <a:ext cx="1310784" cy="1503649"/>
                <a:chOff x="2699358" y="419774"/>
                <a:chExt cx="1310782" cy="1503648"/>
              </a:xfrm>
              <a:grpFill/>
            </p:grpSpPr>
            <p:sp>
              <p:nvSpPr>
                <p:cNvPr id="81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16" name="Rectangle 22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17" name="Rectangle 23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10" name="Rectangle 22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11" name="Rectangle 22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12" name="Rectangle 22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13" name="Rectangle 22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1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5" name="Group 231"/>
            <p:cNvGrpSpPr/>
            <p:nvPr/>
          </p:nvGrpSpPr>
          <p:grpSpPr>
            <a:xfrm>
              <a:off x="5575537" y="4244102"/>
              <a:ext cx="314169" cy="376283"/>
              <a:chOff x="2699362" y="419773"/>
              <a:chExt cx="1310784" cy="1503649"/>
            </a:xfrm>
            <a:solidFill>
              <a:schemeClr val="bg1">
                <a:lumMod val="85000"/>
              </a:schemeClr>
            </a:solidFill>
          </p:grpSpPr>
          <p:grpSp>
            <p:nvGrpSpPr>
              <p:cNvPr id="800" name="Group 232"/>
              <p:cNvGrpSpPr/>
              <p:nvPr/>
            </p:nvGrpSpPr>
            <p:grpSpPr>
              <a:xfrm>
                <a:off x="2699362" y="419773"/>
                <a:ext cx="1310784" cy="1503649"/>
                <a:chOff x="2699358" y="419774"/>
                <a:chExt cx="1310782" cy="1503648"/>
              </a:xfrm>
              <a:grpFill/>
            </p:grpSpPr>
            <p:sp>
              <p:nvSpPr>
                <p:cNvPr id="806" name="Freeform 23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07" name="Rectangle 23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08" name="Rectangle 24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801" name="Rectangle 23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02" name="Rectangle 23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03" name="Rectangle 23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04" name="Rectangle 23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80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6" name="Group 241"/>
            <p:cNvGrpSpPr/>
            <p:nvPr/>
          </p:nvGrpSpPr>
          <p:grpSpPr>
            <a:xfrm>
              <a:off x="6029753" y="3883128"/>
              <a:ext cx="314169" cy="376283"/>
              <a:chOff x="2699362" y="419773"/>
              <a:chExt cx="1310784" cy="1503649"/>
            </a:xfrm>
            <a:solidFill>
              <a:schemeClr val="bg1">
                <a:lumMod val="85000"/>
              </a:schemeClr>
            </a:solidFill>
          </p:grpSpPr>
          <p:grpSp>
            <p:nvGrpSpPr>
              <p:cNvPr id="791" name="Group 242"/>
              <p:cNvGrpSpPr/>
              <p:nvPr/>
            </p:nvGrpSpPr>
            <p:grpSpPr>
              <a:xfrm>
                <a:off x="2699362" y="419773"/>
                <a:ext cx="1310784" cy="1503649"/>
                <a:chOff x="2699358" y="419774"/>
                <a:chExt cx="1310782" cy="1503648"/>
              </a:xfrm>
              <a:grpFill/>
            </p:grpSpPr>
            <p:sp>
              <p:nvSpPr>
                <p:cNvPr id="797"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98" name="Rectangle 24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99" name="Rectangle 25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92" name="Rectangle 24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93" name="Rectangle 24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94" name="Rectangle 24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95" name="Rectangle 24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9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7" name="Group 261"/>
            <p:cNvGrpSpPr/>
            <p:nvPr/>
          </p:nvGrpSpPr>
          <p:grpSpPr>
            <a:xfrm>
              <a:off x="6182153" y="4035528"/>
              <a:ext cx="314169" cy="376283"/>
              <a:chOff x="2699362" y="419773"/>
              <a:chExt cx="1310784" cy="1503649"/>
            </a:xfrm>
            <a:solidFill>
              <a:schemeClr val="bg1">
                <a:lumMod val="85000"/>
              </a:schemeClr>
            </a:solidFill>
          </p:grpSpPr>
          <p:grpSp>
            <p:nvGrpSpPr>
              <p:cNvPr id="782" name="Group 262"/>
              <p:cNvGrpSpPr/>
              <p:nvPr/>
            </p:nvGrpSpPr>
            <p:grpSpPr>
              <a:xfrm>
                <a:off x="2699362" y="419773"/>
                <a:ext cx="1310784" cy="1503649"/>
                <a:chOff x="2699358" y="419774"/>
                <a:chExt cx="1310782" cy="1503648"/>
              </a:xfrm>
              <a:grpFill/>
            </p:grpSpPr>
            <p:sp>
              <p:nvSpPr>
                <p:cNvPr id="78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89" name="Rectangle 26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90" name="Rectangle 27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83" name="Rectangle 26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84" name="Rectangle 26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85" name="Rectangle 26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86" name="Rectangle 26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8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8" name="Group 271"/>
            <p:cNvGrpSpPr/>
            <p:nvPr/>
          </p:nvGrpSpPr>
          <p:grpSpPr>
            <a:xfrm>
              <a:off x="4746491" y="4236155"/>
              <a:ext cx="314169" cy="376283"/>
              <a:chOff x="2699362" y="419773"/>
              <a:chExt cx="1310784" cy="1503649"/>
            </a:xfrm>
            <a:solidFill>
              <a:schemeClr val="bg1">
                <a:lumMod val="85000"/>
              </a:schemeClr>
            </a:solidFill>
          </p:grpSpPr>
          <p:grpSp>
            <p:nvGrpSpPr>
              <p:cNvPr id="773" name="Group 272"/>
              <p:cNvGrpSpPr/>
              <p:nvPr/>
            </p:nvGrpSpPr>
            <p:grpSpPr>
              <a:xfrm>
                <a:off x="2699362" y="419773"/>
                <a:ext cx="1310784" cy="1503649"/>
                <a:chOff x="2699358" y="419774"/>
                <a:chExt cx="1310782" cy="1503648"/>
              </a:xfrm>
              <a:grpFill/>
            </p:grpSpPr>
            <p:sp>
              <p:nvSpPr>
                <p:cNvPr id="779" name="Freeform 27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80" name="Rectangle 27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81" name="Rectangle 28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74" name="Rectangle 27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75" name="Rectangle 27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76" name="Rectangle 27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77" name="Rectangle 27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7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49" name="Group 281"/>
            <p:cNvGrpSpPr/>
            <p:nvPr/>
          </p:nvGrpSpPr>
          <p:grpSpPr>
            <a:xfrm>
              <a:off x="6207450" y="4516355"/>
              <a:ext cx="314169" cy="376283"/>
              <a:chOff x="2699362" y="419773"/>
              <a:chExt cx="1310784" cy="1503649"/>
            </a:xfrm>
            <a:solidFill>
              <a:schemeClr val="bg1">
                <a:lumMod val="85000"/>
              </a:schemeClr>
            </a:solidFill>
          </p:grpSpPr>
          <p:grpSp>
            <p:nvGrpSpPr>
              <p:cNvPr id="764" name="Group 282"/>
              <p:cNvGrpSpPr/>
              <p:nvPr/>
            </p:nvGrpSpPr>
            <p:grpSpPr>
              <a:xfrm>
                <a:off x="2699362" y="419773"/>
                <a:ext cx="1310784" cy="1503649"/>
                <a:chOff x="2699358" y="419774"/>
                <a:chExt cx="1310782" cy="1503648"/>
              </a:xfrm>
              <a:grpFill/>
            </p:grpSpPr>
            <p:sp>
              <p:nvSpPr>
                <p:cNvPr id="77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71" name="Rectangle 28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72" name="Rectangle 29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65" name="Rectangle 28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66" name="Rectangle 28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67" name="Rectangle 28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68" name="Rectangle 28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6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50" name="Oval 5"/>
            <p:cNvSpPr/>
            <p:nvPr/>
          </p:nvSpPr>
          <p:spPr>
            <a:xfrm>
              <a:off x="4620611" y="466488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1" name="Oval 295"/>
            <p:cNvSpPr/>
            <p:nvPr/>
          </p:nvSpPr>
          <p:spPr>
            <a:xfrm>
              <a:off x="4090995" y="336335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2" name="Oval 298"/>
            <p:cNvSpPr/>
            <p:nvPr/>
          </p:nvSpPr>
          <p:spPr>
            <a:xfrm>
              <a:off x="5779866" y="4487479"/>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3" name="Oval 300"/>
            <p:cNvSpPr/>
            <p:nvPr/>
          </p:nvSpPr>
          <p:spPr>
            <a:xfrm>
              <a:off x="5476508" y="3586368"/>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4" name="Oval 301"/>
            <p:cNvSpPr/>
            <p:nvPr/>
          </p:nvSpPr>
          <p:spPr>
            <a:xfrm>
              <a:off x="4522518" y="2945903"/>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5" name="Oval 304"/>
            <p:cNvSpPr/>
            <p:nvPr/>
          </p:nvSpPr>
          <p:spPr>
            <a:xfrm>
              <a:off x="3880407" y="261266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6" name="Oval 305"/>
            <p:cNvSpPr/>
            <p:nvPr/>
          </p:nvSpPr>
          <p:spPr>
            <a:xfrm>
              <a:off x="3691139" y="3761231"/>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57" name="Oval 306"/>
            <p:cNvSpPr/>
            <p:nvPr/>
          </p:nvSpPr>
          <p:spPr>
            <a:xfrm>
              <a:off x="3778446" y="5012487"/>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58" name="Group 307"/>
            <p:cNvGrpSpPr/>
            <p:nvPr/>
          </p:nvGrpSpPr>
          <p:grpSpPr>
            <a:xfrm>
              <a:off x="3699269" y="3145797"/>
              <a:ext cx="314169" cy="376283"/>
              <a:chOff x="2699362" y="419773"/>
              <a:chExt cx="1310784" cy="1503649"/>
            </a:xfrm>
            <a:solidFill>
              <a:schemeClr val="bg1">
                <a:lumMod val="85000"/>
              </a:schemeClr>
            </a:solidFill>
          </p:grpSpPr>
          <p:grpSp>
            <p:nvGrpSpPr>
              <p:cNvPr id="755" name="Group 308"/>
              <p:cNvGrpSpPr/>
              <p:nvPr/>
            </p:nvGrpSpPr>
            <p:grpSpPr>
              <a:xfrm>
                <a:off x="2699362" y="419773"/>
                <a:ext cx="1310784" cy="1503649"/>
                <a:chOff x="2699358" y="419774"/>
                <a:chExt cx="1310782" cy="1503648"/>
              </a:xfrm>
              <a:grpFill/>
            </p:grpSpPr>
            <p:sp>
              <p:nvSpPr>
                <p:cNvPr id="761" name="Freeform 31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62" name="Rectangle 31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63" name="Rectangle 31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56" name="Rectangle 30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57" name="Rectangle 31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58" name="Rectangle 31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59" name="Rectangle 31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6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59" name="Group 317"/>
            <p:cNvGrpSpPr/>
            <p:nvPr/>
          </p:nvGrpSpPr>
          <p:grpSpPr>
            <a:xfrm>
              <a:off x="4288925" y="2773196"/>
              <a:ext cx="314169" cy="376283"/>
              <a:chOff x="2699362" y="419773"/>
              <a:chExt cx="1310784" cy="1503649"/>
            </a:xfrm>
            <a:solidFill>
              <a:schemeClr val="bg1">
                <a:lumMod val="85000"/>
              </a:schemeClr>
            </a:solidFill>
          </p:grpSpPr>
          <p:grpSp>
            <p:nvGrpSpPr>
              <p:cNvPr id="746" name="Group 318"/>
              <p:cNvGrpSpPr/>
              <p:nvPr/>
            </p:nvGrpSpPr>
            <p:grpSpPr>
              <a:xfrm>
                <a:off x="2699362" y="419773"/>
                <a:ext cx="1310784" cy="1503649"/>
                <a:chOff x="2699358" y="419774"/>
                <a:chExt cx="1310782" cy="1503648"/>
              </a:xfrm>
              <a:grpFill/>
            </p:grpSpPr>
            <p:sp>
              <p:nvSpPr>
                <p:cNvPr id="752" name="Freeform 32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53" name="Rectangle 32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54" name="Rectangle 32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47" name="Rectangle 31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48" name="Rectangle 32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49" name="Rectangle 32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50" name="Rectangle 32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5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60" name="Group 327"/>
            <p:cNvGrpSpPr/>
            <p:nvPr/>
          </p:nvGrpSpPr>
          <p:grpSpPr>
            <a:xfrm>
              <a:off x="3991177" y="2960310"/>
              <a:ext cx="314169" cy="376283"/>
              <a:chOff x="2699362" y="419773"/>
              <a:chExt cx="1310784" cy="1503649"/>
            </a:xfrm>
            <a:solidFill>
              <a:schemeClr val="bg1">
                <a:lumMod val="85000"/>
              </a:schemeClr>
            </a:solidFill>
          </p:grpSpPr>
          <p:grpSp>
            <p:nvGrpSpPr>
              <p:cNvPr id="737" name="Group 328"/>
              <p:cNvGrpSpPr/>
              <p:nvPr/>
            </p:nvGrpSpPr>
            <p:grpSpPr>
              <a:xfrm>
                <a:off x="2699362" y="419773"/>
                <a:ext cx="1310784" cy="1503649"/>
                <a:chOff x="2699358" y="419774"/>
                <a:chExt cx="1310782" cy="1503648"/>
              </a:xfrm>
              <a:grpFill/>
            </p:grpSpPr>
            <p:sp>
              <p:nvSpPr>
                <p:cNvPr id="743" name="Freeform 33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44" name="Rectangle 33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45" name="Rectangle 33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38" name="Rectangle 32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39" name="Rectangle 33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40" name="Rectangle 33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41" name="Rectangle 33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4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61" name="Group 337"/>
            <p:cNvGrpSpPr/>
            <p:nvPr/>
          </p:nvGrpSpPr>
          <p:grpSpPr>
            <a:xfrm>
              <a:off x="3807391" y="3913139"/>
              <a:ext cx="314169" cy="376283"/>
              <a:chOff x="2699362" y="419773"/>
              <a:chExt cx="1310784" cy="1503649"/>
            </a:xfrm>
            <a:solidFill>
              <a:schemeClr val="bg1">
                <a:lumMod val="85000"/>
              </a:schemeClr>
            </a:solidFill>
          </p:grpSpPr>
          <p:grpSp>
            <p:nvGrpSpPr>
              <p:cNvPr id="728" name="Group 338"/>
              <p:cNvGrpSpPr/>
              <p:nvPr/>
            </p:nvGrpSpPr>
            <p:grpSpPr>
              <a:xfrm>
                <a:off x="2699362" y="419773"/>
                <a:ext cx="1310784" cy="1503649"/>
                <a:chOff x="2699358" y="419774"/>
                <a:chExt cx="1310782" cy="1503648"/>
              </a:xfrm>
              <a:grpFill/>
            </p:grpSpPr>
            <p:sp>
              <p:nvSpPr>
                <p:cNvPr id="734" name="Freeform 34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35" name="Rectangle 34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36" name="Rectangle 34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29" name="Rectangle 33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30" name="Rectangle 34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31" name="Rectangle 34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32" name="Rectangle 34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3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62" name="Group 347"/>
            <p:cNvGrpSpPr/>
            <p:nvPr/>
          </p:nvGrpSpPr>
          <p:grpSpPr>
            <a:xfrm>
              <a:off x="4232522" y="4918614"/>
              <a:ext cx="314169" cy="376283"/>
              <a:chOff x="2699362" y="419773"/>
              <a:chExt cx="1310784" cy="1503649"/>
            </a:xfrm>
            <a:solidFill>
              <a:schemeClr val="bg1">
                <a:lumMod val="85000"/>
              </a:schemeClr>
            </a:solidFill>
          </p:grpSpPr>
          <p:grpSp>
            <p:nvGrpSpPr>
              <p:cNvPr id="719" name="Group 348"/>
              <p:cNvGrpSpPr/>
              <p:nvPr/>
            </p:nvGrpSpPr>
            <p:grpSpPr>
              <a:xfrm>
                <a:off x="2699362" y="419773"/>
                <a:ext cx="1310784" cy="1503649"/>
                <a:chOff x="2699358" y="419774"/>
                <a:chExt cx="1310782" cy="1503648"/>
              </a:xfrm>
              <a:grpFill/>
            </p:grpSpPr>
            <p:sp>
              <p:nvSpPr>
                <p:cNvPr id="725" name="Freeform 35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26" name="Rectangle 35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27" name="Rectangle 35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20" name="Rectangle 34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21" name="Rectangle 35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22" name="Rectangle 35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23" name="Rectangle 35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2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63" name="Group 357"/>
            <p:cNvGrpSpPr/>
            <p:nvPr/>
          </p:nvGrpSpPr>
          <p:grpSpPr>
            <a:xfrm>
              <a:off x="3715064" y="4484582"/>
              <a:ext cx="314169" cy="376283"/>
              <a:chOff x="2699362" y="419773"/>
              <a:chExt cx="1310784" cy="1503649"/>
            </a:xfrm>
            <a:solidFill>
              <a:schemeClr val="bg1">
                <a:lumMod val="85000"/>
              </a:schemeClr>
            </a:solidFill>
          </p:grpSpPr>
          <p:grpSp>
            <p:nvGrpSpPr>
              <p:cNvPr id="710" name="Group 358"/>
              <p:cNvGrpSpPr/>
              <p:nvPr/>
            </p:nvGrpSpPr>
            <p:grpSpPr>
              <a:xfrm>
                <a:off x="2699362" y="419773"/>
                <a:ext cx="1310784" cy="1503649"/>
                <a:chOff x="2699358" y="419774"/>
                <a:chExt cx="1310782" cy="1503648"/>
              </a:xfrm>
              <a:grpFill/>
            </p:grpSpPr>
            <p:sp>
              <p:nvSpPr>
                <p:cNvPr id="716" name="Freeform 36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17" name="Rectangle 36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18" name="Rectangle 36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11" name="Rectangle 35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12" name="Rectangle 36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13" name="Rectangle 36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14" name="Rectangle 36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1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64" name="Group 369"/>
            <p:cNvGrpSpPr/>
            <p:nvPr/>
          </p:nvGrpSpPr>
          <p:grpSpPr>
            <a:xfrm>
              <a:off x="4209854" y="3799225"/>
              <a:ext cx="314169" cy="376283"/>
              <a:chOff x="2699362" y="419773"/>
              <a:chExt cx="1310784" cy="1503649"/>
            </a:xfrm>
            <a:solidFill>
              <a:schemeClr val="bg1">
                <a:lumMod val="85000"/>
              </a:schemeClr>
            </a:solidFill>
          </p:grpSpPr>
          <p:grpSp>
            <p:nvGrpSpPr>
              <p:cNvPr id="701" name="Group 370"/>
              <p:cNvGrpSpPr/>
              <p:nvPr/>
            </p:nvGrpSpPr>
            <p:grpSpPr>
              <a:xfrm>
                <a:off x="2699362" y="419773"/>
                <a:ext cx="1310784" cy="1503649"/>
                <a:chOff x="2699358" y="419774"/>
                <a:chExt cx="1310782" cy="1503648"/>
              </a:xfrm>
              <a:grpFill/>
            </p:grpSpPr>
            <p:sp>
              <p:nvSpPr>
                <p:cNvPr id="707" name="Freeform 376"/>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708" name="Rectangle 37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09" name="Rectangle 37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702" name="Rectangle 37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03" name="Rectangle 37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04" name="Rectangle 37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05" name="Rectangle 37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70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65" name="Oval 299"/>
            <p:cNvSpPr/>
            <p:nvPr/>
          </p:nvSpPr>
          <p:spPr>
            <a:xfrm>
              <a:off x="3760294" y="4220466"/>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66" name="Group 380"/>
            <p:cNvGrpSpPr/>
            <p:nvPr/>
          </p:nvGrpSpPr>
          <p:grpSpPr>
            <a:xfrm>
              <a:off x="4055234" y="2338856"/>
              <a:ext cx="314169" cy="376283"/>
              <a:chOff x="2699362" y="419773"/>
              <a:chExt cx="1310784" cy="1503649"/>
            </a:xfrm>
            <a:solidFill>
              <a:schemeClr val="bg1">
                <a:lumMod val="85000"/>
              </a:schemeClr>
            </a:solidFill>
          </p:grpSpPr>
          <p:grpSp>
            <p:nvGrpSpPr>
              <p:cNvPr id="692" name="Group 381"/>
              <p:cNvGrpSpPr/>
              <p:nvPr/>
            </p:nvGrpSpPr>
            <p:grpSpPr>
              <a:xfrm>
                <a:off x="2699362" y="419773"/>
                <a:ext cx="1310784" cy="1503649"/>
                <a:chOff x="2699358" y="419774"/>
                <a:chExt cx="1310782" cy="1503648"/>
              </a:xfrm>
              <a:grpFill/>
            </p:grpSpPr>
            <p:sp>
              <p:nvSpPr>
                <p:cNvPr id="698" name="Freeform 387"/>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99" name="Rectangle 388"/>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700" name="Rectangle 389"/>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93" name="Rectangle 382"/>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94" name="Rectangle 383"/>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95" name="Rectangle 384"/>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96" name="Rectangle 385"/>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9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67" name="Oval 390"/>
            <p:cNvSpPr/>
            <p:nvPr/>
          </p:nvSpPr>
          <p:spPr>
            <a:xfrm>
              <a:off x="3637507" y="259746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68" name="Oval 391"/>
            <p:cNvSpPr/>
            <p:nvPr/>
          </p:nvSpPr>
          <p:spPr>
            <a:xfrm>
              <a:off x="3727904" y="2185443"/>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69" name="Group 392"/>
            <p:cNvGrpSpPr/>
            <p:nvPr/>
          </p:nvGrpSpPr>
          <p:grpSpPr>
            <a:xfrm>
              <a:off x="3671008" y="2169261"/>
              <a:ext cx="314169" cy="376283"/>
              <a:chOff x="2699362" y="419773"/>
              <a:chExt cx="1310784" cy="1503649"/>
            </a:xfrm>
            <a:solidFill>
              <a:schemeClr val="bg1">
                <a:lumMod val="85000"/>
              </a:schemeClr>
            </a:solidFill>
          </p:grpSpPr>
          <p:grpSp>
            <p:nvGrpSpPr>
              <p:cNvPr id="683" name="Group 393"/>
              <p:cNvGrpSpPr/>
              <p:nvPr/>
            </p:nvGrpSpPr>
            <p:grpSpPr>
              <a:xfrm>
                <a:off x="2699362" y="419773"/>
                <a:ext cx="1310784" cy="1503649"/>
                <a:chOff x="2699358" y="419774"/>
                <a:chExt cx="1310782" cy="1503648"/>
              </a:xfrm>
              <a:grpFill/>
            </p:grpSpPr>
            <p:sp>
              <p:nvSpPr>
                <p:cNvPr id="689" name="Freeform 399"/>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90" name="Rectangle 40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91" name="Rectangle 40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84" name="Rectangle 394"/>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85" name="Rectangle 395"/>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86" name="Rectangle 396"/>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87" name="Rectangle 397"/>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8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70" name="Oval 402"/>
            <p:cNvSpPr/>
            <p:nvPr/>
          </p:nvSpPr>
          <p:spPr>
            <a:xfrm>
              <a:off x="4324134" y="247929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71" name="Oval 403"/>
            <p:cNvSpPr/>
            <p:nvPr/>
          </p:nvSpPr>
          <p:spPr>
            <a:xfrm>
              <a:off x="4966252" y="2655595"/>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72" name="Group 404"/>
            <p:cNvGrpSpPr/>
            <p:nvPr/>
          </p:nvGrpSpPr>
          <p:grpSpPr>
            <a:xfrm>
              <a:off x="4663813" y="2581084"/>
              <a:ext cx="314169" cy="376283"/>
              <a:chOff x="2699362" y="419773"/>
              <a:chExt cx="1310784" cy="1503649"/>
            </a:xfrm>
            <a:solidFill>
              <a:schemeClr val="bg1">
                <a:lumMod val="85000"/>
              </a:schemeClr>
            </a:solidFill>
          </p:grpSpPr>
          <p:grpSp>
            <p:nvGrpSpPr>
              <p:cNvPr id="674" name="Group 405"/>
              <p:cNvGrpSpPr/>
              <p:nvPr/>
            </p:nvGrpSpPr>
            <p:grpSpPr>
              <a:xfrm>
                <a:off x="2699362" y="419773"/>
                <a:ext cx="1310784" cy="1503649"/>
                <a:chOff x="2699358" y="419774"/>
                <a:chExt cx="1310782" cy="1503648"/>
              </a:xfrm>
              <a:grpFill/>
            </p:grpSpPr>
            <p:sp>
              <p:nvSpPr>
                <p:cNvPr id="680" name="Freeform 411"/>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81" name="Rectangle 41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82" name="Rectangle 41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75" name="Rectangle 406"/>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76" name="Rectangle 407"/>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77" name="Rectangle 408"/>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78" name="Rectangle 409"/>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7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73" name="Group 414"/>
            <p:cNvGrpSpPr/>
            <p:nvPr/>
          </p:nvGrpSpPr>
          <p:grpSpPr>
            <a:xfrm>
              <a:off x="5522198" y="2866462"/>
              <a:ext cx="314169" cy="376283"/>
              <a:chOff x="2699362" y="419773"/>
              <a:chExt cx="1310784" cy="1503649"/>
            </a:xfrm>
            <a:solidFill>
              <a:schemeClr val="bg1">
                <a:lumMod val="85000"/>
              </a:schemeClr>
            </a:solidFill>
          </p:grpSpPr>
          <p:grpSp>
            <p:nvGrpSpPr>
              <p:cNvPr id="665" name="Group 415"/>
              <p:cNvGrpSpPr/>
              <p:nvPr/>
            </p:nvGrpSpPr>
            <p:grpSpPr>
              <a:xfrm>
                <a:off x="2699362" y="419773"/>
                <a:ext cx="1310784" cy="1503649"/>
                <a:chOff x="2699358" y="419774"/>
                <a:chExt cx="1310782" cy="1503648"/>
              </a:xfrm>
              <a:grpFill/>
            </p:grpSpPr>
            <p:sp>
              <p:nvSpPr>
                <p:cNvPr id="671" name="Freeform 421"/>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72" name="Rectangle 42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73" name="Rectangle 42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66" name="Rectangle 416"/>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67" name="Rectangle 417"/>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68" name="Rectangle 418"/>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69" name="Rectangle 419"/>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7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74" name="Oval 424"/>
            <p:cNvSpPr/>
            <p:nvPr/>
          </p:nvSpPr>
          <p:spPr>
            <a:xfrm>
              <a:off x="5304914" y="274951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75" name="Group 435"/>
            <p:cNvGrpSpPr/>
            <p:nvPr/>
          </p:nvGrpSpPr>
          <p:grpSpPr>
            <a:xfrm>
              <a:off x="6217126" y="3158454"/>
              <a:ext cx="314169" cy="376283"/>
              <a:chOff x="2699362" y="419773"/>
              <a:chExt cx="1310784" cy="1503649"/>
            </a:xfrm>
            <a:solidFill>
              <a:schemeClr val="bg1">
                <a:lumMod val="85000"/>
              </a:schemeClr>
            </a:solidFill>
          </p:grpSpPr>
          <p:grpSp>
            <p:nvGrpSpPr>
              <p:cNvPr id="656" name="Group 436"/>
              <p:cNvGrpSpPr/>
              <p:nvPr/>
            </p:nvGrpSpPr>
            <p:grpSpPr>
              <a:xfrm>
                <a:off x="2699362" y="419773"/>
                <a:ext cx="1310784" cy="1503649"/>
                <a:chOff x="2699358" y="419774"/>
                <a:chExt cx="1310782" cy="1503648"/>
              </a:xfrm>
              <a:grpFill/>
            </p:grpSpPr>
            <p:sp>
              <p:nvSpPr>
                <p:cNvPr id="66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63" name="Rectangle 44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64" name="Rectangle 44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57" name="Rectangle 43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58" name="Rectangle 43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59" name="Rectangle 43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60" name="Rectangle 44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6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76" name="Group 445"/>
            <p:cNvGrpSpPr/>
            <p:nvPr/>
          </p:nvGrpSpPr>
          <p:grpSpPr>
            <a:xfrm>
              <a:off x="5845810" y="3291198"/>
              <a:ext cx="314169" cy="376283"/>
              <a:chOff x="2699362" y="419773"/>
              <a:chExt cx="1310784" cy="1503649"/>
            </a:xfrm>
            <a:solidFill>
              <a:schemeClr val="bg1">
                <a:lumMod val="85000"/>
              </a:schemeClr>
            </a:solidFill>
          </p:grpSpPr>
          <p:grpSp>
            <p:nvGrpSpPr>
              <p:cNvPr id="647" name="Group 446"/>
              <p:cNvGrpSpPr/>
              <p:nvPr/>
            </p:nvGrpSpPr>
            <p:grpSpPr>
              <a:xfrm>
                <a:off x="2699362" y="419773"/>
                <a:ext cx="1310784" cy="1503649"/>
                <a:chOff x="2699358" y="419774"/>
                <a:chExt cx="1310782" cy="1503648"/>
              </a:xfrm>
              <a:grpFill/>
            </p:grpSpPr>
            <p:sp>
              <p:nvSpPr>
                <p:cNvPr id="653" name="Freeform 452"/>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54" name="Rectangle 45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55" name="Rectangle 45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48" name="Rectangle 44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49" name="Rectangle 44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50" name="Rectangle 44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51" name="Rectangle 45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5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77" name="Oval 455"/>
            <p:cNvSpPr/>
            <p:nvPr/>
          </p:nvSpPr>
          <p:spPr>
            <a:xfrm>
              <a:off x="6040883" y="296091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78" name="Oval 456"/>
            <p:cNvSpPr/>
            <p:nvPr/>
          </p:nvSpPr>
          <p:spPr>
            <a:xfrm>
              <a:off x="3655957" y="564991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79" name="Group 457"/>
            <p:cNvGrpSpPr/>
            <p:nvPr/>
          </p:nvGrpSpPr>
          <p:grpSpPr>
            <a:xfrm>
              <a:off x="4110033" y="5587787"/>
              <a:ext cx="314169" cy="376283"/>
              <a:chOff x="2699362" y="419773"/>
              <a:chExt cx="1310784" cy="1503649"/>
            </a:xfrm>
            <a:solidFill>
              <a:schemeClr val="bg1">
                <a:lumMod val="85000"/>
              </a:schemeClr>
            </a:solidFill>
          </p:grpSpPr>
          <p:grpSp>
            <p:nvGrpSpPr>
              <p:cNvPr id="638" name="Group 458"/>
              <p:cNvGrpSpPr/>
              <p:nvPr/>
            </p:nvGrpSpPr>
            <p:grpSpPr>
              <a:xfrm>
                <a:off x="2699362" y="419773"/>
                <a:ext cx="1310784" cy="1503649"/>
                <a:chOff x="2699358" y="419774"/>
                <a:chExt cx="1310782" cy="1503648"/>
              </a:xfrm>
              <a:grpFill/>
            </p:grpSpPr>
            <p:sp>
              <p:nvSpPr>
                <p:cNvPr id="644" name="Freeform 46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45" name="Rectangle 46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46" name="Rectangle 46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39" name="Rectangle 45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40" name="Rectangle 46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41" name="Rectangle 46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42" name="Rectangle 46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4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180" name="Oval 467"/>
            <p:cNvSpPr/>
            <p:nvPr/>
          </p:nvSpPr>
          <p:spPr>
            <a:xfrm>
              <a:off x="5788557" y="497500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1" name="Oval 468"/>
            <p:cNvSpPr/>
            <p:nvPr/>
          </p:nvSpPr>
          <p:spPr>
            <a:xfrm>
              <a:off x="5179505" y="531806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2" name="Oval 469"/>
            <p:cNvSpPr/>
            <p:nvPr/>
          </p:nvSpPr>
          <p:spPr>
            <a:xfrm>
              <a:off x="4592946" y="515834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3" name="Oval 470"/>
            <p:cNvSpPr/>
            <p:nvPr/>
          </p:nvSpPr>
          <p:spPr>
            <a:xfrm>
              <a:off x="6301418" y="471040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4" name="Oval 471"/>
            <p:cNvSpPr/>
            <p:nvPr/>
          </p:nvSpPr>
          <p:spPr>
            <a:xfrm>
              <a:off x="5980476" y="4091426"/>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5" name="Oval 474"/>
            <p:cNvSpPr/>
            <p:nvPr/>
          </p:nvSpPr>
          <p:spPr>
            <a:xfrm>
              <a:off x="6712468" y="4426427"/>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6" name="Oval 475"/>
            <p:cNvSpPr/>
            <p:nvPr/>
          </p:nvSpPr>
          <p:spPr>
            <a:xfrm>
              <a:off x="6589561" y="3326235"/>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7" name="Oval 476"/>
            <p:cNvSpPr/>
            <p:nvPr/>
          </p:nvSpPr>
          <p:spPr>
            <a:xfrm>
              <a:off x="6342276" y="3145101"/>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8" name="Oval 477"/>
            <p:cNvSpPr/>
            <p:nvPr/>
          </p:nvSpPr>
          <p:spPr>
            <a:xfrm>
              <a:off x="5647419" y="2973003"/>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89" name="Oval 478"/>
            <p:cNvSpPr/>
            <p:nvPr/>
          </p:nvSpPr>
          <p:spPr>
            <a:xfrm>
              <a:off x="4044890" y="220586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90" name="Oval 479"/>
            <p:cNvSpPr/>
            <p:nvPr/>
          </p:nvSpPr>
          <p:spPr>
            <a:xfrm>
              <a:off x="4961481" y="3955875"/>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91" name="Oval 480"/>
            <p:cNvSpPr/>
            <p:nvPr/>
          </p:nvSpPr>
          <p:spPr>
            <a:xfrm>
              <a:off x="4361764" y="3729023"/>
              <a:ext cx="406730" cy="387656"/>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192" name="Oval 481"/>
            <p:cNvSpPr/>
            <p:nvPr/>
          </p:nvSpPr>
          <p:spPr>
            <a:xfrm>
              <a:off x="3688245" y="4643568"/>
              <a:ext cx="406730" cy="387656"/>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193" name="Group 482"/>
            <p:cNvGrpSpPr/>
            <p:nvPr/>
          </p:nvGrpSpPr>
          <p:grpSpPr>
            <a:xfrm>
              <a:off x="5833900" y="4078791"/>
              <a:ext cx="314169" cy="376283"/>
              <a:chOff x="2699362" y="419773"/>
              <a:chExt cx="1310784" cy="1503649"/>
            </a:xfrm>
            <a:solidFill>
              <a:schemeClr val="bg1">
                <a:lumMod val="85000"/>
              </a:schemeClr>
            </a:solidFill>
          </p:grpSpPr>
          <p:grpSp>
            <p:nvGrpSpPr>
              <p:cNvPr id="629" name="Group 483"/>
              <p:cNvGrpSpPr/>
              <p:nvPr/>
            </p:nvGrpSpPr>
            <p:grpSpPr>
              <a:xfrm>
                <a:off x="2699362" y="419773"/>
                <a:ext cx="1310784" cy="1503649"/>
                <a:chOff x="2699358" y="419774"/>
                <a:chExt cx="1310782" cy="1503648"/>
              </a:xfrm>
              <a:grpFill/>
            </p:grpSpPr>
            <p:sp>
              <p:nvSpPr>
                <p:cNvPr id="63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36" name="Rectangle 49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37" name="Rectangle 49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30" name="Rectangle 484"/>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31" name="Rectangle 485"/>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32" name="Rectangle 486"/>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33" name="Rectangle 487"/>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3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4" name="Group 492"/>
            <p:cNvGrpSpPr/>
            <p:nvPr/>
          </p:nvGrpSpPr>
          <p:grpSpPr>
            <a:xfrm>
              <a:off x="6711019" y="4674968"/>
              <a:ext cx="314169" cy="376283"/>
              <a:chOff x="2699362" y="419773"/>
              <a:chExt cx="1310784" cy="1503649"/>
            </a:xfrm>
            <a:solidFill>
              <a:schemeClr val="bg1">
                <a:lumMod val="85000"/>
              </a:schemeClr>
            </a:solidFill>
          </p:grpSpPr>
          <p:grpSp>
            <p:nvGrpSpPr>
              <p:cNvPr id="620" name="Group 493"/>
              <p:cNvGrpSpPr/>
              <p:nvPr/>
            </p:nvGrpSpPr>
            <p:grpSpPr>
              <a:xfrm>
                <a:off x="2699362" y="419773"/>
                <a:ext cx="1310784" cy="1503649"/>
                <a:chOff x="2699358" y="419774"/>
                <a:chExt cx="1310782" cy="1503648"/>
              </a:xfrm>
              <a:grpFill/>
            </p:grpSpPr>
            <p:sp>
              <p:nvSpPr>
                <p:cNvPr id="626"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27" name="Rectangle 500"/>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28" name="Rectangle 501"/>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21" name="Rectangle 494"/>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22" name="Rectangle 495"/>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23" name="Rectangle 496"/>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24" name="Rectangle 497"/>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2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5" name="Group 503"/>
            <p:cNvGrpSpPr/>
            <p:nvPr/>
          </p:nvGrpSpPr>
          <p:grpSpPr>
            <a:xfrm>
              <a:off x="6015116" y="4898404"/>
              <a:ext cx="314169" cy="376283"/>
              <a:chOff x="2699362" y="419773"/>
              <a:chExt cx="1310784" cy="1503649"/>
            </a:xfrm>
            <a:solidFill>
              <a:schemeClr val="bg1">
                <a:lumMod val="85000"/>
              </a:schemeClr>
            </a:solidFill>
          </p:grpSpPr>
          <p:grpSp>
            <p:nvGrpSpPr>
              <p:cNvPr id="611" name="Group 504"/>
              <p:cNvGrpSpPr/>
              <p:nvPr/>
            </p:nvGrpSpPr>
            <p:grpSpPr>
              <a:xfrm>
                <a:off x="2699362" y="419773"/>
                <a:ext cx="1310784" cy="1503649"/>
                <a:chOff x="2699358" y="419774"/>
                <a:chExt cx="1310782" cy="1503648"/>
              </a:xfrm>
              <a:grpFill/>
            </p:grpSpPr>
            <p:sp>
              <p:nvSpPr>
                <p:cNvPr id="617"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18" name="Rectangle 51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19" name="Rectangle 51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12" name="Rectangle 50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3" name="Rectangle 50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4" name="Rectangle 50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5" name="Rectangle 50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6" name="Group 514"/>
            <p:cNvGrpSpPr/>
            <p:nvPr/>
          </p:nvGrpSpPr>
          <p:grpSpPr>
            <a:xfrm>
              <a:off x="5584009" y="5074741"/>
              <a:ext cx="314169" cy="376283"/>
              <a:chOff x="2699362" y="419773"/>
              <a:chExt cx="1310784" cy="1503649"/>
            </a:xfrm>
            <a:solidFill>
              <a:schemeClr val="bg1">
                <a:lumMod val="85000"/>
              </a:schemeClr>
            </a:solidFill>
          </p:grpSpPr>
          <p:grpSp>
            <p:nvGrpSpPr>
              <p:cNvPr id="602" name="Group 515"/>
              <p:cNvGrpSpPr/>
              <p:nvPr/>
            </p:nvGrpSpPr>
            <p:grpSpPr>
              <a:xfrm>
                <a:off x="2699362" y="419773"/>
                <a:ext cx="1310784" cy="1503649"/>
                <a:chOff x="2699358" y="419774"/>
                <a:chExt cx="1310782" cy="1503648"/>
              </a:xfrm>
              <a:grpFill/>
            </p:grpSpPr>
            <p:sp>
              <p:nvSpPr>
                <p:cNvPr id="60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09" name="Rectangle 52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10" name="Rectangle 52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603" name="Rectangle 516"/>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04" name="Rectangle 517"/>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05" name="Rectangle 518"/>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06" name="Rectangle 519"/>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0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7" name="Group 524"/>
            <p:cNvGrpSpPr/>
            <p:nvPr/>
          </p:nvGrpSpPr>
          <p:grpSpPr>
            <a:xfrm>
              <a:off x="4741583" y="5609705"/>
              <a:ext cx="314169" cy="376283"/>
              <a:chOff x="2699362" y="419773"/>
              <a:chExt cx="1310784" cy="1503649"/>
            </a:xfrm>
            <a:solidFill>
              <a:schemeClr val="bg1">
                <a:lumMod val="85000"/>
              </a:schemeClr>
            </a:solidFill>
          </p:grpSpPr>
          <p:grpSp>
            <p:nvGrpSpPr>
              <p:cNvPr id="593" name="Group 525"/>
              <p:cNvGrpSpPr/>
              <p:nvPr/>
            </p:nvGrpSpPr>
            <p:grpSpPr>
              <a:xfrm>
                <a:off x="2699362" y="419773"/>
                <a:ext cx="1310784" cy="1503649"/>
                <a:chOff x="2699358" y="419774"/>
                <a:chExt cx="1310782" cy="1503648"/>
              </a:xfrm>
              <a:grpFill/>
            </p:grpSpPr>
            <p:sp>
              <p:nvSpPr>
                <p:cNvPr id="599"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00" name="Rectangle 53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01" name="Rectangle 53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94" name="Rectangle 526"/>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5" name="Rectangle 527"/>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6" name="Rectangle 528"/>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7" name="Rectangle 529"/>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8" name="Group 534"/>
            <p:cNvGrpSpPr/>
            <p:nvPr/>
          </p:nvGrpSpPr>
          <p:grpSpPr>
            <a:xfrm>
              <a:off x="4302787" y="5647890"/>
              <a:ext cx="314169" cy="376283"/>
              <a:chOff x="2699362" y="419773"/>
              <a:chExt cx="1310784" cy="1503649"/>
            </a:xfrm>
            <a:solidFill>
              <a:schemeClr val="bg1">
                <a:lumMod val="85000"/>
              </a:schemeClr>
            </a:solidFill>
          </p:grpSpPr>
          <p:grpSp>
            <p:nvGrpSpPr>
              <p:cNvPr id="584" name="Group 535"/>
              <p:cNvGrpSpPr/>
              <p:nvPr/>
            </p:nvGrpSpPr>
            <p:grpSpPr>
              <a:xfrm>
                <a:off x="2699362" y="419773"/>
                <a:ext cx="1310784" cy="1503649"/>
                <a:chOff x="2699358" y="419774"/>
                <a:chExt cx="1310782" cy="1503648"/>
              </a:xfrm>
              <a:grpFill/>
            </p:grpSpPr>
            <p:sp>
              <p:nvSpPr>
                <p:cNvPr id="59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91" name="Rectangle 542"/>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92" name="Rectangle 543"/>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85" name="Rectangle 536"/>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6" name="Rectangle 537"/>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7" name="Rectangle 538"/>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8" name="Rectangle 539"/>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199" name="Group 545"/>
            <p:cNvGrpSpPr/>
            <p:nvPr/>
          </p:nvGrpSpPr>
          <p:grpSpPr>
            <a:xfrm>
              <a:off x="4032783" y="5003325"/>
              <a:ext cx="314169" cy="376283"/>
              <a:chOff x="2699362" y="419773"/>
              <a:chExt cx="1310784" cy="1503649"/>
            </a:xfrm>
            <a:solidFill>
              <a:schemeClr val="bg1">
                <a:lumMod val="85000"/>
              </a:schemeClr>
            </a:solidFill>
          </p:grpSpPr>
          <p:grpSp>
            <p:nvGrpSpPr>
              <p:cNvPr id="575" name="Group 546"/>
              <p:cNvGrpSpPr/>
              <p:nvPr/>
            </p:nvGrpSpPr>
            <p:grpSpPr>
              <a:xfrm>
                <a:off x="2699362" y="419773"/>
                <a:ext cx="1310784" cy="1503649"/>
                <a:chOff x="2699358" y="419774"/>
                <a:chExt cx="1310782" cy="1503648"/>
              </a:xfrm>
              <a:grpFill/>
            </p:grpSpPr>
            <p:sp>
              <p:nvSpPr>
                <p:cNvPr id="58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82" name="Rectangle 55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83" name="Rectangle 55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76" name="Rectangle 54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7" name="Rectangle 54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8" name="Rectangle 54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9" name="Rectangle 55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0" name="Group 555"/>
            <p:cNvGrpSpPr/>
            <p:nvPr/>
          </p:nvGrpSpPr>
          <p:grpSpPr>
            <a:xfrm>
              <a:off x="5258242" y="2712687"/>
              <a:ext cx="314169" cy="376283"/>
              <a:chOff x="2699362" y="419773"/>
              <a:chExt cx="1310784" cy="1503649"/>
            </a:xfrm>
            <a:solidFill>
              <a:schemeClr val="bg1">
                <a:lumMod val="85000"/>
              </a:schemeClr>
            </a:solidFill>
          </p:grpSpPr>
          <p:grpSp>
            <p:nvGrpSpPr>
              <p:cNvPr id="566" name="Group 556"/>
              <p:cNvGrpSpPr/>
              <p:nvPr/>
            </p:nvGrpSpPr>
            <p:grpSpPr>
              <a:xfrm>
                <a:off x="2699362" y="419773"/>
                <a:ext cx="1310784" cy="1503649"/>
                <a:chOff x="2699358" y="419774"/>
                <a:chExt cx="1310782" cy="1503648"/>
              </a:xfrm>
              <a:grpFill/>
            </p:grpSpPr>
            <p:sp>
              <p:nvSpPr>
                <p:cNvPr id="57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73" name="Rectangle 56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74" name="Rectangle 56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67" name="Rectangle 55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8" name="Rectangle 55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9" name="Rectangle 55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0" name="Rectangle 56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1" name="Group 566"/>
            <p:cNvGrpSpPr/>
            <p:nvPr/>
          </p:nvGrpSpPr>
          <p:grpSpPr>
            <a:xfrm>
              <a:off x="5841974" y="2830796"/>
              <a:ext cx="314169" cy="376283"/>
              <a:chOff x="2699362" y="419773"/>
              <a:chExt cx="1310784" cy="1503649"/>
            </a:xfrm>
            <a:solidFill>
              <a:schemeClr val="bg1">
                <a:lumMod val="85000"/>
              </a:schemeClr>
            </a:solidFill>
          </p:grpSpPr>
          <p:grpSp>
            <p:nvGrpSpPr>
              <p:cNvPr id="557" name="Group 567"/>
              <p:cNvGrpSpPr/>
              <p:nvPr/>
            </p:nvGrpSpPr>
            <p:grpSpPr>
              <a:xfrm>
                <a:off x="2699362" y="419773"/>
                <a:ext cx="1310784" cy="1503649"/>
                <a:chOff x="2699358" y="419774"/>
                <a:chExt cx="1310782" cy="1503648"/>
              </a:xfrm>
              <a:grpFill/>
            </p:grpSpPr>
            <p:sp>
              <p:nvSpPr>
                <p:cNvPr id="56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64" name="Rectangle 57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65" name="Rectangle 57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58" name="Rectangle 56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9" name="Rectangle 56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0" name="Rectangle 57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1" name="Rectangle 57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2" name="Group 576"/>
            <p:cNvGrpSpPr/>
            <p:nvPr/>
          </p:nvGrpSpPr>
          <p:grpSpPr>
            <a:xfrm>
              <a:off x="4381082" y="2266097"/>
              <a:ext cx="314169" cy="376283"/>
              <a:chOff x="2699362" y="419773"/>
              <a:chExt cx="1310784" cy="1503649"/>
            </a:xfrm>
            <a:solidFill>
              <a:schemeClr val="bg1">
                <a:lumMod val="85000"/>
              </a:schemeClr>
            </a:solidFill>
          </p:grpSpPr>
          <p:grpSp>
            <p:nvGrpSpPr>
              <p:cNvPr id="548" name="Group 577"/>
              <p:cNvGrpSpPr/>
              <p:nvPr/>
            </p:nvGrpSpPr>
            <p:grpSpPr>
              <a:xfrm>
                <a:off x="2699362" y="419773"/>
                <a:ext cx="1310784" cy="1503649"/>
                <a:chOff x="2699358" y="419774"/>
                <a:chExt cx="1310782" cy="1503648"/>
              </a:xfrm>
              <a:grpFill/>
            </p:grpSpPr>
            <p:sp>
              <p:nvSpPr>
                <p:cNvPr id="554"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55" name="Rectangle 58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56" name="Rectangle 58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49" name="Rectangle 57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0" name="Rectangle 57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1" name="Rectangle 58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2" name="Rectangle 58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3" name="Group 586"/>
            <p:cNvGrpSpPr/>
            <p:nvPr/>
          </p:nvGrpSpPr>
          <p:grpSpPr>
            <a:xfrm>
              <a:off x="4291263" y="3567580"/>
              <a:ext cx="314169" cy="376283"/>
              <a:chOff x="2699362" y="419773"/>
              <a:chExt cx="1310784" cy="1503649"/>
            </a:xfrm>
            <a:solidFill>
              <a:schemeClr val="bg1">
                <a:lumMod val="85000"/>
              </a:schemeClr>
            </a:solidFill>
          </p:grpSpPr>
          <p:grpSp>
            <p:nvGrpSpPr>
              <p:cNvPr id="539" name="Group 587"/>
              <p:cNvGrpSpPr/>
              <p:nvPr/>
            </p:nvGrpSpPr>
            <p:grpSpPr>
              <a:xfrm>
                <a:off x="2699362" y="419773"/>
                <a:ext cx="1310784" cy="1503649"/>
                <a:chOff x="2699358" y="419774"/>
                <a:chExt cx="1310782" cy="1503648"/>
              </a:xfrm>
              <a:grpFill/>
            </p:grpSpPr>
            <p:sp>
              <p:nvSpPr>
                <p:cNvPr id="54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46" name="Rectangle 59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47" name="Rectangle 59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40" name="Rectangle 58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1" name="Rectangle 58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2" name="Rectangle 59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3" name="Rectangle 59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4" name="Group 596"/>
            <p:cNvGrpSpPr/>
            <p:nvPr/>
          </p:nvGrpSpPr>
          <p:grpSpPr>
            <a:xfrm>
              <a:off x="4019114" y="4164937"/>
              <a:ext cx="314169" cy="376283"/>
              <a:chOff x="2699362" y="419773"/>
              <a:chExt cx="1310784" cy="1503649"/>
            </a:xfrm>
            <a:solidFill>
              <a:schemeClr val="bg1">
                <a:lumMod val="85000"/>
              </a:schemeClr>
            </a:solidFill>
          </p:grpSpPr>
          <p:grpSp>
            <p:nvGrpSpPr>
              <p:cNvPr id="530" name="Group 597"/>
              <p:cNvGrpSpPr/>
              <p:nvPr/>
            </p:nvGrpSpPr>
            <p:grpSpPr>
              <a:xfrm>
                <a:off x="2699362" y="419773"/>
                <a:ext cx="1310784" cy="1503649"/>
                <a:chOff x="2699358" y="419774"/>
                <a:chExt cx="1310782" cy="1503648"/>
              </a:xfrm>
              <a:grpFill/>
            </p:grpSpPr>
            <p:sp>
              <p:nvSpPr>
                <p:cNvPr id="536"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37" name="Rectangle 60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38" name="Rectangle 60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31" name="Rectangle 59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32" name="Rectangle 59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33" name="Rectangle 60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34" name="Rectangle 60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3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5" name="Group 606"/>
            <p:cNvGrpSpPr/>
            <p:nvPr/>
          </p:nvGrpSpPr>
          <p:grpSpPr>
            <a:xfrm>
              <a:off x="5010241" y="3231521"/>
              <a:ext cx="314169" cy="376283"/>
              <a:chOff x="2699362" y="419773"/>
              <a:chExt cx="1310784" cy="1503649"/>
            </a:xfrm>
            <a:solidFill>
              <a:schemeClr val="bg1">
                <a:lumMod val="85000"/>
              </a:schemeClr>
            </a:solidFill>
          </p:grpSpPr>
          <p:grpSp>
            <p:nvGrpSpPr>
              <p:cNvPr id="521" name="Group 607"/>
              <p:cNvGrpSpPr/>
              <p:nvPr/>
            </p:nvGrpSpPr>
            <p:grpSpPr>
              <a:xfrm>
                <a:off x="2699362" y="419773"/>
                <a:ext cx="1310784" cy="1503649"/>
                <a:chOff x="2699358" y="419774"/>
                <a:chExt cx="1310782" cy="1503648"/>
              </a:xfrm>
              <a:grpFill/>
            </p:grpSpPr>
            <p:sp>
              <p:nvSpPr>
                <p:cNvPr id="527"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28" name="Rectangle 61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29" name="Rectangle 61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22" name="Rectangle 60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23" name="Rectangle 60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24" name="Rectangle 61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25" name="Rectangle 61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2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6" name="Group 616"/>
            <p:cNvGrpSpPr/>
            <p:nvPr/>
          </p:nvGrpSpPr>
          <p:grpSpPr>
            <a:xfrm>
              <a:off x="5239012" y="3695718"/>
              <a:ext cx="314169" cy="376283"/>
              <a:chOff x="2699362" y="419773"/>
              <a:chExt cx="1310784" cy="1503649"/>
            </a:xfrm>
            <a:solidFill>
              <a:schemeClr val="bg1">
                <a:lumMod val="85000"/>
              </a:schemeClr>
            </a:solidFill>
          </p:grpSpPr>
          <p:grpSp>
            <p:nvGrpSpPr>
              <p:cNvPr id="512" name="Group 617"/>
              <p:cNvGrpSpPr/>
              <p:nvPr/>
            </p:nvGrpSpPr>
            <p:grpSpPr>
              <a:xfrm>
                <a:off x="2699362" y="419773"/>
                <a:ext cx="1310784" cy="1503649"/>
                <a:chOff x="2699358" y="419774"/>
                <a:chExt cx="1310782" cy="1503648"/>
              </a:xfrm>
              <a:grpFill/>
            </p:grpSpPr>
            <p:sp>
              <p:nvSpPr>
                <p:cNvPr id="51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19" name="Rectangle 62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20" name="Rectangle 62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13" name="Rectangle 61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4" name="Rectangle 61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5" name="Rectangle 62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6" name="Rectangle 62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7" name="Group 626"/>
            <p:cNvGrpSpPr/>
            <p:nvPr/>
          </p:nvGrpSpPr>
          <p:grpSpPr>
            <a:xfrm>
              <a:off x="6718827" y="3588700"/>
              <a:ext cx="314169" cy="376283"/>
              <a:chOff x="2699362" y="419773"/>
              <a:chExt cx="1310784" cy="1503649"/>
            </a:xfrm>
            <a:solidFill>
              <a:schemeClr val="bg1">
                <a:lumMod val="85000"/>
              </a:schemeClr>
            </a:solidFill>
          </p:grpSpPr>
          <p:grpSp>
            <p:nvGrpSpPr>
              <p:cNvPr id="503" name="Group 627"/>
              <p:cNvGrpSpPr/>
              <p:nvPr/>
            </p:nvGrpSpPr>
            <p:grpSpPr>
              <a:xfrm>
                <a:off x="2699362" y="419773"/>
                <a:ext cx="1310784" cy="1503649"/>
                <a:chOff x="2699358" y="419774"/>
                <a:chExt cx="1310782" cy="1503648"/>
              </a:xfrm>
              <a:grpFill/>
            </p:grpSpPr>
            <p:sp>
              <p:nvSpPr>
                <p:cNvPr id="509"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10" name="Rectangle 63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11" name="Rectangle 63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504" name="Rectangle 62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05" name="Rectangle 62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06" name="Rectangle 63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07" name="Rectangle 63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0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8" name="Group 636"/>
            <p:cNvGrpSpPr/>
            <p:nvPr/>
          </p:nvGrpSpPr>
          <p:grpSpPr>
            <a:xfrm>
              <a:off x="6300272" y="3372714"/>
              <a:ext cx="314169" cy="376283"/>
              <a:chOff x="2699362" y="419773"/>
              <a:chExt cx="1310784" cy="1503649"/>
            </a:xfrm>
            <a:solidFill>
              <a:schemeClr val="bg1">
                <a:lumMod val="85000"/>
              </a:schemeClr>
            </a:solidFill>
          </p:grpSpPr>
          <p:grpSp>
            <p:nvGrpSpPr>
              <p:cNvPr id="494" name="Group 637"/>
              <p:cNvGrpSpPr/>
              <p:nvPr/>
            </p:nvGrpSpPr>
            <p:grpSpPr>
              <a:xfrm>
                <a:off x="2699362" y="419773"/>
                <a:ext cx="1310784" cy="1503649"/>
                <a:chOff x="2699358" y="419774"/>
                <a:chExt cx="1310782" cy="1503648"/>
              </a:xfrm>
              <a:grpFill/>
            </p:grpSpPr>
            <p:sp>
              <p:nvSpPr>
                <p:cNvPr id="50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01" name="Rectangle 64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02" name="Rectangle 64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95" name="Rectangle 63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6" name="Rectangle 63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7" name="Rectangle 64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8" name="Rectangle 64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09" name="Group 646"/>
            <p:cNvGrpSpPr/>
            <p:nvPr/>
          </p:nvGrpSpPr>
          <p:grpSpPr>
            <a:xfrm>
              <a:off x="6733472" y="3111089"/>
              <a:ext cx="314169" cy="376283"/>
              <a:chOff x="2699362" y="419773"/>
              <a:chExt cx="1310784" cy="1503649"/>
            </a:xfrm>
            <a:solidFill>
              <a:schemeClr val="bg1">
                <a:lumMod val="85000"/>
              </a:schemeClr>
            </a:solidFill>
          </p:grpSpPr>
          <p:grpSp>
            <p:nvGrpSpPr>
              <p:cNvPr id="485" name="Group 647"/>
              <p:cNvGrpSpPr/>
              <p:nvPr/>
            </p:nvGrpSpPr>
            <p:grpSpPr>
              <a:xfrm>
                <a:off x="2699362" y="419773"/>
                <a:ext cx="1310784" cy="1503649"/>
                <a:chOff x="2699358" y="419774"/>
                <a:chExt cx="1310782" cy="1503648"/>
              </a:xfrm>
              <a:grpFill/>
            </p:grpSpPr>
            <p:sp>
              <p:nvSpPr>
                <p:cNvPr id="49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92" name="Rectangle 65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93" name="Rectangle 65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86" name="Rectangle 64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7" name="Rectangle 64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8" name="Rectangle 65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9" name="Rectangle 65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0" name="Group 656"/>
            <p:cNvGrpSpPr/>
            <p:nvPr/>
          </p:nvGrpSpPr>
          <p:grpSpPr>
            <a:xfrm>
              <a:off x="5518687" y="2663706"/>
              <a:ext cx="314169" cy="376283"/>
              <a:chOff x="2699362" y="419773"/>
              <a:chExt cx="1310784" cy="1503649"/>
            </a:xfrm>
            <a:solidFill>
              <a:schemeClr val="bg1">
                <a:lumMod val="85000"/>
              </a:schemeClr>
            </a:solidFill>
          </p:grpSpPr>
          <p:grpSp>
            <p:nvGrpSpPr>
              <p:cNvPr id="476" name="Group 657"/>
              <p:cNvGrpSpPr/>
              <p:nvPr/>
            </p:nvGrpSpPr>
            <p:grpSpPr>
              <a:xfrm>
                <a:off x="2699362" y="419773"/>
                <a:ext cx="1310784" cy="1503649"/>
                <a:chOff x="2699358" y="419774"/>
                <a:chExt cx="1310782" cy="1503648"/>
              </a:xfrm>
              <a:grpFill/>
            </p:grpSpPr>
            <p:sp>
              <p:nvSpPr>
                <p:cNvPr id="482" name="Freeform 663"/>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83" name="Rectangle 66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84" name="Rectangle 66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77" name="Rectangle 65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8" name="Rectangle 65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9" name="Rectangle 66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0" name="Rectangle 66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1" name="Group 666"/>
            <p:cNvGrpSpPr/>
            <p:nvPr/>
          </p:nvGrpSpPr>
          <p:grpSpPr>
            <a:xfrm>
              <a:off x="3690516" y="4080355"/>
              <a:ext cx="314169" cy="376283"/>
              <a:chOff x="2699362" y="419773"/>
              <a:chExt cx="1310784" cy="1503649"/>
            </a:xfrm>
            <a:solidFill>
              <a:schemeClr val="bg1">
                <a:lumMod val="85000"/>
              </a:schemeClr>
            </a:solidFill>
          </p:grpSpPr>
          <p:grpSp>
            <p:nvGrpSpPr>
              <p:cNvPr id="467" name="Group 667"/>
              <p:cNvGrpSpPr/>
              <p:nvPr/>
            </p:nvGrpSpPr>
            <p:grpSpPr>
              <a:xfrm>
                <a:off x="2699362" y="419773"/>
                <a:ext cx="1310784" cy="1503649"/>
                <a:chOff x="2699358" y="419774"/>
                <a:chExt cx="1310782" cy="1503648"/>
              </a:xfrm>
              <a:grpFill/>
            </p:grpSpPr>
            <p:sp>
              <p:nvSpPr>
                <p:cNvPr id="473" name="Freeform 673"/>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74" name="Rectangle 67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75" name="Rectangle 67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68" name="Rectangle 66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69" name="Rectangle 66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0" name="Rectangle 67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1" name="Rectangle 67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2" name="Group 676"/>
            <p:cNvGrpSpPr/>
            <p:nvPr/>
          </p:nvGrpSpPr>
          <p:grpSpPr>
            <a:xfrm>
              <a:off x="3645976" y="4958637"/>
              <a:ext cx="314169" cy="376283"/>
              <a:chOff x="2699362" y="419773"/>
              <a:chExt cx="1310784" cy="1503649"/>
            </a:xfrm>
            <a:solidFill>
              <a:schemeClr val="bg1">
                <a:lumMod val="85000"/>
              </a:schemeClr>
            </a:solidFill>
          </p:grpSpPr>
          <p:grpSp>
            <p:nvGrpSpPr>
              <p:cNvPr id="458" name="Group 677"/>
              <p:cNvGrpSpPr/>
              <p:nvPr/>
            </p:nvGrpSpPr>
            <p:grpSpPr>
              <a:xfrm>
                <a:off x="2699362" y="419773"/>
                <a:ext cx="1310784" cy="1503649"/>
                <a:chOff x="2699358" y="419774"/>
                <a:chExt cx="1310782" cy="1503648"/>
              </a:xfrm>
              <a:grpFill/>
            </p:grpSpPr>
            <p:sp>
              <p:nvSpPr>
                <p:cNvPr id="464" name="Freeform 683"/>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65" name="Rectangle 684"/>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66" name="Rectangle 685"/>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59" name="Rectangle 678"/>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60" name="Rectangle 679"/>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61" name="Rectangle 680"/>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62" name="Rectangle 681"/>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6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213" name="Oval 686"/>
            <p:cNvSpPr/>
            <p:nvPr/>
          </p:nvSpPr>
          <p:spPr>
            <a:xfrm>
              <a:off x="4316927" y="5029793"/>
              <a:ext cx="406730" cy="387656"/>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214" name="Group 687"/>
            <p:cNvGrpSpPr/>
            <p:nvPr/>
          </p:nvGrpSpPr>
          <p:grpSpPr>
            <a:xfrm>
              <a:off x="4274658" y="5344862"/>
              <a:ext cx="314169" cy="376283"/>
              <a:chOff x="2699362" y="419773"/>
              <a:chExt cx="1310784" cy="1503649"/>
            </a:xfrm>
            <a:solidFill>
              <a:schemeClr val="bg1">
                <a:lumMod val="85000"/>
              </a:schemeClr>
            </a:solidFill>
          </p:grpSpPr>
          <p:grpSp>
            <p:nvGrpSpPr>
              <p:cNvPr id="449" name="Group 688"/>
              <p:cNvGrpSpPr/>
              <p:nvPr/>
            </p:nvGrpSpPr>
            <p:grpSpPr>
              <a:xfrm>
                <a:off x="2699362" y="419773"/>
                <a:ext cx="1310784" cy="1503649"/>
                <a:chOff x="2699358" y="419774"/>
                <a:chExt cx="1310782" cy="1503648"/>
              </a:xfrm>
              <a:grpFill/>
            </p:grpSpPr>
            <p:sp>
              <p:nvSpPr>
                <p:cNvPr id="455" name="Freeform 69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56" name="Rectangle 69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57" name="Rectangle 69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50" name="Rectangle 68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51" name="Rectangle 69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52" name="Rectangle 69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53" name="Rectangle 69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5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5" name="Group 697"/>
            <p:cNvGrpSpPr/>
            <p:nvPr/>
          </p:nvGrpSpPr>
          <p:grpSpPr>
            <a:xfrm>
              <a:off x="3677856" y="5338717"/>
              <a:ext cx="314169" cy="376283"/>
              <a:chOff x="2699362" y="419773"/>
              <a:chExt cx="1310784" cy="1503649"/>
            </a:xfrm>
            <a:solidFill>
              <a:schemeClr val="bg1">
                <a:lumMod val="85000"/>
              </a:schemeClr>
            </a:solidFill>
          </p:grpSpPr>
          <p:grpSp>
            <p:nvGrpSpPr>
              <p:cNvPr id="440" name="Group 698"/>
              <p:cNvGrpSpPr/>
              <p:nvPr/>
            </p:nvGrpSpPr>
            <p:grpSpPr>
              <a:xfrm>
                <a:off x="2699362" y="419773"/>
                <a:ext cx="1310784" cy="1503649"/>
                <a:chOff x="2699358" y="419774"/>
                <a:chExt cx="1310782" cy="1503648"/>
              </a:xfrm>
              <a:grpFill/>
            </p:grpSpPr>
            <p:sp>
              <p:nvSpPr>
                <p:cNvPr id="446" name="Freeform 70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47" name="Rectangle 70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48" name="Rectangle 70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41" name="Rectangle 69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2" name="Rectangle 70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3" name="Rectangle 70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4" name="Rectangle 70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6" name="Group 707"/>
            <p:cNvGrpSpPr/>
            <p:nvPr/>
          </p:nvGrpSpPr>
          <p:grpSpPr>
            <a:xfrm>
              <a:off x="3988563" y="5402948"/>
              <a:ext cx="314169" cy="376283"/>
              <a:chOff x="2699362" y="419773"/>
              <a:chExt cx="1310784" cy="1503649"/>
            </a:xfrm>
            <a:solidFill>
              <a:schemeClr val="bg1">
                <a:lumMod val="85000"/>
              </a:schemeClr>
            </a:solidFill>
          </p:grpSpPr>
          <p:grpSp>
            <p:nvGrpSpPr>
              <p:cNvPr id="431" name="Group 708"/>
              <p:cNvGrpSpPr/>
              <p:nvPr/>
            </p:nvGrpSpPr>
            <p:grpSpPr>
              <a:xfrm>
                <a:off x="2699362" y="419773"/>
                <a:ext cx="1310784" cy="1503649"/>
                <a:chOff x="2699358" y="419774"/>
                <a:chExt cx="1310782" cy="1503648"/>
              </a:xfrm>
              <a:grpFill/>
            </p:grpSpPr>
            <p:sp>
              <p:nvSpPr>
                <p:cNvPr id="437" name="Freeform 71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38" name="Rectangle 71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39" name="Rectangle 71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32" name="Rectangle 70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33" name="Rectangle 71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34" name="Rectangle 71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35" name="Rectangle 71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3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7" name="Group 717"/>
            <p:cNvGrpSpPr/>
            <p:nvPr/>
          </p:nvGrpSpPr>
          <p:grpSpPr>
            <a:xfrm>
              <a:off x="5334207" y="5033928"/>
              <a:ext cx="314169" cy="376283"/>
              <a:chOff x="2699362" y="419773"/>
              <a:chExt cx="1310784" cy="1503649"/>
            </a:xfrm>
            <a:solidFill>
              <a:schemeClr val="bg1">
                <a:lumMod val="85000"/>
              </a:schemeClr>
            </a:solidFill>
          </p:grpSpPr>
          <p:grpSp>
            <p:nvGrpSpPr>
              <p:cNvPr id="422" name="Group 718"/>
              <p:cNvGrpSpPr/>
              <p:nvPr/>
            </p:nvGrpSpPr>
            <p:grpSpPr>
              <a:xfrm>
                <a:off x="2699362" y="419773"/>
                <a:ext cx="1310784" cy="1503649"/>
                <a:chOff x="2699358" y="419774"/>
                <a:chExt cx="1310782" cy="1503648"/>
              </a:xfrm>
              <a:grpFill/>
            </p:grpSpPr>
            <p:sp>
              <p:nvSpPr>
                <p:cNvPr id="428" name="Freeform 72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29" name="Rectangle 72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30" name="Rectangle 72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23" name="Rectangle 71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24" name="Rectangle 72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25" name="Rectangle 72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26" name="Rectangle 72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2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8" name="Group 727"/>
            <p:cNvGrpSpPr/>
            <p:nvPr/>
          </p:nvGrpSpPr>
          <p:grpSpPr>
            <a:xfrm>
              <a:off x="4889743" y="4512894"/>
              <a:ext cx="314169" cy="376283"/>
              <a:chOff x="2699362" y="419773"/>
              <a:chExt cx="1310784" cy="1503649"/>
            </a:xfrm>
            <a:solidFill>
              <a:schemeClr val="bg1">
                <a:lumMod val="85000"/>
              </a:schemeClr>
            </a:solidFill>
          </p:grpSpPr>
          <p:grpSp>
            <p:nvGrpSpPr>
              <p:cNvPr id="413" name="Group 728"/>
              <p:cNvGrpSpPr/>
              <p:nvPr/>
            </p:nvGrpSpPr>
            <p:grpSpPr>
              <a:xfrm>
                <a:off x="2699362" y="419773"/>
                <a:ext cx="1310784" cy="1503649"/>
                <a:chOff x="2699358" y="419774"/>
                <a:chExt cx="1310782" cy="1503648"/>
              </a:xfrm>
              <a:grpFill/>
            </p:grpSpPr>
            <p:sp>
              <p:nvSpPr>
                <p:cNvPr id="419" name="Freeform 73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20" name="Rectangle 73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21" name="Rectangle 73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14" name="Rectangle 72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15" name="Rectangle 73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16" name="Rectangle 73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17" name="Rectangle 73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1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19" name="Group 737"/>
            <p:cNvGrpSpPr/>
            <p:nvPr/>
          </p:nvGrpSpPr>
          <p:grpSpPr>
            <a:xfrm>
              <a:off x="4329685" y="4785852"/>
              <a:ext cx="314169" cy="376283"/>
              <a:chOff x="2699362" y="419773"/>
              <a:chExt cx="1310784" cy="1503649"/>
            </a:xfrm>
            <a:solidFill>
              <a:schemeClr val="bg1">
                <a:lumMod val="85000"/>
              </a:schemeClr>
            </a:solidFill>
          </p:grpSpPr>
          <p:grpSp>
            <p:nvGrpSpPr>
              <p:cNvPr id="404" name="Group 738"/>
              <p:cNvGrpSpPr/>
              <p:nvPr/>
            </p:nvGrpSpPr>
            <p:grpSpPr>
              <a:xfrm>
                <a:off x="2699362" y="419773"/>
                <a:ext cx="1310784" cy="1503649"/>
                <a:chOff x="2699358" y="419774"/>
                <a:chExt cx="1310782" cy="1503648"/>
              </a:xfrm>
              <a:grpFill/>
            </p:grpSpPr>
            <p:sp>
              <p:nvSpPr>
                <p:cNvPr id="410" name="Freeform 74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11" name="Rectangle 74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12" name="Rectangle 74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405" name="Rectangle 73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06" name="Rectangle 74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07" name="Rectangle 74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08" name="Rectangle 74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0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20" name="Group 747"/>
            <p:cNvGrpSpPr/>
            <p:nvPr/>
          </p:nvGrpSpPr>
          <p:grpSpPr>
            <a:xfrm>
              <a:off x="4279130" y="3097157"/>
              <a:ext cx="314169" cy="376283"/>
              <a:chOff x="2699362" y="419773"/>
              <a:chExt cx="1310784" cy="1503649"/>
            </a:xfrm>
            <a:solidFill>
              <a:schemeClr val="bg1">
                <a:lumMod val="85000"/>
              </a:schemeClr>
            </a:solidFill>
          </p:grpSpPr>
          <p:grpSp>
            <p:nvGrpSpPr>
              <p:cNvPr id="395" name="Group 748"/>
              <p:cNvGrpSpPr/>
              <p:nvPr/>
            </p:nvGrpSpPr>
            <p:grpSpPr>
              <a:xfrm>
                <a:off x="2699362" y="419773"/>
                <a:ext cx="1310784" cy="1503649"/>
                <a:chOff x="2699358" y="419774"/>
                <a:chExt cx="1310782" cy="1503648"/>
              </a:xfrm>
              <a:grpFill/>
            </p:grpSpPr>
            <p:sp>
              <p:nvSpPr>
                <p:cNvPr id="401" name="Freeform 754"/>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02" name="Rectangle 755"/>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03" name="Rectangle 756"/>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96" name="Rectangle 749"/>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97" name="Rectangle 750"/>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98" name="Rectangle 751"/>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99" name="Rectangle 752"/>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0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221" name="Oval 757"/>
            <p:cNvSpPr/>
            <p:nvPr/>
          </p:nvSpPr>
          <p:spPr>
            <a:xfrm>
              <a:off x="6656901" y="3891378"/>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22" name="TextBox 3"/>
            <p:cNvSpPr txBox="1"/>
            <p:nvPr/>
          </p:nvSpPr>
          <p:spPr>
            <a:xfrm>
              <a:off x="3577902" y="5414430"/>
              <a:ext cx="1790392" cy="261610"/>
            </a:xfrm>
            <a:prstGeom prst="rect">
              <a:avLst/>
            </a:prstGeom>
            <a:solidFill>
              <a:srgbClr val="FAFAFA"/>
            </a:solidFill>
          </p:spPr>
          <p:txBody>
            <a:bodyPr wrap="square" rtlCol="0">
              <a:spAutoFit/>
            </a:bodyPr>
            <a:lstStyle/>
            <a:p>
              <a:pPr algn="ctr"/>
              <a:r>
                <a:rPr lang="en-US" sz="1100" dirty="0"/>
                <a:t>Searching 5024 records</a:t>
              </a:r>
            </a:p>
          </p:txBody>
        </p:sp>
        <p:grpSp>
          <p:nvGrpSpPr>
            <p:cNvPr id="223" name="Group 758"/>
            <p:cNvGrpSpPr/>
            <p:nvPr/>
          </p:nvGrpSpPr>
          <p:grpSpPr>
            <a:xfrm>
              <a:off x="4676144" y="3324098"/>
              <a:ext cx="314169" cy="376283"/>
              <a:chOff x="2699362" y="419773"/>
              <a:chExt cx="1310784" cy="1503649"/>
            </a:xfrm>
            <a:solidFill>
              <a:schemeClr val="bg1">
                <a:lumMod val="85000"/>
              </a:schemeClr>
            </a:solidFill>
          </p:grpSpPr>
          <p:grpSp>
            <p:nvGrpSpPr>
              <p:cNvPr id="386" name="Group 759"/>
              <p:cNvGrpSpPr/>
              <p:nvPr/>
            </p:nvGrpSpPr>
            <p:grpSpPr>
              <a:xfrm>
                <a:off x="2699362" y="419773"/>
                <a:ext cx="1310784" cy="1503649"/>
                <a:chOff x="2699358" y="419774"/>
                <a:chExt cx="1310782" cy="1503648"/>
              </a:xfrm>
              <a:grpFill/>
            </p:grpSpPr>
            <p:sp>
              <p:nvSpPr>
                <p:cNvPr id="39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93" name="Rectangle 76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94" name="Rectangle 76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87" name="Rectangle 760"/>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88" name="Rectangle 761"/>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89" name="Rectangle 762"/>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90" name="Rectangle 763"/>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9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24" name="Group 768"/>
            <p:cNvGrpSpPr/>
            <p:nvPr/>
          </p:nvGrpSpPr>
          <p:grpSpPr>
            <a:xfrm>
              <a:off x="5630728" y="3260240"/>
              <a:ext cx="314169" cy="376283"/>
              <a:chOff x="2699362" y="419773"/>
              <a:chExt cx="1310784" cy="1503649"/>
            </a:xfrm>
            <a:solidFill>
              <a:schemeClr val="bg1">
                <a:lumMod val="85000"/>
              </a:schemeClr>
            </a:solidFill>
          </p:grpSpPr>
          <p:grpSp>
            <p:nvGrpSpPr>
              <p:cNvPr id="377" name="Group 769"/>
              <p:cNvGrpSpPr/>
              <p:nvPr/>
            </p:nvGrpSpPr>
            <p:grpSpPr>
              <a:xfrm>
                <a:off x="2699362" y="419773"/>
                <a:ext cx="1310784" cy="1503649"/>
                <a:chOff x="2699358" y="419774"/>
                <a:chExt cx="1310782" cy="1503648"/>
              </a:xfrm>
              <a:grpFill/>
            </p:grpSpPr>
            <p:sp>
              <p:nvSpPr>
                <p:cNvPr id="38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84" name="Rectangle 77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85" name="Rectangle 77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78" name="Rectangle 770"/>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79" name="Rectangle 771"/>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80" name="Rectangle 772"/>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81" name="Rectangle 773"/>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8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25" name="Group 778"/>
            <p:cNvGrpSpPr/>
            <p:nvPr/>
          </p:nvGrpSpPr>
          <p:grpSpPr>
            <a:xfrm>
              <a:off x="5221048" y="4605801"/>
              <a:ext cx="314169" cy="376283"/>
              <a:chOff x="2699362" y="419773"/>
              <a:chExt cx="1310784" cy="1503649"/>
            </a:xfrm>
            <a:solidFill>
              <a:schemeClr val="bg1">
                <a:lumMod val="85000"/>
              </a:schemeClr>
            </a:solidFill>
          </p:grpSpPr>
          <p:grpSp>
            <p:nvGrpSpPr>
              <p:cNvPr id="368" name="Group 779"/>
              <p:cNvGrpSpPr/>
              <p:nvPr/>
            </p:nvGrpSpPr>
            <p:grpSpPr>
              <a:xfrm>
                <a:off x="2699362" y="419773"/>
                <a:ext cx="1310784" cy="1503649"/>
                <a:chOff x="2699358" y="419774"/>
                <a:chExt cx="1310782" cy="1503648"/>
              </a:xfrm>
              <a:grpFill/>
            </p:grpSpPr>
            <p:sp>
              <p:nvSpPr>
                <p:cNvPr id="374"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75" name="Rectangle 78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76" name="Rectangle 78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69" name="Rectangle 780"/>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70" name="Rectangle 781"/>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71" name="Rectangle 782"/>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72" name="Rectangle 783"/>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7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26" name="Group 788"/>
            <p:cNvGrpSpPr/>
            <p:nvPr/>
          </p:nvGrpSpPr>
          <p:grpSpPr>
            <a:xfrm>
              <a:off x="3763568" y="3595398"/>
              <a:ext cx="314169" cy="376283"/>
              <a:chOff x="2699362" y="419773"/>
              <a:chExt cx="1310784" cy="1503649"/>
            </a:xfrm>
            <a:solidFill>
              <a:schemeClr val="bg1">
                <a:lumMod val="85000"/>
              </a:schemeClr>
            </a:solidFill>
          </p:grpSpPr>
          <p:grpSp>
            <p:nvGrpSpPr>
              <p:cNvPr id="359" name="Group 789"/>
              <p:cNvGrpSpPr/>
              <p:nvPr/>
            </p:nvGrpSpPr>
            <p:grpSpPr>
              <a:xfrm>
                <a:off x="2699362" y="419773"/>
                <a:ext cx="1310784" cy="1503649"/>
                <a:chOff x="2699358" y="419774"/>
                <a:chExt cx="1310782" cy="1503648"/>
              </a:xfrm>
              <a:grpFill/>
            </p:grpSpPr>
            <p:sp>
              <p:nvSpPr>
                <p:cNvPr id="365" name="Freeform 795"/>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66" name="Rectangle 79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67" name="Rectangle 79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60" name="Rectangle 790"/>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61" name="Rectangle 791"/>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62" name="Rectangle 792"/>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63" name="Rectangle 793"/>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6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27" name="Group 798"/>
            <p:cNvGrpSpPr/>
            <p:nvPr/>
          </p:nvGrpSpPr>
          <p:grpSpPr>
            <a:xfrm>
              <a:off x="4858959" y="2481569"/>
              <a:ext cx="314169" cy="376283"/>
              <a:chOff x="2699362" y="419773"/>
              <a:chExt cx="1310784" cy="1503649"/>
            </a:xfrm>
            <a:solidFill>
              <a:schemeClr val="bg1">
                <a:lumMod val="85000"/>
              </a:schemeClr>
            </a:solidFill>
          </p:grpSpPr>
          <p:grpSp>
            <p:nvGrpSpPr>
              <p:cNvPr id="350" name="Group 799"/>
              <p:cNvGrpSpPr/>
              <p:nvPr/>
            </p:nvGrpSpPr>
            <p:grpSpPr>
              <a:xfrm>
                <a:off x="2699362" y="419773"/>
                <a:ext cx="1310784" cy="1503649"/>
                <a:chOff x="2699358" y="419774"/>
                <a:chExt cx="1310782" cy="1503648"/>
              </a:xfrm>
              <a:grpFill/>
            </p:grpSpPr>
            <p:sp>
              <p:nvSpPr>
                <p:cNvPr id="356" name="Freeform 805"/>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57" name="Rectangle 806"/>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58" name="Rectangle 807"/>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51" name="Rectangle 800"/>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52" name="Rectangle 801"/>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53" name="Rectangle 802"/>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54" name="Rectangle 803"/>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5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228" name="Oval 808"/>
            <p:cNvSpPr/>
            <p:nvPr/>
          </p:nvSpPr>
          <p:spPr>
            <a:xfrm>
              <a:off x="6288252" y="362445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29" name="Oval 809"/>
            <p:cNvSpPr/>
            <p:nvPr/>
          </p:nvSpPr>
          <p:spPr>
            <a:xfrm>
              <a:off x="5201383" y="4091426"/>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30" name="Oval 811"/>
            <p:cNvSpPr/>
            <p:nvPr/>
          </p:nvSpPr>
          <p:spPr>
            <a:xfrm>
              <a:off x="4480261" y="406871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31" name="Oval 812"/>
            <p:cNvSpPr/>
            <p:nvPr/>
          </p:nvSpPr>
          <p:spPr>
            <a:xfrm>
              <a:off x="4055557" y="282076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232" name="Group 863"/>
            <p:cNvGrpSpPr/>
            <p:nvPr/>
          </p:nvGrpSpPr>
          <p:grpSpPr>
            <a:xfrm>
              <a:off x="7224261" y="4103627"/>
              <a:ext cx="314169" cy="376283"/>
              <a:chOff x="2699362" y="419773"/>
              <a:chExt cx="1310784" cy="1503649"/>
            </a:xfrm>
            <a:solidFill>
              <a:schemeClr val="bg1">
                <a:lumMod val="85000"/>
              </a:schemeClr>
            </a:solidFill>
          </p:grpSpPr>
          <p:grpSp>
            <p:nvGrpSpPr>
              <p:cNvPr id="341" name="Group 864"/>
              <p:cNvGrpSpPr/>
              <p:nvPr/>
            </p:nvGrpSpPr>
            <p:grpSpPr>
              <a:xfrm>
                <a:off x="2699362" y="419773"/>
                <a:ext cx="1310784" cy="1503649"/>
                <a:chOff x="2699358" y="419774"/>
                <a:chExt cx="1310782" cy="1503648"/>
              </a:xfrm>
              <a:grpFill/>
            </p:grpSpPr>
            <p:sp>
              <p:nvSpPr>
                <p:cNvPr id="347"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48" name="Rectangle 87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49" name="Rectangle 87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42" name="Rectangle 86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43" name="Rectangle 86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44" name="Rectangle 86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45" name="Rectangle 86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4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33" name="Group 873"/>
            <p:cNvGrpSpPr/>
            <p:nvPr/>
          </p:nvGrpSpPr>
          <p:grpSpPr>
            <a:xfrm>
              <a:off x="6709292" y="3422027"/>
              <a:ext cx="314169" cy="376283"/>
              <a:chOff x="2699362" y="419773"/>
              <a:chExt cx="1310784" cy="1503649"/>
            </a:xfrm>
            <a:solidFill>
              <a:schemeClr val="bg1">
                <a:lumMod val="85000"/>
              </a:schemeClr>
            </a:solidFill>
          </p:grpSpPr>
          <p:grpSp>
            <p:nvGrpSpPr>
              <p:cNvPr id="332" name="Group 874"/>
              <p:cNvGrpSpPr/>
              <p:nvPr/>
            </p:nvGrpSpPr>
            <p:grpSpPr>
              <a:xfrm>
                <a:off x="2699362" y="419773"/>
                <a:ext cx="1310784" cy="1503649"/>
                <a:chOff x="2699358" y="419774"/>
                <a:chExt cx="1310782" cy="1503648"/>
              </a:xfrm>
              <a:grpFill/>
            </p:grpSpPr>
            <p:sp>
              <p:nvSpPr>
                <p:cNvPr id="338"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39" name="Rectangle 88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40" name="Rectangle 88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33" name="Rectangle 87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34" name="Rectangle 87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35" name="Rectangle 87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36" name="Rectangle 87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37"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34" name="Group 883"/>
            <p:cNvGrpSpPr/>
            <p:nvPr/>
          </p:nvGrpSpPr>
          <p:grpSpPr>
            <a:xfrm>
              <a:off x="6782228" y="3883128"/>
              <a:ext cx="314169" cy="376283"/>
              <a:chOff x="2699362" y="419773"/>
              <a:chExt cx="1310784" cy="1503649"/>
            </a:xfrm>
            <a:solidFill>
              <a:schemeClr val="bg1">
                <a:lumMod val="85000"/>
              </a:schemeClr>
            </a:solidFill>
          </p:grpSpPr>
          <p:grpSp>
            <p:nvGrpSpPr>
              <p:cNvPr id="323" name="Group 884"/>
              <p:cNvGrpSpPr/>
              <p:nvPr/>
            </p:nvGrpSpPr>
            <p:grpSpPr>
              <a:xfrm>
                <a:off x="2699362" y="419773"/>
                <a:ext cx="1310784" cy="1503649"/>
                <a:chOff x="2699358" y="419774"/>
                <a:chExt cx="1310782" cy="1503648"/>
              </a:xfrm>
              <a:grpFill/>
            </p:grpSpPr>
            <p:sp>
              <p:nvSpPr>
                <p:cNvPr id="329"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30" name="Rectangle 89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31" name="Rectangle 89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24" name="Rectangle 88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25" name="Rectangle 88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26" name="Rectangle 88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27" name="Rectangle 88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28"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35" name="Group 893"/>
            <p:cNvGrpSpPr/>
            <p:nvPr/>
          </p:nvGrpSpPr>
          <p:grpSpPr>
            <a:xfrm>
              <a:off x="6934628" y="4035528"/>
              <a:ext cx="314169" cy="376283"/>
              <a:chOff x="2699362" y="419773"/>
              <a:chExt cx="1310784" cy="1503649"/>
            </a:xfrm>
            <a:solidFill>
              <a:schemeClr val="bg1">
                <a:lumMod val="85000"/>
              </a:schemeClr>
            </a:solidFill>
          </p:grpSpPr>
          <p:grpSp>
            <p:nvGrpSpPr>
              <p:cNvPr id="314" name="Group 894"/>
              <p:cNvGrpSpPr/>
              <p:nvPr/>
            </p:nvGrpSpPr>
            <p:grpSpPr>
              <a:xfrm>
                <a:off x="2699362" y="419773"/>
                <a:ext cx="1310784" cy="1503649"/>
                <a:chOff x="2699358" y="419774"/>
                <a:chExt cx="1310782" cy="1503648"/>
              </a:xfrm>
              <a:grpFill/>
            </p:grpSpPr>
            <p:sp>
              <p:nvSpPr>
                <p:cNvPr id="320"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21" name="Rectangle 90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22" name="Rectangle 90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15" name="Rectangle 89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16" name="Rectangle 89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17" name="Rectangle 89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18" name="Rectangle 89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1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36" name="Group 903"/>
            <p:cNvGrpSpPr/>
            <p:nvPr/>
          </p:nvGrpSpPr>
          <p:grpSpPr>
            <a:xfrm>
              <a:off x="6959925" y="4516355"/>
              <a:ext cx="314169" cy="376283"/>
              <a:chOff x="2699362" y="419773"/>
              <a:chExt cx="1310784" cy="1503649"/>
            </a:xfrm>
            <a:solidFill>
              <a:schemeClr val="bg1">
                <a:lumMod val="85000"/>
              </a:schemeClr>
            </a:solidFill>
          </p:grpSpPr>
          <p:grpSp>
            <p:nvGrpSpPr>
              <p:cNvPr id="305" name="Group 904"/>
              <p:cNvGrpSpPr/>
              <p:nvPr/>
            </p:nvGrpSpPr>
            <p:grpSpPr>
              <a:xfrm>
                <a:off x="2699362" y="419773"/>
                <a:ext cx="1310784" cy="1503649"/>
                <a:chOff x="2699358" y="419774"/>
                <a:chExt cx="1310782" cy="1503648"/>
              </a:xfrm>
              <a:grpFill/>
            </p:grpSpPr>
            <p:sp>
              <p:nvSpPr>
                <p:cNvPr id="31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12" name="Rectangle 91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13" name="Rectangle 91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306" name="Rectangle 90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07" name="Rectangle 90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08" name="Rectangle 90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09" name="Rectangle 90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1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37" name="Group 913"/>
            <p:cNvGrpSpPr/>
            <p:nvPr/>
          </p:nvGrpSpPr>
          <p:grpSpPr>
            <a:xfrm>
              <a:off x="6969601" y="3158454"/>
              <a:ext cx="314169" cy="376283"/>
              <a:chOff x="2699362" y="419773"/>
              <a:chExt cx="1310784" cy="1503649"/>
            </a:xfrm>
            <a:solidFill>
              <a:schemeClr val="bg1">
                <a:lumMod val="85000"/>
              </a:schemeClr>
            </a:solidFill>
          </p:grpSpPr>
          <p:grpSp>
            <p:nvGrpSpPr>
              <p:cNvPr id="296" name="Group 914"/>
              <p:cNvGrpSpPr/>
              <p:nvPr/>
            </p:nvGrpSpPr>
            <p:grpSpPr>
              <a:xfrm>
                <a:off x="2699362" y="419773"/>
                <a:ext cx="1310784" cy="1503649"/>
                <a:chOff x="2699358" y="419774"/>
                <a:chExt cx="1310782" cy="1503648"/>
              </a:xfrm>
              <a:grpFill/>
            </p:grpSpPr>
            <p:sp>
              <p:nvSpPr>
                <p:cNvPr id="302"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303" name="Rectangle 921"/>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304" name="Rectangle 922"/>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97" name="Rectangle 915"/>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98" name="Rectangle 916"/>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99" name="Rectangle 917"/>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00" name="Rectangle 918"/>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30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238" name="Oval 923"/>
            <p:cNvSpPr/>
            <p:nvPr/>
          </p:nvSpPr>
          <p:spPr>
            <a:xfrm>
              <a:off x="6793358" y="2960910"/>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39" name="Oval 924"/>
            <p:cNvSpPr/>
            <p:nvPr/>
          </p:nvSpPr>
          <p:spPr>
            <a:xfrm>
              <a:off x="7053893" y="4710402"/>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40" name="Oval 925"/>
            <p:cNvSpPr/>
            <p:nvPr/>
          </p:nvSpPr>
          <p:spPr>
            <a:xfrm>
              <a:off x="6282600" y="4427898"/>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41" name="Oval 926"/>
            <p:cNvSpPr/>
            <p:nvPr/>
          </p:nvSpPr>
          <p:spPr>
            <a:xfrm>
              <a:off x="7464943" y="4426427"/>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42" name="Oval 927"/>
            <p:cNvSpPr/>
            <p:nvPr/>
          </p:nvSpPr>
          <p:spPr>
            <a:xfrm>
              <a:off x="7342036" y="3326235"/>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43" name="Oval 928"/>
            <p:cNvSpPr/>
            <p:nvPr/>
          </p:nvSpPr>
          <p:spPr>
            <a:xfrm>
              <a:off x="7094751" y="3145101"/>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nvGrpSpPr>
            <p:cNvPr id="244" name="Group 929"/>
            <p:cNvGrpSpPr/>
            <p:nvPr/>
          </p:nvGrpSpPr>
          <p:grpSpPr>
            <a:xfrm>
              <a:off x="7463494" y="4674968"/>
              <a:ext cx="314169" cy="376283"/>
              <a:chOff x="2699362" y="419773"/>
              <a:chExt cx="1310784" cy="1503649"/>
            </a:xfrm>
            <a:solidFill>
              <a:schemeClr val="bg1">
                <a:lumMod val="85000"/>
              </a:schemeClr>
            </a:solidFill>
          </p:grpSpPr>
          <p:grpSp>
            <p:nvGrpSpPr>
              <p:cNvPr id="287" name="Group 930"/>
              <p:cNvGrpSpPr/>
              <p:nvPr/>
            </p:nvGrpSpPr>
            <p:grpSpPr>
              <a:xfrm>
                <a:off x="2699362" y="419773"/>
                <a:ext cx="1310784" cy="1503649"/>
                <a:chOff x="2699358" y="419774"/>
                <a:chExt cx="1310782" cy="1503648"/>
              </a:xfrm>
              <a:grpFill/>
            </p:grpSpPr>
            <p:sp>
              <p:nvSpPr>
                <p:cNvPr id="293"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94" name="Rectangle 93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95" name="Rectangle 93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88" name="Rectangle 93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89" name="Rectangle 93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90" name="Rectangle 93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91" name="Rectangle 93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9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45" name="Group 939"/>
            <p:cNvGrpSpPr/>
            <p:nvPr/>
          </p:nvGrpSpPr>
          <p:grpSpPr>
            <a:xfrm>
              <a:off x="6488674" y="4855681"/>
              <a:ext cx="314169" cy="376283"/>
              <a:chOff x="2699362" y="419773"/>
              <a:chExt cx="1310784" cy="1503649"/>
            </a:xfrm>
            <a:solidFill>
              <a:schemeClr val="bg1">
                <a:lumMod val="85000"/>
              </a:schemeClr>
            </a:solidFill>
          </p:grpSpPr>
          <p:grpSp>
            <p:nvGrpSpPr>
              <p:cNvPr id="278" name="Group 940"/>
              <p:cNvGrpSpPr/>
              <p:nvPr/>
            </p:nvGrpSpPr>
            <p:grpSpPr>
              <a:xfrm>
                <a:off x="2699362" y="419773"/>
                <a:ext cx="1310784" cy="1503649"/>
                <a:chOff x="2699358" y="419774"/>
                <a:chExt cx="1310782" cy="1503648"/>
              </a:xfrm>
              <a:grpFill/>
            </p:grpSpPr>
            <p:sp>
              <p:nvSpPr>
                <p:cNvPr id="284"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85" name="Rectangle 94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86" name="Rectangle 94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79" name="Rectangle 94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80" name="Rectangle 94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81" name="Rectangle 94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82" name="Rectangle 94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8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46" name="Group 949"/>
            <p:cNvGrpSpPr/>
            <p:nvPr/>
          </p:nvGrpSpPr>
          <p:grpSpPr>
            <a:xfrm>
              <a:off x="7471302" y="3588700"/>
              <a:ext cx="314169" cy="376283"/>
              <a:chOff x="2699362" y="419773"/>
              <a:chExt cx="1310784" cy="1503649"/>
            </a:xfrm>
            <a:solidFill>
              <a:schemeClr val="bg1">
                <a:lumMod val="85000"/>
              </a:schemeClr>
            </a:solidFill>
          </p:grpSpPr>
          <p:grpSp>
            <p:nvGrpSpPr>
              <p:cNvPr id="269" name="Group 950"/>
              <p:cNvGrpSpPr/>
              <p:nvPr/>
            </p:nvGrpSpPr>
            <p:grpSpPr>
              <a:xfrm>
                <a:off x="2699362" y="419773"/>
                <a:ext cx="1310784" cy="1503649"/>
                <a:chOff x="2699358" y="419774"/>
                <a:chExt cx="1310782" cy="1503648"/>
              </a:xfrm>
              <a:grpFill/>
            </p:grpSpPr>
            <p:sp>
              <p:nvSpPr>
                <p:cNvPr id="275"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76" name="Rectangle 95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77" name="Rectangle 95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70" name="Rectangle 95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71" name="Rectangle 95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72" name="Rectangle 95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73" name="Rectangle 95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74"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47" name="Group 959"/>
            <p:cNvGrpSpPr/>
            <p:nvPr/>
          </p:nvGrpSpPr>
          <p:grpSpPr>
            <a:xfrm>
              <a:off x="7052747" y="3372714"/>
              <a:ext cx="314169" cy="376283"/>
              <a:chOff x="2699362" y="419773"/>
              <a:chExt cx="1310784" cy="1503649"/>
            </a:xfrm>
            <a:solidFill>
              <a:schemeClr val="bg1">
                <a:lumMod val="85000"/>
              </a:schemeClr>
            </a:solidFill>
          </p:grpSpPr>
          <p:grpSp>
            <p:nvGrpSpPr>
              <p:cNvPr id="260" name="Group 960"/>
              <p:cNvGrpSpPr/>
              <p:nvPr/>
            </p:nvGrpSpPr>
            <p:grpSpPr>
              <a:xfrm>
                <a:off x="2699362" y="419773"/>
                <a:ext cx="1310784" cy="1503649"/>
                <a:chOff x="2699358" y="419774"/>
                <a:chExt cx="1310782" cy="1503648"/>
              </a:xfrm>
              <a:grpFill/>
            </p:grpSpPr>
            <p:sp>
              <p:nvSpPr>
                <p:cNvPr id="266"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67" name="Rectangle 96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68" name="Rectangle 96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61" name="Rectangle 96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62" name="Rectangle 96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63" name="Rectangle 96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64" name="Rectangle 96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65"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248" name="Group 969"/>
            <p:cNvGrpSpPr/>
            <p:nvPr/>
          </p:nvGrpSpPr>
          <p:grpSpPr>
            <a:xfrm>
              <a:off x="7485947" y="3111089"/>
              <a:ext cx="314169" cy="376283"/>
              <a:chOff x="2699362" y="419773"/>
              <a:chExt cx="1310784" cy="1503649"/>
            </a:xfrm>
            <a:solidFill>
              <a:schemeClr val="bg1">
                <a:lumMod val="85000"/>
              </a:schemeClr>
            </a:solidFill>
          </p:grpSpPr>
          <p:grpSp>
            <p:nvGrpSpPr>
              <p:cNvPr id="251" name="Group 970"/>
              <p:cNvGrpSpPr/>
              <p:nvPr/>
            </p:nvGrpSpPr>
            <p:grpSpPr>
              <a:xfrm>
                <a:off x="2699362" y="419773"/>
                <a:ext cx="1310784" cy="1503649"/>
                <a:chOff x="2699358" y="419774"/>
                <a:chExt cx="1310782" cy="1503648"/>
              </a:xfrm>
              <a:grpFill/>
            </p:grpSpPr>
            <p:sp>
              <p:nvSpPr>
                <p:cNvPr id="257"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58" name="Rectangle 97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59" name="Rectangle 97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252" name="Rectangle 971"/>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53" name="Rectangle 972"/>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54" name="Rectangle 973"/>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55" name="Rectangle 974"/>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56"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249" name="Oval 979"/>
            <p:cNvSpPr/>
            <p:nvPr/>
          </p:nvSpPr>
          <p:spPr>
            <a:xfrm>
              <a:off x="7409376" y="3891378"/>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sp>
          <p:nvSpPr>
            <p:cNvPr id="250" name="Oval 980"/>
            <p:cNvSpPr/>
            <p:nvPr/>
          </p:nvSpPr>
          <p:spPr>
            <a:xfrm>
              <a:off x="7040727" y="3624454"/>
              <a:ext cx="370490" cy="370490"/>
            </a:xfrm>
            <a:prstGeom prst="ellipse">
              <a:avLst/>
            </a:prstGeom>
            <a:solidFill>
              <a:schemeClr val="bg1">
                <a:lumMod val="95000"/>
              </a:schemeClr>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bg1">
                      <a:lumMod val="85000"/>
                    </a:schemeClr>
                  </a:solidFill>
                </a:rPr>
                <a:t>www</a:t>
              </a:r>
            </a:p>
          </p:txBody>
        </p:sp>
      </p:grpSp>
      <p:sp>
        <p:nvSpPr>
          <p:cNvPr id="917" name="Rectangle 65"/>
          <p:cNvSpPr/>
          <p:nvPr/>
        </p:nvSpPr>
        <p:spPr>
          <a:xfrm>
            <a:off x="390343" y="588107"/>
            <a:ext cx="8058149"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endParaRPr lang="en-US" dirty="0">
              <a:solidFill>
                <a:schemeClr val="tx1"/>
              </a:solidFill>
            </a:endParaRPr>
          </a:p>
        </p:txBody>
      </p:sp>
      <p:grpSp>
        <p:nvGrpSpPr>
          <p:cNvPr id="918" name="Group 8"/>
          <p:cNvGrpSpPr/>
          <p:nvPr/>
        </p:nvGrpSpPr>
        <p:grpSpPr>
          <a:xfrm>
            <a:off x="591561" y="1469476"/>
            <a:ext cx="2895174" cy="2500515"/>
            <a:chOff x="3763568" y="2481569"/>
            <a:chExt cx="2895174" cy="2500515"/>
          </a:xfrm>
        </p:grpSpPr>
        <p:grpSp>
          <p:nvGrpSpPr>
            <p:cNvPr id="919" name="Group 171"/>
            <p:cNvGrpSpPr/>
            <p:nvPr/>
          </p:nvGrpSpPr>
          <p:grpSpPr>
            <a:xfrm>
              <a:off x="4676144" y="3324098"/>
              <a:ext cx="314169" cy="376283"/>
              <a:chOff x="2699362" y="419773"/>
              <a:chExt cx="1310784" cy="1503649"/>
            </a:xfrm>
            <a:solidFill>
              <a:schemeClr val="accent2"/>
            </a:solidFill>
          </p:grpSpPr>
          <p:grpSp>
            <p:nvGrpSpPr>
              <p:cNvPr id="964" name="Group 172"/>
              <p:cNvGrpSpPr/>
              <p:nvPr/>
            </p:nvGrpSpPr>
            <p:grpSpPr>
              <a:xfrm>
                <a:off x="2699362" y="419773"/>
                <a:ext cx="1310784" cy="1503649"/>
                <a:chOff x="2699358" y="419774"/>
                <a:chExt cx="1310782" cy="1503648"/>
              </a:xfrm>
              <a:grpFill/>
            </p:grpSpPr>
            <p:sp>
              <p:nvSpPr>
                <p:cNvPr id="970" name="Freeform 17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71" name="Rectangle 17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72" name="Rectangle 18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65" name="Rectangle 17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66" name="Rectangle 17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67" name="Rectangle 17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68" name="Rectangle 17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69"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920" name="Group 121"/>
            <p:cNvGrpSpPr/>
            <p:nvPr/>
          </p:nvGrpSpPr>
          <p:grpSpPr>
            <a:xfrm>
              <a:off x="5630728" y="3260240"/>
              <a:ext cx="314169" cy="376283"/>
              <a:chOff x="2699362" y="419773"/>
              <a:chExt cx="1310784" cy="1503649"/>
            </a:xfrm>
            <a:solidFill>
              <a:srgbClr val="84BD00"/>
            </a:solidFill>
          </p:grpSpPr>
          <p:grpSp>
            <p:nvGrpSpPr>
              <p:cNvPr id="955" name="Group 122"/>
              <p:cNvGrpSpPr/>
              <p:nvPr/>
            </p:nvGrpSpPr>
            <p:grpSpPr>
              <a:xfrm>
                <a:off x="2699362" y="419773"/>
                <a:ext cx="1310784" cy="1503649"/>
                <a:chOff x="2699358" y="419774"/>
                <a:chExt cx="1310782" cy="1503648"/>
              </a:xfrm>
              <a:grpFill/>
            </p:grpSpPr>
            <p:sp>
              <p:nvSpPr>
                <p:cNvPr id="961" name="Freeform 16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62" name="Rectangle 12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63" name="Rectangle 13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56" name="Rectangle 12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7" name="Rectangle 12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8" name="Rectangle 12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9" name="Rectangle 12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60"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921" name="Group 251"/>
            <p:cNvGrpSpPr/>
            <p:nvPr/>
          </p:nvGrpSpPr>
          <p:grpSpPr>
            <a:xfrm>
              <a:off x="5221048" y="4605801"/>
              <a:ext cx="314169" cy="376283"/>
              <a:chOff x="2699362" y="419773"/>
              <a:chExt cx="1310784" cy="1503649"/>
            </a:xfrm>
            <a:solidFill>
              <a:schemeClr val="accent6"/>
            </a:solidFill>
          </p:grpSpPr>
          <p:grpSp>
            <p:nvGrpSpPr>
              <p:cNvPr id="946" name="Group 252"/>
              <p:cNvGrpSpPr/>
              <p:nvPr/>
            </p:nvGrpSpPr>
            <p:grpSpPr>
              <a:xfrm>
                <a:off x="2699362" y="419773"/>
                <a:ext cx="1310784" cy="1503649"/>
                <a:chOff x="2699358" y="419774"/>
                <a:chExt cx="1310782" cy="1503648"/>
              </a:xfrm>
              <a:grpFill/>
            </p:grpSpPr>
            <p:sp>
              <p:nvSpPr>
                <p:cNvPr id="952" name="Freeform 258"/>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53" name="Rectangle 25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54" name="Rectangle 26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47" name="Rectangle 253"/>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8" name="Rectangle 254"/>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9" name="Rectangle 255"/>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0" name="Rectangle 256"/>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1"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922" name="Group 85"/>
            <p:cNvGrpSpPr/>
            <p:nvPr/>
          </p:nvGrpSpPr>
          <p:grpSpPr>
            <a:xfrm>
              <a:off x="3763568" y="3595398"/>
              <a:ext cx="314169" cy="376283"/>
              <a:chOff x="2699362" y="419773"/>
              <a:chExt cx="1310784" cy="1503649"/>
            </a:xfrm>
            <a:solidFill>
              <a:schemeClr val="accent1"/>
            </a:solidFill>
          </p:grpSpPr>
          <p:grpSp>
            <p:nvGrpSpPr>
              <p:cNvPr id="937" name="Group 86"/>
              <p:cNvGrpSpPr/>
              <p:nvPr/>
            </p:nvGrpSpPr>
            <p:grpSpPr>
              <a:xfrm>
                <a:off x="2699362" y="419773"/>
                <a:ext cx="1310784" cy="1503649"/>
                <a:chOff x="2699358" y="419774"/>
                <a:chExt cx="1310782" cy="1503648"/>
              </a:xfrm>
              <a:grpFill/>
            </p:grpSpPr>
            <p:sp>
              <p:nvSpPr>
                <p:cNvPr id="943" name="Freeform 92"/>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44" name="Rectangle 9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45" name="Rectangle 9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38" name="Rectangle 8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9" name="Rectangle 8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0" name="Rectangle 8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1" name="Rectangle 9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2"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grpSp>
          <p:nvGrpSpPr>
            <p:cNvPr id="923" name="Group 425"/>
            <p:cNvGrpSpPr/>
            <p:nvPr/>
          </p:nvGrpSpPr>
          <p:grpSpPr>
            <a:xfrm>
              <a:off x="4858959" y="2481569"/>
              <a:ext cx="314169" cy="376283"/>
              <a:chOff x="2699362" y="419773"/>
              <a:chExt cx="1310784" cy="1503649"/>
            </a:xfrm>
            <a:solidFill>
              <a:schemeClr val="accent1"/>
            </a:solidFill>
          </p:grpSpPr>
          <p:grpSp>
            <p:nvGrpSpPr>
              <p:cNvPr id="928" name="Group 426"/>
              <p:cNvGrpSpPr/>
              <p:nvPr/>
            </p:nvGrpSpPr>
            <p:grpSpPr>
              <a:xfrm>
                <a:off x="2699362" y="419773"/>
                <a:ext cx="1310784" cy="1503649"/>
                <a:chOff x="2699358" y="419774"/>
                <a:chExt cx="1310782" cy="1503648"/>
              </a:xfrm>
              <a:grpFill/>
            </p:grpSpPr>
            <p:sp>
              <p:nvSpPr>
                <p:cNvPr id="934" name="Freeform 432"/>
                <p:cNvSpPr>
                  <a:spLocks noEditPoints="1"/>
                </p:cNvSpPr>
                <p:nvPr/>
              </p:nvSpPr>
              <p:spPr bwMode="auto">
                <a:xfrm>
                  <a:off x="2699358" y="419774"/>
                  <a:ext cx="1310782" cy="1503648"/>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935" name="Rectangle 433"/>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36" name="Rectangle 434"/>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grpSp>
          <p:sp>
            <p:nvSpPr>
              <p:cNvPr id="929" name="Rectangle 427"/>
              <p:cNvSpPr/>
              <p:nvPr/>
            </p:nvSpPr>
            <p:spPr>
              <a:xfrm>
                <a:off x="2878160" y="665013"/>
                <a:ext cx="53707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0" name="Rectangle 428"/>
              <p:cNvSpPr/>
              <p:nvPr/>
            </p:nvSpPr>
            <p:spPr>
              <a:xfrm>
                <a:off x="2878160" y="806734"/>
                <a:ext cx="494415"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1" name="Rectangle 429"/>
              <p:cNvSpPr/>
              <p:nvPr/>
            </p:nvSpPr>
            <p:spPr>
              <a:xfrm>
                <a:off x="2878160" y="948449"/>
                <a:ext cx="208712"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2" name="Rectangle 430"/>
              <p:cNvSpPr/>
              <p:nvPr/>
            </p:nvSpPr>
            <p:spPr>
              <a:xfrm>
                <a:off x="2878160" y="1090164"/>
                <a:ext cx="291353" cy="67607"/>
              </a:xfrm>
              <a:prstGeom prst="rect">
                <a:avLst/>
              </a:prstGeom>
              <a:grp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3" name="Freeform 19"/>
              <p:cNvSpPr>
                <a:spLocks noChangeAspect="1" noEditPoints="1"/>
              </p:cNvSpPr>
              <p:nvPr/>
            </p:nvSpPr>
            <p:spPr bwMode="auto">
              <a:xfrm>
                <a:off x="2870197" y="1362074"/>
                <a:ext cx="322861" cy="414884"/>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74613" tIns="37307" rIns="74613" bIns="37307" numCol="1" spcCol="0" rtlCol="0" fromWordArt="0" anchor="ctr" anchorCtr="0" forceAA="0" compatLnSpc="1">
                <a:prstTxWarp prst="textNoShape">
                  <a:avLst/>
                </a:prstTxWarp>
                <a:noAutofit/>
              </a:bodyP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FFFFFF"/>
                  </a:solidFill>
                  <a:effectLst/>
                  <a:uLnTx/>
                  <a:uFillTx/>
                </a:endParaRPr>
              </a:p>
            </p:txBody>
          </p:sp>
        </p:grpSp>
        <p:sp>
          <p:nvSpPr>
            <p:cNvPr id="924" name="Oval 294"/>
            <p:cNvSpPr/>
            <p:nvPr/>
          </p:nvSpPr>
          <p:spPr>
            <a:xfrm>
              <a:off x="6288252" y="3624454"/>
              <a:ext cx="370490" cy="370490"/>
            </a:xfrm>
            <a:prstGeom prst="ellipse">
              <a:avLst/>
            </a:prstGeom>
            <a:solidFill>
              <a:srgbClr val="DFF1CB"/>
            </a:solidFill>
            <a:ln>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rgbClr val="92D050"/>
                  </a:solidFill>
                </a:rPr>
                <a:t>www</a:t>
              </a:r>
            </a:p>
          </p:txBody>
        </p:sp>
        <p:sp>
          <p:nvSpPr>
            <p:cNvPr id="925" name="Oval 293"/>
            <p:cNvSpPr/>
            <p:nvPr/>
          </p:nvSpPr>
          <p:spPr>
            <a:xfrm>
              <a:off x="5201383" y="4091426"/>
              <a:ext cx="370490" cy="370490"/>
            </a:xfrm>
            <a:prstGeom prst="ellipse">
              <a:avLst/>
            </a:prstGeom>
            <a:solidFill>
              <a:schemeClr val="accent2">
                <a:lumMod val="20000"/>
                <a:lumOff val="80000"/>
              </a:schemeClr>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accent2"/>
                  </a:solidFill>
                </a:rPr>
                <a:t>www</a:t>
              </a:r>
            </a:p>
          </p:txBody>
        </p:sp>
        <p:sp>
          <p:nvSpPr>
            <p:cNvPr id="926" name="Oval 297"/>
            <p:cNvSpPr/>
            <p:nvPr/>
          </p:nvSpPr>
          <p:spPr>
            <a:xfrm>
              <a:off x="4480261" y="4068710"/>
              <a:ext cx="370490" cy="370490"/>
            </a:xfrm>
            <a:prstGeom prst="ellipse">
              <a:avLst/>
            </a:prstGeom>
            <a:solidFill>
              <a:schemeClr val="accent1">
                <a:lumMod val="20000"/>
                <a:lumOff val="80000"/>
              </a:schemeClr>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accent1"/>
                  </a:solidFill>
                </a:rPr>
                <a:t>www</a:t>
              </a:r>
            </a:p>
          </p:txBody>
        </p:sp>
        <p:sp>
          <p:nvSpPr>
            <p:cNvPr id="927" name="Oval 296"/>
            <p:cNvSpPr/>
            <p:nvPr/>
          </p:nvSpPr>
          <p:spPr>
            <a:xfrm>
              <a:off x="4055557" y="2820762"/>
              <a:ext cx="370490" cy="370490"/>
            </a:xfrm>
            <a:prstGeom prst="ellipse">
              <a:avLst/>
            </a:prstGeom>
            <a:solidFill>
              <a:schemeClr val="accent6">
                <a:lumMod val="20000"/>
                <a:lumOff val="80000"/>
              </a:schemeClr>
            </a:solid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100" dirty="0">
                  <a:solidFill>
                    <a:schemeClr val="accent6"/>
                  </a:solidFill>
                </a:rPr>
                <a:t>www</a:t>
              </a:r>
            </a:p>
          </p:txBody>
        </p:sp>
      </p:grpSp>
      <p:sp>
        <p:nvSpPr>
          <p:cNvPr id="973" name="Rounded Rectangle 4"/>
          <p:cNvSpPr/>
          <p:nvPr/>
        </p:nvSpPr>
        <p:spPr>
          <a:xfrm>
            <a:off x="495118" y="692811"/>
            <a:ext cx="7860792" cy="428696"/>
          </a:xfrm>
          <a:prstGeom prst="round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latin typeface="メイリオ"/>
              <a:ea typeface="メイリオ"/>
              <a:cs typeface="メイリオ"/>
            </a:endParaRPr>
          </a:p>
        </p:txBody>
      </p:sp>
      <p:sp>
        <p:nvSpPr>
          <p:cNvPr id="974" name="Freeform 15"/>
          <p:cNvSpPr>
            <a:spLocks noEditPoints="1"/>
          </p:cNvSpPr>
          <p:nvPr/>
        </p:nvSpPr>
        <p:spPr bwMode="auto">
          <a:xfrm>
            <a:off x="7867951" y="731750"/>
            <a:ext cx="327723" cy="331257"/>
          </a:xfrm>
          <a:custGeom>
            <a:avLst/>
            <a:gdLst>
              <a:gd name="T0" fmla="*/ 858 w 1484"/>
              <a:gd name="T1" fmla="*/ 754 h 1500"/>
              <a:gd name="T2" fmla="*/ 912 w 1484"/>
              <a:gd name="T3" fmla="*/ 658 h 1500"/>
              <a:gd name="T4" fmla="*/ 948 w 1484"/>
              <a:gd name="T5" fmla="*/ 512 h 1500"/>
              <a:gd name="T6" fmla="*/ 946 w 1484"/>
              <a:gd name="T7" fmla="*/ 424 h 1500"/>
              <a:gd name="T8" fmla="*/ 912 w 1484"/>
              <a:gd name="T9" fmla="*/ 288 h 1500"/>
              <a:gd name="T10" fmla="*/ 810 w 1484"/>
              <a:gd name="T11" fmla="*/ 138 h 1500"/>
              <a:gd name="T12" fmla="*/ 660 w 1484"/>
              <a:gd name="T13" fmla="*/ 36 h 1500"/>
              <a:gd name="T14" fmla="*/ 524 w 1484"/>
              <a:gd name="T15" fmla="*/ 2 h 1500"/>
              <a:gd name="T16" fmla="*/ 450 w 1484"/>
              <a:gd name="T17" fmla="*/ 0 h 1500"/>
              <a:gd name="T18" fmla="*/ 334 w 1484"/>
              <a:gd name="T19" fmla="*/ 20 h 1500"/>
              <a:gd name="T20" fmla="*/ 174 w 1484"/>
              <a:gd name="T21" fmla="*/ 108 h 1500"/>
              <a:gd name="T22" fmla="*/ 58 w 1484"/>
              <a:gd name="T23" fmla="*/ 248 h 1500"/>
              <a:gd name="T24" fmla="*/ 6 w 1484"/>
              <a:gd name="T25" fmla="*/ 402 h 1500"/>
              <a:gd name="T26" fmla="*/ 0 w 1484"/>
              <a:gd name="T27" fmla="*/ 474 h 1500"/>
              <a:gd name="T28" fmla="*/ 10 w 1484"/>
              <a:gd name="T29" fmla="*/ 568 h 1500"/>
              <a:gd name="T30" fmla="*/ 82 w 1484"/>
              <a:gd name="T31" fmla="*/ 738 h 1500"/>
              <a:gd name="T32" fmla="*/ 210 w 1484"/>
              <a:gd name="T33" fmla="*/ 866 h 1500"/>
              <a:gd name="T34" fmla="*/ 380 w 1484"/>
              <a:gd name="T35" fmla="*/ 938 h 1500"/>
              <a:gd name="T36" fmla="*/ 476 w 1484"/>
              <a:gd name="T37" fmla="*/ 948 h 1500"/>
              <a:gd name="T38" fmla="*/ 580 w 1484"/>
              <a:gd name="T39" fmla="*/ 936 h 1500"/>
              <a:gd name="T40" fmla="*/ 706 w 1484"/>
              <a:gd name="T41" fmla="*/ 888 h 1500"/>
              <a:gd name="T42" fmla="*/ 1240 w 1484"/>
              <a:gd name="T43" fmla="*/ 1458 h 1500"/>
              <a:gd name="T44" fmla="*/ 1274 w 1484"/>
              <a:gd name="T45" fmla="*/ 1484 h 1500"/>
              <a:gd name="T46" fmla="*/ 1326 w 1484"/>
              <a:gd name="T47" fmla="*/ 1500 h 1500"/>
              <a:gd name="T48" fmla="*/ 1382 w 1484"/>
              <a:gd name="T49" fmla="*/ 1494 h 1500"/>
              <a:gd name="T50" fmla="*/ 1430 w 1484"/>
              <a:gd name="T51" fmla="*/ 1468 h 1500"/>
              <a:gd name="T52" fmla="*/ 1460 w 1484"/>
              <a:gd name="T53" fmla="*/ 1436 h 1500"/>
              <a:gd name="T54" fmla="*/ 1480 w 1484"/>
              <a:gd name="T55" fmla="*/ 1384 h 1500"/>
              <a:gd name="T56" fmla="*/ 1480 w 1484"/>
              <a:gd name="T57" fmla="*/ 1330 h 1500"/>
              <a:gd name="T58" fmla="*/ 1460 w 1484"/>
              <a:gd name="T59" fmla="*/ 1278 h 1500"/>
              <a:gd name="T60" fmla="*/ 476 w 1484"/>
              <a:gd name="T61" fmla="*/ 804 h 1500"/>
              <a:gd name="T62" fmla="*/ 376 w 1484"/>
              <a:gd name="T63" fmla="*/ 788 h 1500"/>
              <a:gd name="T64" fmla="*/ 264 w 1484"/>
              <a:gd name="T65" fmla="*/ 728 h 1500"/>
              <a:gd name="T66" fmla="*/ 184 w 1484"/>
              <a:gd name="T67" fmla="*/ 630 h 1500"/>
              <a:gd name="T68" fmla="*/ 146 w 1484"/>
              <a:gd name="T69" fmla="*/ 508 h 1500"/>
              <a:gd name="T70" fmla="*/ 152 w 1484"/>
              <a:gd name="T71" fmla="*/ 406 h 1500"/>
              <a:gd name="T72" fmla="*/ 202 w 1484"/>
              <a:gd name="T73" fmla="*/ 288 h 1500"/>
              <a:gd name="T74" fmla="*/ 290 w 1484"/>
              <a:gd name="T75" fmla="*/ 200 h 1500"/>
              <a:gd name="T76" fmla="*/ 408 w 1484"/>
              <a:gd name="T77" fmla="*/ 150 h 1500"/>
              <a:gd name="T78" fmla="*/ 508 w 1484"/>
              <a:gd name="T79" fmla="*/ 144 h 1500"/>
              <a:gd name="T80" fmla="*/ 632 w 1484"/>
              <a:gd name="T81" fmla="*/ 182 h 1500"/>
              <a:gd name="T82" fmla="*/ 730 w 1484"/>
              <a:gd name="T83" fmla="*/ 264 h 1500"/>
              <a:gd name="T84" fmla="*/ 790 w 1484"/>
              <a:gd name="T85" fmla="*/ 376 h 1500"/>
              <a:gd name="T86" fmla="*/ 806 w 1484"/>
              <a:gd name="T87" fmla="*/ 474 h 1500"/>
              <a:gd name="T88" fmla="*/ 780 w 1484"/>
              <a:gd name="T89" fmla="*/ 602 h 1500"/>
              <a:gd name="T90" fmla="*/ 708 w 1484"/>
              <a:gd name="T91" fmla="*/ 708 h 1500"/>
              <a:gd name="T92" fmla="*/ 604 w 1484"/>
              <a:gd name="T93" fmla="*/ 778 h 1500"/>
              <a:gd name="T94" fmla="*/ 476 w 1484"/>
              <a:gd name="T95" fmla="*/ 804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4" h="1500">
                <a:moveTo>
                  <a:pt x="1442" y="1256"/>
                </a:moveTo>
                <a:lnTo>
                  <a:pt x="980" y="794"/>
                </a:lnTo>
                <a:lnTo>
                  <a:pt x="940" y="836"/>
                </a:lnTo>
                <a:lnTo>
                  <a:pt x="858" y="754"/>
                </a:lnTo>
                <a:lnTo>
                  <a:pt x="858" y="754"/>
                </a:lnTo>
                <a:lnTo>
                  <a:pt x="878" y="724"/>
                </a:lnTo>
                <a:lnTo>
                  <a:pt x="896" y="692"/>
                </a:lnTo>
                <a:lnTo>
                  <a:pt x="912" y="658"/>
                </a:lnTo>
                <a:lnTo>
                  <a:pt x="924" y="624"/>
                </a:lnTo>
                <a:lnTo>
                  <a:pt x="936" y="588"/>
                </a:lnTo>
                <a:lnTo>
                  <a:pt x="942" y="550"/>
                </a:lnTo>
                <a:lnTo>
                  <a:pt x="948" y="512"/>
                </a:lnTo>
                <a:lnTo>
                  <a:pt x="950" y="474"/>
                </a:lnTo>
                <a:lnTo>
                  <a:pt x="950" y="474"/>
                </a:lnTo>
                <a:lnTo>
                  <a:pt x="948" y="450"/>
                </a:lnTo>
                <a:lnTo>
                  <a:pt x="946" y="424"/>
                </a:lnTo>
                <a:lnTo>
                  <a:pt x="944" y="402"/>
                </a:lnTo>
                <a:lnTo>
                  <a:pt x="940" y="378"/>
                </a:lnTo>
                <a:lnTo>
                  <a:pt x="928" y="332"/>
                </a:lnTo>
                <a:lnTo>
                  <a:pt x="912" y="288"/>
                </a:lnTo>
                <a:lnTo>
                  <a:pt x="892" y="248"/>
                </a:lnTo>
                <a:lnTo>
                  <a:pt x="868" y="208"/>
                </a:lnTo>
                <a:lnTo>
                  <a:pt x="840" y="172"/>
                </a:lnTo>
                <a:lnTo>
                  <a:pt x="810" y="138"/>
                </a:lnTo>
                <a:lnTo>
                  <a:pt x="776" y="108"/>
                </a:lnTo>
                <a:lnTo>
                  <a:pt x="740" y="80"/>
                </a:lnTo>
                <a:lnTo>
                  <a:pt x="702" y="56"/>
                </a:lnTo>
                <a:lnTo>
                  <a:pt x="660" y="36"/>
                </a:lnTo>
                <a:lnTo>
                  <a:pt x="616" y="20"/>
                </a:lnTo>
                <a:lnTo>
                  <a:pt x="570" y="8"/>
                </a:lnTo>
                <a:lnTo>
                  <a:pt x="548" y="4"/>
                </a:lnTo>
                <a:lnTo>
                  <a:pt x="524" y="2"/>
                </a:lnTo>
                <a:lnTo>
                  <a:pt x="500" y="0"/>
                </a:lnTo>
                <a:lnTo>
                  <a:pt x="476" y="0"/>
                </a:lnTo>
                <a:lnTo>
                  <a:pt x="476" y="0"/>
                </a:lnTo>
                <a:lnTo>
                  <a:pt x="450" y="0"/>
                </a:lnTo>
                <a:lnTo>
                  <a:pt x="426" y="2"/>
                </a:lnTo>
                <a:lnTo>
                  <a:pt x="402" y="4"/>
                </a:lnTo>
                <a:lnTo>
                  <a:pt x="380" y="8"/>
                </a:lnTo>
                <a:lnTo>
                  <a:pt x="334" y="20"/>
                </a:lnTo>
                <a:lnTo>
                  <a:pt x="290" y="36"/>
                </a:lnTo>
                <a:lnTo>
                  <a:pt x="250" y="56"/>
                </a:lnTo>
                <a:lnTo>
                  <a:pt x="210" y="80"/>
                </a:lnTo>
                <a:lnTo>
                  <a:pt x="174" y="108"/>
                </a:lnTo>
                <a:lnTo>
                  <a:pt x="140" y="138"/>
                </a:lnTo>
                <a:lnTo>
                  <a:pt x="110" y="172"/>
                </a:lnTo>
                <a:lnTo>
                  <a:pt x="82" y="208"/>
                </a:lnTo>
                <a:lnTo>
                  <a:pt x="58" y="248"/>
                </a:lnTo>
                <a:lnTo>
                  <a:pt x="38" y="288"/>
                </a:lnTo>
                <a:lnTo>
                  <a:pt x="22" y="332"/>
                </a:lnTo>
                <a:lnTo>
                  <a:pt x="10" y="378"/>
                </a:lnTo>
                <a:lnTo>
                  <a:pt x="6" y="402"/>
                </a:lnTo>
                <a:lnTo>
                  <a:pt x="4" y="424"/>
                </a:lnTo>
                <a:lnTo>
                  <a:pt x="2" y="450"/>
                </a:lnTo>
                <a:lnTo>
                  <a:pt x="0" y="474"/>
                </a:lnTo>
                <a:lnTo>
                  <a:pt x="0" y="474"/>
                </a:lnTo>
                <a:lnTo>
                  <a:pt x="2" y="498"/>
                </a:lnTo>
                <a:lnTo>
                  <a:pt x="4" y="522"/>
                </a:lnTo>
                <a:lnTo>
                  <a:pt x="6" y="546"/>
                </a:lnTo>
                <a:lnTo>
                  <a:pt x="10" y="568"/>
                </a:lnTo>
                <a:lnTo>
                  <a:pt x="22" y="614"/>
                </a:lnTo>
                <a:lnTo>
                  <a:pt x="38" y="658"/>
                </a:lnTo>
                <a:lnTo>
                  <a:pt x="58" y="700"/>
                </a:lnTo>
                <a:lnTo>
                  <a:pt x="82" y="738"/>
                </a:lnTo>
                <a:lnTo>
                  <a:pt x="110" y="776"/>
                </a:lnTo>
                <a:lnTo>
                  <a:pt x="140" y="808"/>
                </a:lnTo>
                <a:lnTo>
                  <a:pt x="174" y="840"/>
                </a:lnTo>
                <a:lnTo>
                  <a:pt x="210" y="866"/>
                </a:lnTo>
                <a:lnTo>
                  <a:pt x="250" y="890"/>
                </a:lnTo>
                <a:lnTo>
                  <a:pt x="290" y="910"/>
                </a:lnTo>
                <a:lnTo>
                  <a:pt x="334" y="926"/>
                </a:lnTo>
                <a:lnTo>
                  <a:pt x="380" y="938"/>
                </a:lnTo>
                <a:lnTo>
                  <a:pt x="402" y="942"/>
                </a:lnTo>
                <a:lnTo>
                  <a:pt x="426" y="946"/>
                </a:lnTo>
                <a:lnTo>
                  <a:pt x="450" y="946"/>
                </a:lnTo>
                <a:lnTo>
                  <a:pt x="476" y="948"/>
                </a:lnTo>
                <a:lnTo>
                  <a:pt x="476" y="948"/>
                </a:lnTo>
                <a:lnTo>
                  <a:pt x="510" y="946"/>
                </a:lnTo>
                <a:lnTo>
                  <a:pt x="546" y="942"/>
                </a:lnTo>
                <a:lnTo>
                  <a:pt x="580" y="936"/>
                </a:lnTo>
                <a:lnTo>
                  <a:pt x="612" y="928"/>
                </a:lnTo>
                <a:lnTo>
                  <a:pt x="644" y="916"/>
                </a:lnTo>
                <a:lnTo>
                  <a:pt x="676" y="904"/>
                </a:lnTo>
                <a:lnTo>
                  <a:pt x="706" y="888"/>
                </a:lnTo>
                <a:lnTo>
                  <a:pt x="734" y="870"/>
                </a:lnTo>
                <a:lnTo>
                  <a:pt x="820" y="956"/>
                </a:lnTo>
                <a:lnTo>
                  <a:pt x="778" y="996"/>
                </a:lnTo>
                <a:lnTo>
                  <a:pt x="1240" y="1458"/>
                </a:lnTo>
                <a:lnTo>
                  <a:pt x="1240" y="1458"/>
                </a:lnTo>
                <a:lnTo>
                  <a:pt x="1250" y="1468"/>
                </a:lnTo>
                <a:lnTo>
                  <a:pt x="1262" y="1476"/>
                </a:lnTo>
                <a:lnTo>
                  <a:pt x="1274" y="1484"/>
                </a:lnTo>
                <a:lnTo>
                  <a:pt x="1286" y="1490"/>
                </a:lnTo>
                <a:lnTo>
                  <a:pt x="1300" y="1494"/>
                </a:lnTo>
                <a:lnTo>
                  <a:pt x="1314" y="1498"/>
                </a:lnTo>
                <a:lnTo>
                  <a:pt x="1326" y="1500"/>
                </a:lnTo>
                <a:lnTo>
                  <a:pt x="1340" y="1500"/>
                </a:lnTo>
                <a:lnTo>
                  <a:pt x="1354" y="1500"/>
                </a:lnTo>
                <a:lnTo>
                  <a:pt x="1368" y="1498"/>
                </a:lnTo>
                <a:lnTo>
                  <a:pt x="1382" y="1494"/>
                </a:lnTo>
                <a:lnTo>
                  <a:pt x="1394" y="1490"/>
                </a:lnTo>
                <a:lnTo>
                  <a:pt x="1406" y="1484"/>
                </a:lnTo>
                <a:lnTo>
                  <a:pt x="1420" y="1476"/>
                </a:lnTo>
                <a:lnTo>
                  <a:pt x="1430" y="1468"/>
                </a:lnTo>
                <a:lnTo>
                  <a:pt x="1442" y="1458"/>
                </a:lnTo>
                <a:lnTo>
                  <a:pt x="1442" y="1458"/>
                </a:lnTo>
                <a:lnTo>
                  <a:pt x="1452" y="1448"/>
                </a:lnTo>
                <a:lnTo>
                  <a:pt x="1460" y="1436"/>
                </a:lnTo>
                <a:lnTo>
                  <a:pt x="1468" y="1424"/>
                </a:lnTo>
                <a:lnTo>
                  <a:pt x="1472" y="1412"/>
                </a:lnTo>
                <a:lnTo>
                  <a:pt x="1478" y="1398"/>
                </a:lnTo>
                <a:lnTo>
                  <a:pt x="1480" y="1384"/>
                </a:lnTo>
                <a:lnTo>
                  <a:pt x="1482" y="1370"/>
                </a:lnTo>
                <a:lnTo>
                  <a:pt x="1484" y="1358"/>
                </a:lnTo>
                <a:lnTo>
                  <a:pt x="1482" y="1344"/>
                </a:lnTo>
                <a:lnTo>
                  <a:pt x="1480" y="1330"/>
                </a:lnTo>
                <a:lnTo>
                  <a:pt x="1478" y="1316"/>
                </a:lnTo>
                <a:lnTo>
                  <a:pt x="1472" y="1304"/>
                </a:lnTo>
                <a:lnTo>
                  <a:pt x="1468" y="1290"/>
                </a:lnTo>
                <a:lnTo>
                  <a:pt x="1460" y="1278"/>
                </a:lnTo>
                <a:lnTo>
                  <a:pt x="1452" y="1268"/>
                </a:lnTo>
                <a:lnTo>
                  <a:pt x="1442" y="1256"/>
                </a:lnTo>
                <a:lnTo>
                  <a:pt x="1442" y="1256"/>
                </a:lnTo>
                <a:close/>
                <a:moveTo>
                  <a:pt x="476" y="804"/>
                </a:moveTo>
                <a:lnTo>
                  <a:pt x="476" y="804"/>
                </a:lnTo>
                <a:lnTo>
                  <a:pt x="442" y="802"/>
                </a:lnTo>
                <a:lnTo>
                  <a:pt x="408" y="798"/>
                </a:lnTo>
                <a:lnTo>
                  <a:pt x="376" y="788"/>
                </a:lnTo>
                <a:lnTo>
                  <a:pt x="346" y="778"/>
                </a:lnTo>
                <a:lnTo>
                  <a:pt x="318" y="764"/>
                </a:lnTo>
                <a:lnTo>
                  <a:pt x="290" y="748"/>
                </a:lnTo>
                <a:lnTo>
                  <a:pt x="264" y="728"/>
                </a:lnTo>
                <a:lnTo>
                  <a:pt x="242" y="708"/>
                </a:lnTo>
                <a:lnTo>
                  <a:pt x="220" y="684"/>
                </a:lnTo>
                <a:lnTo>
                  <a:pt x="202" y="658"/>
                </a:lnTo>
                <a:lnTo>
                  <a:pt x="184" y="630"/>
                </a:lnTo>
                <a:lnTo>
                  <a:pt x="170" y="602"/>
                </a:lnTo>
                <a:lnTo>
                  <a:pt x="160" y="572"/>
                </a:lnTo>
                <a:lnTo>
                  <a:pt x="152" y="540"/>
                </a:lnTo>
                <a:lnTo>
                  <a:pt x="146" y="508"/>
                </a:lnTo>
                <a:lnTo>
                  <a:pt x="144" y="474"/>
                </a:lnTo>
                <a:lnTo>
                  <a:pt x="144" y="474"/>
                </a:lnTo>
                <a:lnTo>
                  <a:pt x="146" y="440"/>
                </a:lnTo>
                <a:lnTo>
                  <a:pt x="152" y="406"/>
                </a:lnTo>
                <a:lnTo>
                  <a:pt x="160" y="376"/>
                </a:lnTo>
                <a:lnTo>
                  <a:pt x="170" y="344"/>
                </a:lnTo>
                <a:lnTo>
                  <a:pt x="184" y="316"/>
                </a:lnTo>
                <a:lnTo>
                  <a:pt x="202" y="288"/>
                </a:lnTo>
                <a:lnTo>
                  <a:pt x="220" y="264"/>
                </a:lnTo>
                <a:lnTo>
                  <a:pt x="242" y="240"/>
                </a:lnTo>
                <a:lnTo>
                  <a:pt x="264" y="218"/>
                </a:lnTo>
                <a:lnTo>
                  <a:pt x="290" y="200"/>
                </a:lnTo>
                <a:lnTo>
                  <a:pt x="318" y="182"/>
                </a:lnTo>
                <a:lnTo>
                  <a:pt x="346" y="170"/>
                </a:lnTo>
                <a:lnTo>
                  <a:pt x="376" y="158"/>
                </a:lnTo>
                <a:lnTo>
                  <a:pt x="408" y="150"/>
                </a:lnTo>
                <a:lnTo>
                  <a:pt x="442" y="144"/>
                </a:lnTo>
                <a:lnTo>
                  <a:pt x="476" y="144"/>
                </a:lnTo>
                <a:lnTo>
                  <a:pt x="476" y="144"/>
                </a:lnTo>
                <a:lnTo>
                  <a:pt x="508" y="144"/>
                </a:lnTo>
                <a:lnTo>
                  <a:pt x="542" y="150"/>
                </a:lnTo>
                <a:lnTo>
                  <a:pt x="574" y="158"/>
                </a:lnTo>
                <a:lnTo>
                  <a:pt x="604" y="170"/>
                </a:lnTo>
                <a:lnTo>
                  <a:pt x="632" y="182"/>
                </a:lnTo>
                <a:lnTo>
                  <a:pt x="660" y="200"/>
                </a:lnTo>
                <a:lnTo>
                  <a:pt x="686" y="218"/>
                </a:lnTo>
                <a:lnTo>
                  <a:pt x="708" y="240"/>
                </a:lnTo>
                <a:lnTo>
                  <a:pt x="730" y="264"/>
                </a:lnTo>
                <a:lnTo>
                  <a:pt x="748" y="288"/>
                </a:lnTo>
                <a:lnTo>
                  <a:pt x="766" y="316"/>
                </a:lnTo>
                <a:lnTo>
                  <a:pt x="780" y="344"/>
                </a:lnTo>
                <a:lnTo>
                  <a:pt x="790" y="376"/>
                </a:lnTo>
                <a:lnTo>
                  <a:pt x="798" y="406"/>
                </a:lnTo>
                <a:lnTo>
                  <a:pt x="804" y="440"/>
                </a:lnTo>
                <a:lnTo>
                  <a:pt x="806" y="474"/>
                </a:lnTo>
                <a:lnTo>
                  <a:pt x="806" y="474"/>
                </a:lnTo>
                <a:lnTo>
                  <a:pt x="804" y="508"/>
                </a:lnTo>
                <a:lnTo>
                  <a:pt x="798" y="540"/>
                </a:lnTo>
                <a:lnTo>
                  <a:pt x="790" y="572"/>
                </a:lnTo>
                <a:lnTo>
                  <a:pt x="780" y="602"/>
                </a:lnTo>
                <a:lnTo>
                  <a:pt x="766" y="630"/>
                </a:lnTo>
                <a:lnTo>
                  <a:pt x="748" y="658"/>
                </a:lnTo>
                <a:lnTo>
                  <a:pt x="730" y="684"/>
                </a:lnTo>
                <a:lnTo>
                  <a:pt x="708" y="708"/>
                </a:lnTo>
                <a:lnTo>
                  <a:pt x="686" y="728"/>
                </a:lnTo>
                <a:lnTo>
                  <a:pt x="660" y="748"/>
                </a:lnTo>
                <a:lnTo>
                  <a:pt x="632" y="764"/>
                </a:lnTo>
                <a:lnTo>
                  <a:pt x="604" y="778"/>
                </a:lnTo>
                <a:lnTo>
                  <a:pt x="574" y="788"/>
                </a:lnTo>
                <a:lnTo>
                  <a:pt x="542" y="798"/>
                </a:lnTo>
                <a:lnTo>
                  <a:pt x="508" y="802"/>
                </a:lnTo>
                <a:lnTo>
                  <a:pt x="476" y="804"/>
                </a:lnTo>
                <a:lnTo>
                  <a:pt x="476" y="80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5" name="Rectangle 821"/>
          <p:cNvSpPr/>
          <p:nvPr/>
        </p:nvSpPr>
        <p:spPr>
          <a:xfrm>
            <a:off x="612593" y="768659"/>
            <a:ext cx="141064"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F</a:t>
            </a:r>
          </a:p>
        </p:txBody>
      </p:sp>
      <p:sp>
        <p:nvSpPr>
          <p:cNvPr id="976" name="Rectangle 822"/>
          <p:cNvSpPr/>
          <p:nvPr/>
        </p:nvSpPr>
        <p:spPr>
          <a:xfrm>
            <a:off x="742768" y="768659"/>
            <a:ext cx="128240"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a</a:t>
            </a:r>
          </a:p>
        </p:txBody>
      </p:sp>
      <p:sp>
        <p:nvSpPr>
          <p:cNvPr id="977" name="Rectangle 823"/>
          <p:cNvSpPr/>
          <p:nvPr/>
        </p:nvSpPr>
        <p:spPr>
          <a:xfrm>
            <a:off x="869768" y="768659"/>
            <a:ext cx="115416"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c</a:t>
            </a:r>
          </a:p>
        </p:txBody>
      </p:sp>
      <p:sp>
        <p:nvSpPr>
          <p:cNvPr id="978" name="Rectangle 824"/>
          <p:cNvSpPr/>
          <p:nvPr/>
        </p:nvSpPr>
        <p:spPr>
          <a:xfrm>
            <a:off x="987243" y="768659"/>
            <a:ext cx="128240"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e</a:t>
            </a:r>
          </a:p>
        </p:txBody>
      </p:sp>
      <p:sp>
        <p:nvSpPr>
          <p:cNvPr id="979" name="Rectangle 825"/>
          <p:cNvSpPr/>
          <p:nvPr/>
        </p:nvSpPr>
        <p:spPr>
          <a:xfrm>
            <a:off x="1117418" y="768659"/>
            <a:ext cx="128240"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b</a:t>
            </a:r>
          </a:p>
        </p:txBody>
      </p:sp>
      <p:sp>
        <p:nvSpPr>
          <p:cNvPr id="980" name="Rectangle 826"/>
          <p:cNvSpPr/>
          <p:nvPr/>
        </p:nvSpPr>
        <p:spPr>
          <a:xfrm>
            <a:off x="1241243" y="768659"/>
            <a:ext cx="128240"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o</a:t>
            </a:r>
          </a:p>
        </p:txBody>
      </p:sp>
      <p:sp>
        <p:nvSpPr>
          <p:cNvPr id="981" name="Rectangle 827"/>
          <p:cNvSpPr/>
          <p:nvPr/>
        </p:nvSpPr>
        <p:spPr>
          <a:xfrm>
            <a:off x="1368243" y="768659"/>
            <a:ext cx="128240"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o</a:t>
            </a:r>
          </a:p>
        </p:txBody>
      </p:sp>
      <p:sp>
        <p:nvSpPr>
          <p:cNvPr id="982" name="Rectangle 828"/>
          <p:cNvSpPr/>
          <p:nvPr/>
        </p:nvSpPr>
        <p:spPr>
          <a:xfrm>
            <a:off x="1488893" y="768659"/>
            <a:ext cx="115416" cy="2769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dirty="0">
                <a:solidFill>
                  <a:schemeClr val="tx1"/>
                </a:solidFill>
              </a:rPr>
              <a:t>k</a:t>
            </a:r>
          </a:p>
        </p:txBody>
      </p:sp>
      <p:sp>
        <p:nvSpPr>
          <p:cNvPr id="983" name="Rectangle 829"/>
          <p:cNvSpPr/>
          <p:nvPr/>
        </p:nvSpPr>
        <p:spPr>
          <a:xfrm>
            <a:off x="605320" y="755792"/>
            <a:ext cx="9144" cy="27432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4" name="Freeform 40"/>
          <p:cNvSpPr/>
          <p:nvPr/>
        </p:nvSpPr>
        <p:spPr>
          <a:xfrm rot="19693523">
            <a:off x="7996644" y="1186181"/>
            <a:ext cx="191136" cy="277500"/>
          </a:xfrm>
          <a:custGeom>
            <a:avLst/>
            <a:gdLst>
              <a:gd name="connsiteX0" fmla="*/ 498290 w 962747"/>
              <a:gd name="connsiteY0" fmla="*/ 0 h 1397745"/>
              <a:gd name="connsiteX1" fmla="*/ 962747 w 962747"/>
              <a:gd name="connsiteY1" fmla="*/ 950086 h 1397745"/>
              <a:gd name="connsiteX2" fmla="*/ 733965 w 962747"/>
              <a:gd name="connsiteY2" fmla="*/ 916811 h 1397745"/>
              <a:gd name="connsiteX3" fmla="*/ 589389 w 962747"/>
              <a:gd name="connsiteY3" fmla="*/ 905283 h 1397745"/>
              <a:gd name="connsiteX4" fmla="*/ 589389 w 962747"/>
              <a:gd name="connsiteY4" fmla="*/ 1397745 h 1397745"/>
              <a:gd name="connsiteX5" fmla="*/ 416669 w 962747"/>
              <a:gd name="connsiteY5" fmla="*/ 1397745 h 1397745"/>
              <a:gd name="connsiteX6" fmla="*/ 416669 w 962747"/>
              <a:gd name="connsiteY6" fmla="*/ 898812 h 1397745"/>
              <a:gd name="connsiteX7" fmla="*/ 386557 w 962747"/>
              <a:gd name="connsiteY7" fmla="*/ 898905 h 1397745"/>
              <a:gd name="connsiteX8" fmla="*/ 0 w 962747"/>
              <a:gd name="connsiteY8" fmla="*/ 956603 h 1397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2747" h="1397745">
                <a:moveTo>
                  <a:pt x="498290" y="0"/>
                </a:moveTo>
                <a:lnTo>
                  <a:pt x="962747" y="950086"/>
                </a:lnTo>
                <a:cubicBezTo>
                  <a:pt x="885286" y="937871"/>
                  <a:pt x="809656" y="926091"/>
                  <a:pt x="733965" y="916811"/>
                </a:cubicBezTo>
                <a:lnTo>
                  <a:pt x="589389" y="905283"/>
                </a:lnTo>
                <a:lnTo>
                  <a:pt x="589389" y="1397745"/>
                </a:lnTo>
                <a:lnTo>
                  <a:pt x="416669" y="1397745"/>
                </a:lnTo>
                <a:lnTo>
                  <a:pt x="416669" y="898812"/>
                </a:lnTo>
                <a:lnTo>
                  <a:pt x="386557" y="898905"/>
                </a:lnTo>
                <a:cubicBezTo>
                  <a:pt x="266359" y="903212"/>
                  <a:pt x="139636" y="920120"/>
                  <a:pt x="0" y="956603"/>
                </a:cubicBezTo>
                <a:close/>
              </a:path>
            </a:pathLst>
          </a:cu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sp>
        <p:nvSpPr>
          <p:cNvPr id="985" name="Rectangle 2"/>
          <p:cNvSpPr/>
          <p:nvPr/>
        </p:nvSpPr>
        <p:spPr>
          <a:xfrm>
            <a:off x="4955820" y="1904120"/>
            <a:ext cx="3136392" cy="394216"/>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latin typeface="メイリオ"/>
                <a:ea typeface="メイリオ"/>
                <a:cs typeface="メイリオ"/>
              </a:rPr>
              <a:t> </a:t>
            </a:r>
            <a:r>
              <a:rPr lang="en-US" sz="1400" b="1" dirty="0">
                <a:latin typeface="メイリオ"/>
                <a:ea typeface="メイリオ"/>
                <a:cs typeface="メイリオ"/>
              </a:rPr>
              <a:t>“Facebook</a:t>
            </a:r>
            <a:r>
              <a:rPr lang="en-US" sz="1400" b="1" dirty="0" smtClean="0">
                <a:latin typeface="メイリオ"/>
                <a:ea typeface="メイリオ"/>
                <a:cs typeface="メイリオ"/>
              </a:rPr>
              <a:t>”</a:t>
            </a:r>
            <a:r>
              <a:rPr lang="ja-JP" altLang="en-US" sz="1400" b="1" dirty="0">
                <a:latin typeface="メイリオ"/>
                <a:ea typeface="メイリオ"/>
                <a:cs typeface="メイリオ"/>
              </a:rPr>
              <a:t> </a:t>
            </a:r>
            <a:r>
              <a:rPr lang="ja-JP" altLang="en-US" sz="1400" b="1" dirty="0" smtClean="0">
                <a:latin typeface="メイリオ"/>
                <a:ea typeface="メイリオ"/>
                <a:cs typeface="メイリオ"/>
              </a:rPr>
              <a:t>検索結果</a:t>
            </a:r>
            <a:endParaRPr lang="en-US" sz="1400" b="1" dirty="0">
              <a:latin typeface="メイリオ"/>
              <a:ea typeface="メイリオ"/>
              <a:cs typeface="メイリオ"/>
            </a:endParaRPr>
          </a:p>
        </p:txBody>
      </p:sp>
      <p:graphicFrame>
        <p:nvGraphicFramePr>
          <p:cNvPr id="986" name="Table 6"/>
          <p:cNvGraphicFramePr>
            <a:graphicFrameLocks noGrp="1"/>
          </p:cNvGraphicFramePr>
          <p:nvPr>
            <p:extLst>
              <p:ext uri="{D42A27DB-BD31-4B8C-83A1-F6EECF244321}">
                <p14:modId xmlns:p14="http://schemas.microsoft.com/office/powerpoint/2010/main" val="382626594"/>
              </p:ext>
            </p:extLst>
          </p:nvPr>
        </p:nvGraphicFramePr>
        <p:xfrm>
          <a:off x="4955821" y="2346018"/>
          <a:ext cx="3272630" cy="2011680"/>
        </p:xfrm>
        <a:graphic>
          <a:graphicData uri="http://schemas.openxmlformats.org/drawingml/2006/table">
            <a:tbl>
              <a:tblPr bandRow="1">
                <a:tableStyleId>{5C22544A-7EE6-4342-B048-85BDC9FD1C3A}</a:tableStyleId>
              </a:tblPr>
              <a:tblGrid>
                <a:gridCol w="822960">
                  <a:extLst>
                    <a:ext uri="{9D8B030D-6E8A-4147-A177-3AD203B41FA5}">
                      <a16:colId xmlns:a16="http://schemas.microsoft.com/office/drawing/2014/main" xmlns="" val="2127096953"/>
                    </a:ext>
                  </a:extLst>
                </a:gridCol>
                <a:gridCol w="822960">
                  <a:extLst>
                    <a:ext uri="{9D8B030D-6E8A-4147-A177-3AD203B41FA5}">
                      <a16:colId xmlns:a16="http://schemas.microsoft.com/office/drawing/2014/main" xmlns="" val="1095448272"/>
                    </a:ext>
                  </a:extLst>
                </a:gridCol>
                <a:gridCol w="914400">
                  <a:extLst>
                    <a:ext uri="{9D8B030D-6E8A-4147-A177-3AD203B41FA5}">
                      <a16:colId xmlns:a16="http://schemas.microsoft.com/office/drawing/2014/main" xmlns="" val="1317545161"/>
                    </a:ext>
                  </a:extLst>
                </a:gridCol>
                <a:gridCol w="712310">
                  <a:extLst>
                    <a:ext uri="{9D8B030D-6E8A-4147-A177-3AD203B41FA5}">
                      <a16:colId xmlns:a16="http://schemas.microsoft.com/office/drawing/2014/main" xmlns="" val="3812133785"/>
                    </a:ext>
                  </a:extLst>
                </a:gridCol>
              </a:tblGrid>
              <a:tr h="370840">
                <a:tc>
                  <a:txBody>
                    <a:bodyPr/>
                    <a:lstStyle/>
                    <a:p>
                      <a:r>
                        <a:rPr lang="en-US" sz="1050" b="1" dirty="0">
                          <a:latin typeface="メイリオ"/>
                          <a:ea typeface="メイリオ"/>
                          <a:cs typeface="メイリオ"/>
                        </a:rPr>
                        <a:t>Facebook.</a:t>
                      </a:r>
                    </a:p>
                    <a:p>
                      <a:r>
                        <a:rPr lang="en-US" sz="1050" b="1" dirty="0">
                          <a:latin typeface="メイリオ"/>
                          <a:ea typeface="メイリオ"/>
                          <a:cs typeface="メイリオ"/>
                        </a:rPr>
                        <a:t>com</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b="0" dirty="0">
                          <a:solidFill>
                            <a:schemeClr val="tx1"/>
                          </a:solidFill>
                          <a:latin typeface="メイリオ"/>
                          <a:ea typeface="メイリオ"/>
                          <a:cs typeface="メイリオ"/>
                        </a:rPr>
                        <a:t>Domain/IP</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err="1">
                          <a:solidFill>
                            <a:schemeClr val="tx1"/>
                          </a:solidFill>
                          <a:latin typeface="メイリオ"/>
                          <a:ea typeface="メイリオ"/>
                          <a:cs typeface="メイリオ"/>
                        </a:rPr>
                        <a:t>OpenDNS</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dirty="0">
                          <a:solidFill>
                            <a:schemeClr val="tx1"/>
                          </a:solidFill>
                          <a:latin typeface="メイリオ"/>
                          <a:ea typeface="メイリオ"/>
                          <a:cs typeface="メイリオ"/>
                        </a:rPr>
                        <a:t>15 Block</a:t>
                      </a:r>
                    </a:p>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メイリオ"/>
                          <a:ea typeface="メイリオ"/>
                          <a:cs typeface="メイリオ"/>
                        </a:rPr>
                        <a:t>13 Allow </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802732410"/>
                  </a:ext>
                </a:extLst>
              </a:tr>
              <a:tr h="370840">
                <a:tc>
                  <a:txBody>
                    <a:bodyPr/>
                    <a:lstStyle/>
                    <a:p>
                      <a:r>
                        <a:rPr lang="en-US" sz="1050" b="1" dirty="0">
                          <a:solidFill>
                            <a:schemeClr val="tx1"/>
                          </a:solidFill>
                          <a:latin typeface="メイリオ"/>
                          <a:ea typeface="メイリオ"/>
                          <a:cs typeface="メイリオ"/>
                        </a:rPr>
                        <a:t>Facebook Chat </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b="0" dirty="0">
                          <a:latin typeface="メイリオ"/>
                          <a:ea typeface="メイリオ"/>
                          <a:cs typeface="メイリオ"/>
                        </a:rPr>
                        <a:t>Application</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err="1">
                          <a:latin typeface="メイリオ"/>
                          <a:ea typeface="メイリオ"/>
                          <a:cs typeface="メイリオ"/>
                        </a:rPr>
                        <a:t>FirePOWER</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a:latin typeface="メイリオ"/>
                          <a:ea typeface="メイリオ"/>
                          <a:cs typeface="メイリオ"/>
                        </a:rPr>
                        <a:t>15 Block</a:t>
                      </a:r>
                    </a:p>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メイリオ"/>
                          <a:ea typeface="メイリオ"/>
                          <a:cs typeface="メイリオ"/>
                        </a:rPr>
                        <a:t>13 Allow</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471105817"/>
                  </a:ext>
                </a:extLst>
              </a:tr>
              <a:tr h="370840">
                <a:tc>
                  <a:txBody>
                    <a:bodyPr/>
                    <a:lstStyle/>
                    <a:p>
                      <a:r>
                        <a:rPr lang="en-US" sz="1050" b="1" dirty="0">
                          <a:solidFill>
                            <a:schemeClr val="tx1"/>
                          </a:solidFill>
                          <a:latin typeface="メイリオ"/>
                          <a:ea typeface="メイリオ"/>
                          <a:cs typeface="メイリオ"/>
                        </a:rPr>
                        <a:t>Facebook Games</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b="0" dirty="0">
                          <a:latin typeface="メイリオ"/>
                          <a:ea typeface="メイリオ"/>
                          <a:cs typeface="メイリオ"/>
                        </a:rPr>
                        <a:t>Application</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err="1">
                          <a:latin typeface="メイリオ"/>
                          <a:ea typeface="メイリオ"/>
                          <a:cs typeface="メイリオ"/>
                        </a:rPr>
                        <a:t>FirePOWER</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dirty="0">
                          <a:latin typeface="メイリオ"/>
                          <a:ea typeface="メイリオ"/>
                          <a:cs typeface="メイリオ"/>
                        </a:rPr>
                        <a:t>20 Block</a:t>
                      </a:r>
                    </a:p>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メイリオ"/>
                          <a:ea typeface="メイリオ"/>
                          <a:cs typeface="メイリオ"/>
                        </a:rPr>
                        <a:t>15 Allow</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626774259"/>
                  </a:ext>
                </a:extLst>
              </a:tr>
              <a:tr h="370840">
                <a:tc>
                  <a:txBody>
                    <a:bodyPr/>
                    <a:lstStyle/>
                    <a:p>
                      <a:r>
                        <a:rPr lang="en-US" sz="1050" b="1" dirty="0">
                          <a:solidFill>
                            <a:schemeClr val="tx1"/>
                          </a:solidFill>
                          <a:latin typeface="メイリオ"/>
                          <a:ea typeface="メイリオ"/>
                          <a:cs typeface="メイリオ"/>
                        </a:rPr>
                        <a:t>Social </a:t>
                      </a:r>
                      <a:br>
                        <a:rPr lang="en-US" sz="1050" b="1" dirty="0">
                          <a:solidFill>
                            <a:schemeClr val="tx1"/>
                          </a:solidFill>
                          <a:latin typeface="メイリオ"/>
                          <a:ea typeface="メイリオ"/>
                          <a:cs typeface="メイリオ"/>
                        </a:rPr>
                      </a:br>
                      <a:r>
                        <a:rPr lang="en-US" sz="1050" b="1" dirty="0">
                          <a:solidFill>
                            <a:schemeClr val="tx1"/>
                          </a:solidFill>
                          <a:latin typeface="メイリオ"/>
                          <a:ea typeface="メイリオ"/>
                          <a:cs typeface="メイリオ"/>
                        </a:rPr>
                        <a:t>Networking</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b="0" dirty="0">
                          <a:latin typeface="メイリオ"/>
                          <a:ea typeface="メイリオ"/>
                          <a:cs typeface="メイリオ"/>
                        </a:rPr>
                        <a:t>URL Category</a:t>
                      </a: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err="1">
                          <a:latin typeface="メイリオ"/>
                          <a:ea typeface="メイリオ"/>
                          <a:cs typeface="メイリオ"/>
                        </a:rPr>
                        <a:t>FirePOWER</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050" dirty="0">
                          <a:latin typeface="メイリオ"/>
                          <a:ea typeface="メイリオ"/>
                          <a:cs typeface="メイリオ"/>
                        </a:rPr>
                        <a:t>10 Block</a:t>
                      </a:r>
                    </a:p>
                    <a:p>
                      <a:pPr marL="0" marR="0" indent="0" algn="l" defTabSz="914346"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メイリオ"/>
                          <a:ea typeface="メイリオ"/>
                          <a:cs typeface="メイリオ"/>
                        </a:rPr>
                        <a:t>10 Allow</a:t>
                      </a:r>
                      <a:endParaRPr lang="en-US" sz="1050" dirty="0">
                        <a:latin typeface="メイリオ"/>
                        <a:ea typeface="メイリオ"/>
                        <a:cs typeface="メイリオ"/>
                      </a:endParaRPr>
                    </a:p>
                  </a:txBody>
                  <a:tcPr marL="0" marR="0" marT="91440" marB="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6162080"/>
                  </a:ext>
                </a:extLst>
              </a:tr>
            </a:tbl>
          </a:graphicData>
        </a:graphic>
      </p:graphicFrame>
    </p:spTree>
    <p:extLst>
      <p:ext uri="{BB962C8B-B14F-4D97-AF65-F5344CB8AC3E}">
        <p14:creationId xmlns:p14="http://schemas.microsoft.com/office/powerpoint/2010/main" val="332421442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repeatCount="2000" fill="remove" grpId="0" nodeType="withEffect">
                                  <p:stCondLst>
                                    <p:cond delay="0"/>
                                  </p:stCondLst>
                                  <p:childTnLst>
                                    <p:animClr clrSpc="rgb" dir="cw">
                                      <p:cBhvr override="childStyle">
                                        <p:cTn id="6" dur="375" autoRev="1" fill="remove"/>
                                        <p:tgtEl>
                                          <p:spTgt spid="983"/>
                                        </p:tgtEl>
                                        <p:attrNameLst>
                                          <p:attrName>style.color</p:attrName>
                                        </p:attrNameLst>
                                      </p:cBhvr>
                                      <p:to>
                                        <a:schemeClr val="bg1"/>
                                      </p:to>
                                    </p:animClr>
                                    <p:animClr clrSpc="rgb" dir="cw">
                                      <p:cBhvr>
                                        <p:cTn id="7" dur="375" autoRev="1" fill="remove"/>
                                        <p:tgtEl>
                                          <p:spTgt spid="983"/>
                                        </p:tgtEl>
                                        <p:attrNameLst>
                                          <p:attrName>fillcolor</p:attrName>
                                        </p:attrNameLst>
                                      </p:cBhvr>
                                      <p:to>
                                        <a:schemeClr val="bg1"/>
                                      </p:to>
                                    </p:animClr>
                                    <p:set>
                                      <p:cBhvr>
                                        <p:cTn id="8" dur="375" autoRev="1" fill="remove"/>
                                        <p:tgtEl>
                                          <p:spTgt spid="983"/>
                                        </p:tgtEl>
                                        <p:attrNameLst>
                                          <p:attrName>fill.type</p:attrName>
                                        </p:attrNameLst>
                                      </p:cBhvr>
                                      <p:to>
                                        <p:strVal val="solid"/>
                                      </p:to>
                                    </p:set>
                                    <p:set>
                                      <p:cBhvr>
                                        <p:cTn id="9" dur="375" autoRev="1" fill="remove"/>
                                        <p:tgtEl>
                                          <p:spTgt spid="983"/>
                                        </p:tgtEl>
                                        <p:attrNameLst>
                                          <p:attrName>fill.on</p:attrName>
                                        </p:attrNameLst>
                                      </p:cBhvr>
                                      <p:to>
                                        <p:strVal val="true"/>
                                      </p:to>
                                    </p:set>
                                  </p:childTnLst>
                                </p:cTn>
                              </p:par>
                            </p:childTnLst>
                          </p:cTn>
                        </p:par>
                        <p:par>
                          <p:cTn id="10" fill="hold">
                            <p:stCondLst>
                              <p:cond delay="1500"/>
                            </p:stCondLst>
                            <p:childTnLst>
                              <p:par>
                                <p:cTn id="11" presetID="1" presetClass="entr" presetSubtype="0" fill="hold" nodeType="afterEffect">
                                  <p:stCondLst>
                                    <p:cond delay="0"/>
                                  </p:stCondLst>
                                  <p:childTnLst>
                                    <p:set>
                                      <p:cBhvr>
                                        <p:cTn id="12" dur="1" fill="hold">
                                          <p:stCondLst>
                                            <p:cond delay="99"/>
                                          </p:stCondLst>
                                        </p:cTn>
                                        <p:tgtEl>
                                          <p:spTgt spid="975">
                                            <p:txEl>
                                              <p:pRg st="0" end="0"/>
                                            </p:txEl>
                                          </p:spTgt>
                                        </p:tgtEl>
                                        <p:attrNameLst>
                                          <p:attrName>style.visibility</p:attrName>
                                        </p:attrNameLst>
                                      </p:cBhvr>
                                      <p:to>
                                        <p:strVal val="visible"/>
                                      </p:to>
                                    </p:set>
                                  </p:childTnLst>
                                </p:cTn>
                              </p:par>
                              <p:par>
                                <p:cTn id="13" presetID="42" presetClass="path" presetSubtype="0" accel="50000" decel="50000" fill="hold" grpId="1" nodeType="withEffect">
                                  <p:stCondLst>
                                    <p:cond delay="0"/>
                                  </p:stCondLst>
                                  <p:childTnLst>
                                    <p:animMotion origin="layout" path="M 3.75E-6 2.22222E-6 L 0.01185 0.00116 " pathEditMode="relative" rAng="0" ptsTypes="AA">
                                      <p:cBhvr>
                                        <p:cTn id="14" dur="10" fill="hold"/>
                                        <p:tgtEl>
                                          <p:spTgt spid="983"/>
                                        </p:tgtEl>
                                        <p:attrNameLst>
                                          <p:attrName>ppt_x</p:attrName>
                                          <p:attrName>ppt_y</p:attrName>
                                        </p:attrNameLst>
                                      </p:cBhvr>
                                      <p:rCtr x="586" y="46"/>
                                    </p:animMotion>
                                  </p:childTnLst>
                                </p:cTn>
                              </p:par>
                            </p:childTnLst>
                          </p:cTn>
                        </p:par>
                        <p:par>
                          <p:cTn id="15" fill="hold">
                            <p:stCondLst>
                              <p:cond delay="1600"/>
                            </p:stCondLst>
                            <p:childTnLst>
                              <p:par>
                                <p:cTn id="16" presetID="27" presetClass="emph" presetSubtype="0" fill="remove" grpId="2" nodeType="afterEffect">
                                  <p:stCondLst>
                                    <p:cond delay="0"/>
                                  </p:stCondLst>
                                  <p:childTnLst>
                                    <p:animClr clrSpc="rgb" dir="cw">
                                      <p:cBhvr override="childStyle">
                                        <p:cTn id="17" dur="5" autoRev="1" fill="remove"/>
                                        <p:tgtEl>
                                          <p:spTgt spid="983"/>
                                        </p:tgtEl>
                                        <p:attrNameLst>
                                          <p:attrName>style.color</p:attrName>
                                        </p:attrNameLst>
                                      </p:cBhvr>
                                      <p:to>
                                        <a:schemeClr val="bg1"/>
                                      </p:to>
                                    </p:animClr>
                                    <p:animClr clrSpc="rgb" dir="cw">
                                      <p:cBhvr>
                                        <p:cTn id="18" dur="5" autoRev="1" fill="remove"/>
                                        <p:tgtEl>
                                          <p:spTgt spid="983"/>
                                        </p:tgtEl>
                                        <p:attrNameLst>
                                          <p:attrName>fillcolor</p:attrName>
                                        </p:attrNameLst>
                                      </p:cBhvr>
                                      <p:to>
                                        <a:schemeClr val="bg1"/>
                                      </p:to>
                                    </p:animClr>
                                    <p:set>
                                      <p:cBhvr>
                                        <p:cTn id="19" dur="5" autoRev="1" fill="remove"/>
                                        <p:tgtEl>
                                          <p:spTgt spid="983"/>
                                        </p:tgtEl>
                                        <p:attrNameLst>
                                          <p:attrName>fill.type</p:attrName>
                                        </p:attrNameLst>
                                      </p:cBhvr>
                                      <p:to>
                                        <p:strVal val="solid"/>
                                      </p:to>
                                    </p:set>
                                    <p:set>
                                      <p:cBhvr>
                                        <p:cTn id="20" dur="5" autoRev="1" fill="remove"/>
                                        <p:tgtEl>
                                          <p:spTgt spid="983"/>
                                        </p:tgtEl>
                                        <p:attrNameLst>
                                          <p:attrName>fill.on</p:attrName>
                                        </p:attrNameLst>
                                      </p:cBhvr>
                                      <p:to>
                                        <p:strVal val="true"/>
                                      </p:to>
                                    </p:set>
                                  </p:childTnLst>
                                </p:cTn>
                              </p:par>
                            </p:childTnLst>
                          </p:cTn>
                        </p:par>
                        <p:par>
                          <p:cTn id="21" fill="hold">
                            <p:stCondLst>
                              <p:cond delay="1610"/>
                            </p:stCondLst>
                            <p:childTnLst>
                              <p:par>
                                <p:cTn id="22" presetID="1" presetClass="entr" presetSubtype="0" fill="hold" nodeType="afterEffect">
                                  <p:stCondLst>
                                    <p:cond delay="0"/>
                                  </p:stCondLst>
                                  <p:childTnLst>
                                    <p:set>
                                      <p:cBhvr>
                                        <p:cTn id="23" dur="1" fill="hold">
                                          <p:stCondLst>
                                            <p:cond delay="99"/>
                                          </p:stCondLst>
                                        </p:cTn>
                                        <p:tgtEl>
                                          <p:spTgt spid="976">
                                            <p:txEl>
                                              <p:pRg st="0" end="0"/>
                                            </p:txEl>
                                          </p:spTgt>
                                        </p:tgtEl>
                                        <p:attrNameLst>
                                          <p:attrName>style.visibility</p:attrName>
                                        </p:attrNameLst>
                                      </p:cBhvr>
                                      <p:to>
                                        <p:strVal val="visible"/>
                                      </p:to>
                                    </p:set>
                                  </p:childTnLst>
                                </p:cTn>
                              </p:par>
                            </p:childTnLst>
                          </p:cTn>
                        </p:par>
                        <p:par>
                          <p:cTn id="24" fill="hold">
                            <p:stCondLst>
                              <p:cond delay="1710"/>
                            </p:stCondLst>
                            <p:childTnLst>
                              <p:par>
                                <p:cTn id="25" presetID="42" presetClass="path" presetSubtype="0" accel="50000" decel="50000" fill="hold" grpId="3" nodeType="afterEffect">
                                  <p:stCondLst>
                                    <p:cond delay="0"/>
                                  </p:stCondLst>
                                  <p:childTnLst>
                                    <p:animMotion origin="layout" path="M 0.01184 0.00116 L 0.022 0.00162 " pathEditMode="relative" rAng="0" ptsTypes="AA">
                                      <p:cBhvr>
                                        <p:cTn id="26" dur="10" fill="hold"/>
                                        <p:tgtEl>
                                          <p:spTgt spid="983"/>
                                        </p:tgtEl>
                                        <p:attrNameLst>
                                          <p:attrName>ppt_x</p:attrName>
                                          <p:attrName>ppt_y</p:attrName>
                                        </p:attrNameLst>
                                      </p:cBhvr>
                                      <p:rCtr x="508" y="23"/>
                                    </p:animMotion>
                                  </p:childTnLst>
                                </p:cTn>
                              </p:par>
                            </p:childTnLst>
                          </p:cTn>
                        </p:par>
                        <p:par>
                          <p:cTn id="27" fill="hold">
                            <p:stCondLst>
                              <p:cond delay="1720"/>
                            </p:stCondLst>
                            <p:childTnLst>
                              <p:par>
                                <p:cTn id="28" presetID="1" presetClass="entr" presetSubtype="0" fill="hold" nodeType="afterEffect">
                                  <p:stCondLst>
                                    <p:cond delay="0"/>
                                  </p:stCondLst>
                                  <p:childTnLst>
                                    <p:set>
                                      <p:cBhvr>
                                        <p:cTn id="29" dur="1" fill="hold">
                                          <p:stCondLst>
                                            <p:cond delay="99"/>
                                          </p:stCondLst>
                                        </p:cTn>
                                        <p:tgtEl>
                                          <p:spTgt spid="977">
                                            <p:txEl>
                                              <p:pRg st="0" end="0"/>
                                            </p:txEl>
                                          </p:spTgt>
                                        </p:tgtEl>
                                        <p:attrNameLst>
                                          <p:attrName>style.visibility</p:attrName>
                                        </p:attrNameLst>
                                      </p:cBhvr>
                                      <p:to>
                                        <p:strVal val="visible"/>
                                      </p:to>
                                    </p:set>
                                  </p:childTnLst>
                                </p:cTn>
                              </p:par>
                            </p:childTnLst>
                          </p:cTn>
                        </p:par>
                        <p:par>
                          <p:cTn id="30" fill="hold">
                            <p:stCondLst>
                              <p:cond delay="1820"/>
                            </p:stCondLst>
                            <p:childTnLst>
                              <p:par>
                                <p:cTn id="31" presetID="42" presetClass="path" presetSubtype="0" accel="50000" decel="50000" fill="hold" grpId="4" nodeType="afterEffect">
                                  <p:stCondLst>
                                    <p:cond delay="0"/>
                                  </p:stCondLst>
                                  <p:childTnLst>
                                    <p:animMotion origin="layout" path="M 0.02096 -0.00023 L 0.03086 0.00023 " pathEditMode="relative" rAng="0" ptsTypes="AA">
                                      <p:cBhvr>
                                        <p:cTn id="32" dur="10" fill="hold"/>
                                        <p:tgtEl>
                                          <p:spTgt spid="983"/>
                                        </p:tgtEl>
                                        <p:attrNameLst>
                                          <p:attrName>ppt_x</p:attrName>
                                          <p:attrName>ppt_y</p:attrName>
                                        </p:attrNameLst>
                                      </p:cBhvr>
                                      <p:rCtr x="495" y="-23"/>
                                    </p:animMotion>
                                  </p:childTnLst>
                                </p:cTn>
                              </p:par>
                            </p:childTnLst>
                          </p:cTn>
                        </p:par>
                        <p:par>
                          <p:cTn id="33" fill="hold">
                            <p:stCondLst>
                              <p:cond delay="1830"/>
                            </p:stCondLst>
                            <p:childTnLst>
                              <p:par>
                                <p:cTn id="34" presetID="1" presetClass="entr" presetSubtype="0" fill="hold" nodeType="afterEffect">
                                  <p:stCondLst>
                                    <p:cond delay="0"/>
                                  </p:stCondLst>
                                  <p:childTnLst>
                                    <p:set>
                                      <p:cBhvr>
                                        <p:cTn id="35" dur="1" fill="hold">
                                          <p:stCondLst>
                                            <p:cond delay="9"/>
                                          </p:stCondLst>
                                        </p:cTn>
                                        <p:tgtEl>
                                          <p:spTgt spid="978">
                                            <p:txEl>
                                              <p:pRg st="0" end="0"/>
                                            </p:txEl>
                                          </p:spTgt>
                                        </p:tgtEl>
                                        <p:attrNameLst>
                                          <p:attrName>style.visibility</p:attrName>
                                        </p:attrNameLst>
                                      </p:cBhvr>
                                      <p:to>
                                        <p:strVal val="visible"/>
                                      </p:to>
                                    </p:set>
                                  </p:childTnLst>
                                </p:cTn>
                              </p:par>
                            </p:childTnLst>
                          </p:cTn>
                        </p:par>
                        <p:par>
                          <p:cTn id="36" fill="hold">
                            <p:stCondLst>
                              <p:cond delay="1840"/>
                            </p:stCondLst>
                            <p:childTnLst>
                              <p:par>
                                <p:cTn id="37" presetID="35" presetClass="path" presetSubtype="0" accel="50000" decel="50000" fill="hold" grpId="5" nodeType="afterEffect">
                                  <p:stCondLst>
                                    <p:cond delay="0"/>
                                  </p:stCondLst>
                                  <p:childTnLst>
                                    <p:animMotion origin="layout" path="M 0.03086 0.00023 L 0.0414 2.22222E-6 " pathEditMode="relative" rAng="0" ptsTypes="AA">
                                      <p:cBhvr>
                                        <p:cTn id="38" dur="10" fill="hold"/>
                                        <p:tgtEl>
                                          <p:spTgt spid="983"/>
                                        </p:tgtEl>
                                        <p:attrNameLst>
                                          <p:attrName>ppt_x</p:attrName>
                                          <p:attrName>ppt_y</p:attrName>
                                        </p:attrNameLst>
                                      </p:cBhvr>
                                      <p:rCtr x="521" y="0"/>
                                    </p:animMotion>
                                  </p:childTnLst>
                                </p:cTn>
                              </p:par>
                            </p:childTnLst>
                          </p:cTn>
                        </p:par>
                        <p:par>
                          <p:cTn id="39" fill="hold">
                            <p:stCondLst>
                              <p:cond delay="1850"/>
                            </p:stCondLst>
                            <p:childTnLst>
                              <p:par>
                                <p:cTn id="40" presetID="1" presetClass="entr" presetSubtype="0" fill="hold" nodeType="afterEffect">
                                  <p:stCondLst>
                                    <p:cond delay="0"/>
                                  </p:stCondLst>
                                  <p:childTnLst>
                                    <p:set>
                                      <p:cBhvr>
                                        <p:cTn id="41" dur="1" fill="hold">
                                          <p:stCondLst>
                                            <p:cond delay="99"/>
                                          </p:stCondLst>
                                        </p:cTn>
                                        <p:tgtEl>
                                          <p:spTgt spid="979">
                                            <p:txEl>
                                              <p:pRg st="0" end="0"/>
                                            </p:txEl>
                                          </p:spTgt>
                                        </p:tgtEl>
                                        <p:attrNameLst>
                                          <p:attrName>style.visibility</p:attrName>
                                        </p:attrNameLst>
                                      </p:cBhvr>
                                      <p:to>
                                        <p:strVal val="visible"/>
                                      </p:to>
                                    </p:set>
                                  </p:childTnLst>
                                </p:cTn>
                              </p:par>
                            </p:childTnLst>
                          </p:cTn>
                        </p:par>
                        <p:par>
                          <p:cTn id="42" fill="hold">
                            <p:stCondLst>
                              <p:cond delay="1950"/>
                            </p:stCondLst>
                            <p:childTnLst>
                              <p:par>
                                <p:cTn id="43" presetID="63" presetClass="path" presetSubtype="0" accel="50000" decel="50000" fill="hold" grpId="6" nodeType="afterEffect">
                                  <p:stCondLst>
                                    <p:cond delay="0"/>
                                  </p:stCondLst>
                                  <p:childTnLst>
                                    <p:animMotion origin="layout" path="M 0.0414 2.22222E-6 L 0.05195 2.22222E-6 " pathEditMode="relative" rAng="0" ptsTypes="AA">
                                      <p:cBhvr>
                                        <p:cTn id="44" dur="10" fill="hold"/>
                                        <p:tgtEl>
                                          <p:spTgt spid="983"/>
                                        </p:tgtEl>
                                        <p:attrNameLst>
                                          <p:attrName>ppt_x</p:attrName>
                                          <p:attrName>ppt_y</p:attrName>
                                        </p:attrNameLst>
                                      </p:cBhvr>
                                      <p:rCtr x="521" y="0"/>
                                    </p:animMotion>
                                  </p:childTnLst>
                                </p:cTn>
                              </p:par>
                            </p:childTnLst>
                          </p:cTn>
                        </p:par>
                        <p:par>
                          <p:cTn id="45" fill="hold">
                            <p:stCondLst>
                              <p:cond delay="1960"/>
                            </p:stCondLst>
                            <p:childTnLst>
                              <p:par>
                                <p:cTn id="46" presetID="1" presetClass="entr" presetSubtype="0" fill="hold" nodeType="afterEffect">
                                  <p:stCondLst>
                                    <p:cond delay="0"/>
                                  </p:stCondLst>
                                  <p:childTnLst>
                                    <p:set>
                                      <p:cBhvr>
                                        <p:cTn id="47" dur="1" fill="hold">
                                          <p:stCondLst>
                                            <p:cond delay="99"/>
                                          </p:stCondLst>
                                        </p:cTn>
                                        <p:tgtEl>
                                          <p:spTgt spid="980">
                                            <p:txEl>
                                              <p:pRg st="0" end="0"/>
                                            </p:txEl>
                                          </p:spTgt>
                                        </p:tgtEl>
                                        <p:attrNameLst>
                                          <p:attrName>style.visibility</p:attrName>
                                        </p:attrNameLst>
                                      </p:cBhvr>
                                      <p:to>
                                        <p:strVal val="visible"/>
                                      </p:to>
                                    </p:set>
                                  </p:childTnLst>
                                </p:cTn>
                              </p:par>
                            </p:childTnLst>
                          </p:cTn>
                        </p:par>
                        <p:par>
                          <p:cTn id="48" fill="hold">
                            <p:stCondLst>
                              <p:cond delay="2060"/>
                            </p:stCondLst>
                            <p:childTnLst>
                              <p:par>
                                <p:cTn id="49" presetID="63" presetClass="path" presetSubtype="0" accel="50000" decel="50000" fill="hold" grpId="7" nodeType="afterEffect">
                                  <p:stCondLst>
                                    <p:cond delay="0"/>
                                  </p:stCondLst>
                                  <p:childTnLst>
                                    <p:animMotion origin="layout" path="M 0.05195 2.22222E-6 L 0.06224 2.22222E-6 " pathEditMode="relative" rAng="0" ptsTypes="AA">
                                      <p:cBhvr>
                                        <p:cTn id="50" dur="10" fill="hold"/>
                                        <p:tgtEl>
                                          <p:spTgt spid="983"/>
                                        </p:tgtEl>
                                        <p:attrNameLst>
                                          <p:attrName>ppt_x</p:attrName>
                                          <p:attrName>ppt_y</p:attrName>
                                        </p:attrNameLst>
                                      </p:cBhvr>
                                      <p:rCtr x="508" y="0"/>
                                    </p:animMotion>
                                  </p:childTnLst>
                                </p:cTn>
                              </p:par>
                            </p:childTnLst>
                          </p:cTn>
                        </p:par>
                        <p:par>
                          <p:cTn id="51" fill="hold">
                            <p:stCondLst>
                              <p:cond delay="2070"/>
                            </p:stCondLst>
                            <p:childTnLst>
                              <p:par>
                                <p:cTn id="52" presetID="1" presetClass="entr" presetSubtype="0" fill="hold" nodeType="afterEffect">
                                  <p:stCondLst>
                                    <p:cond delay="0"/>
                                  </p:stCondLst>
                                  <p:childTnLst>
                                    <p:set>
                                      <p:cBhvr>
                                        <p:cTn id="53" dur="1" fill="hold">
                                          <p:stCondLst>
                                            <p:cond delay="99"/>
                                          </p:stCondLst>
                                        </p:cTn>
                                        <p:tgtEl>
                                          <p:spTgt spid="981">
                                            <p:txEl>
                                              <p:pRg st="0" end="0"/>
                                            </p:txEl>
                                          </p:spTgt>
                                        </p:tgtEl>
                                        <p:attrNameLst>
                                          <p:attrName>style.visibility</p:attrName>
                                        </p:attrNameLst>
                                      </p:cBhvr>
                                      <p:to>
                                        <p:strVal val="visible"/>
                                      </p:to>
                                    </p:set>
                                  </p:childTnLst>
                                </p:cTn>
                              </p:par>
                            </p:childTnLst>
                          </p:cTn>
                        </p:par>
                        <p:par>
                          <p:cTn id="54" fill="hold">
                            <p:stCondLst>
                              <p:cond delay="2170"/>
                            </p:stCondLst>
                            <p:childTnLst>
                              <p:par>
                                <p:cTn id="55" presetID="63" presetClass="path" presetSubtype="0" accel="50000" decel="50000" fill="hold" grpId="8" nodeType="afterEffect">
                                  <p:stCondLst>
                                    <p:cond delay="0"/>
                                  </p:stCondLst>
                                  <p:childTnLst>
                                    <p:animMotion origin="layout" path="M 0.06224 2.22222E-6 L 0.07265 2.22222E-6 " pathEditMode="relative" rAng="0" ptsTypes="AA">
                                      <p:cBhvr>
                                        <p:cTn id="56" dur="10" fill="hold"/>
                                        <p:tgtEl>
                                          <p:spTgt spid="983"/>
                                        </p:tgtEl>
                                        <p:attrNameLst>
                                          <p:attrName>ppt_x</p:attrName>
                                          <p:attrName>ppt_y</p:attrName>
                                        </p:attrNameLst>
                                      </p:cBhvr>
                                      <p:rCtr x="521" y="0"/>
                                    </p:animMotion>
                                  </p:childTnLst>
                                </p:cTn>
                              </p:par>
                            </p:childTnLst>
                          </p:cTn>
                        </p:par>
                        <p:par>
                          <p:cTn id="57" fill="hold">
                            <p:stCondLst>
                              <p:cond delay="2180"/>
                            </p:stCondLst>
                            <p:childTnLst>
                              <p:par>
                                <p:cTn id="58" presetID="1" presetClass="entr" presetSubtype="0" fill="hold" nodeType="afterEffect">
                                  <p:stCondLst>
                                    <p:cond delay="0"/>
                                  </p:stCondLst>
                                  <p:childTnLst>
                                    <p:set>
                                      <p:cBhvr>
                                        <p:cTn id="59" dur="1" fill="hold">
                                          <p:stCondLst>
                                            <p:cond delay="99"/>
                                          </p:stCondLst>
                                        </p:cTn>
                                        <p:tgtEl>
                                          <p:spTgt spid="982">
                                            <p:txEl>
                                              <p:pRg st="0" end="0"/>
                                            </p:txEl>
                                          </p:spTgt>
                                        </p:tgtEl>
                                        <p:attrNameLst>
                                          <p:attrName>style.visibility</p:attrName>
                                        </p:attrNameLst>
                                      </p:cBhvr>
                                      <p:to>
                                        <p:strVal val="visible"/>
                                      </p:to>
                                    </p:set>
                                  </p:childTnLst>
                                </p:cTn>
                              </p:par>
                            </p:childTnLst>
                          </p:cTn>
                        </p:par>
                        <p:par>
                          <p:cTn id="60" fill="hold">
                            <p:stCondLst>
                              <p:cond delay="2280"/>
                            </p:stCondLst>
                            <p:childTnLst>
                              <p:par>
                                <p:cTn id="61" presetID="63" presetClass="path" presetSubtype="0" accel="50000" decel="50000" fill="hold" grpId="9" nodeType="afterEffect">
                                  <p:stCondLst>
                                    <p:cond delay="0"/>
                                  </p:stCondLst>
                                  <p:childTnLst>
                                    <p:animMotion origin="layout" path="M 0.07265 2.22222E-6 L 0.08255 2.22222E-6 " pathEditMode="relative" rAng="0" ptsTypes="AA">
                                      <p:cBhvr>
                                        <p:cTn id="62" dur="10" fill="hold"/>
                                        <p:tgtEl>
                                          <p:spTgt spid="983"/>
                                        </p:tgtEl>
                                        <p:attrNameLst>
                                          <p:attrName>ppt_x</p:attrName>
                                          <p:attrName>ppt_y</p:attrName>
                                        </p:attrNameLst>
                                      </p:cBhvr>
                                      <p:rCtr x="495" y="0"/>
                                    </p:animMotion>
                                  </p:childTnLst>
                                </p:cTn>
                              </p:par>
                            </p:childTnLst>
                          </p:cTn>
                        </p:par>
                        <p:par>
                          <p:cTn id="63" fill="hold">
                            <p:stCondLst>
                              <p:cond delay="2290"/>
                            </p:stCondLst>
                            <p:childTnLst>
                              <p:par>
                                <p:cTn id="64" presetID="27" presetClass="emph" presetSubtype="0" repeatCount="3000" fill="remove" grpId="10" nodeType="afterEffect">
                                  <p:stCondLst>
                                    <p:cond delay="0"/>
                                  </p:stCondLst>
                                  <p:childTnLst>
                                    <p:animClr clrSpc="rgb" dir="cw">
                                      <p:cBhvr override="childStyle">
                                        <p:cTn id="65" dur="375" autoRev="1" fill="remove"/>
                                        <p:tgtEl>
                                          <p:spTgt spid="983"/>
                                        </p:tgtEl>
                                        <p:attrNameLst>
                                          <p:attrName>style.color</p:attrName>
                                        </p:attrNameLst>
                                      </p:cBhvr>
                                      <p:to>
                                        <a:schemeClr val="bg1"/>
                                      </p:to>
                                    </p:animClr>
                                    <p:animClr clrSpc="rgb" dir="cw">
                                      <p:cBhvr>
                                        <p:cTn id="66" dur="375" autoRev="1" fill="remove"/>
                                        <p:tgtEl>
                                          <p:spTgt spid="983"/>
                                        </p:tgtEl>
                                        <p:attrNameLst>
                                          <p:attrName>fillcolor</p:attrName>
                                        </p:attrNameLst>
                                      </p:cBhvr>
                                      <p:to>
                                        <a:schemeClr val="bg1"/>
                                      </p:to>
                                    </p:animClr>
                                    <p:set>
                                      <p:cBhvr>
                                        <p:cTn id="67" dur="375" autoRev="1" fill="remove"/>
                                        <p:tgtEl>
                                          <p:spTgt spid="983"/>
                                        </p:tgtEl>
                                        <p:attrNameLst>
                                          <p:attrName>fill.type</p:attrName>
                                        </p:attrNameLst>
                                      </p:cBhvr>
                                      <p:to>
                                        <p:strVal val="solid"/>
                                      </p:to>
                                    </p:set>
                                    <p:set>
                                      <p:cBhvr>
                                        <p:cTn id="68" dur="375" autoRev="1" fill="remove"/>
                                        <p:tgtEl>
                                          <p:spTgt spid="983"/>
                                        </p:tgtEl>
                                        <p:attrNameLst>
                                          <p:attrName>fill.on</p:attrName>
                                        </p:attrNameLst>
                                      </p:cBhvr>
                                      <p:to>
                                        <p:strVal val="true"/>
                                      </p:to>
                                    </p:set>
                                  </p:childTnLst>
                                </p:cTn>
                              </p:par>
                              <p:par>
                                <p:cTn id="69" presetID="10" presetClass="entr" presetSubtype="0" fill="hold" grpId="1" nodeType="withEffect">
                                  <p:stCondLst>
                                    <p:cond delay="750"/>
                                  </p:stCondLst>
                                  <p:childTnLst>
                                    <p:set>
                                      <p:cBhvr>
                                        <p:cTn id="70" dur="1" fill="hold">
                                          <p:stCondLst>
                                            <p:cond delay="0"/>
                                          </p:stCondLst>
                                        </p:cTn>
                                        <p:tgtEl>
                                          <p:spTgt spid="984"/>
                                        </p:tgtEl>
                                        <p:attrNameLst>
                                          <p:attrName>style.visibility</p:attrName>
                                        </p:attrNameLst>
                                      </p:cBhvr>
                                      <p:to>
                                        <p:strVal val="visible"/>
                                      </p:to>
                                    </p:set>
                                    <p:animEffect transition="in" filter="fade">
                                      <p:cBhvr>
                                        <p:cTn id="71" dur="750"/>
                                        <p:tgtEl>
                                          <p:spTgt spid="984"/>
                                        </p:tgtEl>
                                      </p:cBhvr>
                                    </p:animEffect>
                                  </p:childTnLst>
                                </p:cTn>
                              </p:par>
                            </p:childTnLst>
                          </p:cTn>
                        </p:par>
                        <p:par>
                          <p:cTn id="72" fill="hold">
                            <p:stCondLst>
                              <p:cond delay="4540"/>
                            </p:stCondLst>
                            <p:childTnLst>
                              <p:par>
                                <p:cTn id="73" presetID="37" presetClass="path" presetSubtype="0" decel="100000" fill="hold" grpId="0" nodeType="afterEffect">
                                  <p:stCondLst>
                                    <p:cond delay="0"/>
                                  </p:stCondLst>
                                  <p:childTnLst>
                                    <p:animMotion origin="layout" path="M -2.70833E-6 -0.00023 L 0.06146 0.09028 " pathEditMode="relative" rAng="0" ptsTypes="AA">
                                      <p:cBhvr>
                                        <p:cTn id="74" dur="750" fill="hold"/>
                                        <p:tgtEl>
                                          <p:spTgt spid="984"/>
                                        </p:tgtEl>
                                        <p:attrNameLst>
                                          <p:attrName>ppt_x</p:attrName>
                                          <p:attrName>ppt_y</p:attrName>
                                        </p:attrNameLst>
                                      </p:cBhvr>
                                      <p:rCtr x="3073" y="4514"/>
                                    </p:animMotion>
                                  </p:childTnLst>
                                </p:cTn>
                              </p:par>
                            </p:childTnLst>
                          </p:cTn>
                        </p:par>
                        <p:par>
                          <p:cTn id="75" fill="hold">
                            <p:stCondLst>
                              <p:cond delay="5290"/>
                            </p:stCondLst>
                            <p:childTnLst>
                              <p:par>
                                <p:cTn id="76" presetID="26" presetClass="emph" presetSubtype="0" fill="hold" grpId="0" nodeType="afterEffect">
                                  <p:stCondLst>
                                    <p:cond delay="0"/>
                                  </p:stCondLst>
                                  <p:childTnLst>
                                    <p:animEffect transition="out" filter="fade">
                                      <p:cBhvr>
                                        <p:cTn id="77" dur="500" tmFilter="0, 0; .2, .5; .8, .5; 1, 0"/>
                                        <p:tgtEl>
                                          <p:spTgt spid="974"/>
                                        </p:tgtEl>
                                      </p:cBhvr>
                                    </p:animEffect>
                                    <p:animScale>
                                      <p:cBhvr>
                                        <p:cTn id="78" dur="250" autoRev="1" fill="hold"/>
                                        <p:tgtEl>
                                          <p:spTgt spid="974"/>
                                        </p:tgtEl>
                                      </p:cBhvr>
                                      <p:by x="105000" y="105000"/>
                                    </p:animScale>
                                  </p:childTnLst>
                                </p:cTn>
                              </p:par>
                              <p:par>
                                <p:cTn id="79" presetID="26" presetClass="emph" presetSubtype="0" fill="hold" nodeType="withEffect">
                                  <p:stCondLst>
                                    <p:cond delay="0"/>
                                  </p:stCondLst>
                                  <p:childTnLst>
                                    <p:animEffect transition="out" filter="fade">
                                      <p:cBhvr>
                                        <p:cTn id="80" dur="500" tmFilter="0, 0; .2, .5; .8, .5; 1, 0"/>
                                        <p:tgtEl>
                                          <p:spTgt spid="128"/>
                                        </p:tgtEl>
                                      </p:cBhvr>
                                    </p:animEffect>
                                    <p:animScale>
                                      <p:cBhvr>
                                        <p:cTn id="81" dur="250" autoRev="1" fill="hold"/>
                                        <p:tgtEl>
                                          <p:spTgt spid="128"/>
                                        </p:tgtEl>
                                      </p:cBhvr>
                                      <p:by x="105000" y="105000"/>
                                    </p:animScale>
                                  </p:childTnLst>
                                </p:cTn>
                              </p:par>
                              <p:par>
                                <p:cTn id="82" presetID="10" presetClass="entr" presetSubtype="0" fill="hold" nodeType="withEffect">
                                  <p:stCondLst>
                                    <p:cond delay="0"/>
                                  </p:stCondLst>
                                  <p:childTnLst>
                                    <p:set>
                                      <p:cBhvr>
                                        <p:cTn id="83" dur="1" fill="hold">
                                          <p:stCondLst>
                                            <p:cond delay="0"/>
                                          </p:stCondLst>
                                        </p:cTn>
                                        <p:tgtEl>
                                          <p:spTgt spid="918"/>
                                        </p:tgtEl>
                                        <p:attrNameLst>
                                          <p:attrName>style.visibility</p:attrName>
                                        </p:attrNameLst>
                                      </p:cBhvr>
                                      <p:to>
                                        <p:strVal val="visible"/>
                                      </p:to>
                                    </p:set>
                                    <p:animEffect transition="in" filter="fade">
                                      <p:cBhvr>
                                        <p:cTn id="84" dur="500"/>
                                        <p:tgtEl>
                                          <p:spTgt spid="918"/>
                                        </p:tgtEl>
                                      </p:cBhvr>
                                    </p:animEffect>
                                  </p:childTnLst>
                                </p:cTn>
                              </p:par>
                              <p:par>
                                <p:cTn id="85" presetID="63" presetClass="path" presetSubtype="0" accel="50000" decel="50000" fill="hold" nodeType="withEffect">
                                  <p:stCondLst>
                                    <p:cond delay="0"/>
                                  </p:stCondLst>
                                  <p:childTnLst>
                                    <p:animMotion origin="layout" path="M -3.75E-6 -1.48148E-6 L 0.36914 -1.48148E-6 " pathEditMode="relative" rAng="0" ptsTypes="AA">
                                      <p:cBhvr>
                                        <p:cTn id="86" dur="2000" fill="hold"/>
                                        <p:tgtEl>
                                          <p:spTgt spid="918"/>
                                        </p:tgtEl>
                                        <p:attrNameLst>
                                          <p:attrName>ppt_x</p:attrName>
                                          <p:attrName>ppt_y</p:attrName>
                                        </p:attrNameLst>
                                      </p:cBhvr>
                                      <p:rCtr x="18451" y="0"/>
                                    </p:animMotion>
                                  </p:childTnLst>
                                </p:cTn>
                              </p:par>
                            </p:childTnLst>
                          </p:cTn>
                        </p:par>
                        <p:par>
                          <p:cTn id="87" fill="hold">
                            <p:stCondLst>
                              <p:cond delay="7290"/>
                            </p:stCondLst>
                            <p:childTnLst>
                              <p:par>
                                <p:cTn id="88" presetID="10" presetClass="exit" presetSubtype="0" fill="hold" nodeType="afterEffect">
                                  <p:stCondLst>
                                    <p:cond delay="750"/>
                                  </p:stCondLst>
                                  <p:childTnLst>
                                    <p:animEffect transition="out" filter="fade">
                                      <p:cBhvr>
                                        <p:cTn id="89" dur="500"/>
                                        <p:tgtEl>
                                          <p:spTgt spid="918"/>
                                        </p:tgtEl>
                                      </p:cBhvr>
                                    </p:animEffect>
                                    <p:set>
                                      <p:cBhvr>
                                        <p:cTn id="90" dur="1" fill="hold">
                                          <p:stCondLst>
                                            <p:cond delay="499"/>
                                          </p:stCondLst>
                                        </p:cTn>
                                        <p:tgtEl>
                                          <p:spTgt spid="918"/>
                                        </p:tgtEl>
                                        <p:attrNameLst>
                                          <p:attrName>style.visibility</p:attrName>
                                        </p:attrNameLst>
                                      </p:cBhvr>
                                      <p:to>
                                        <p:strVal val="hidden"/>
                                      </p:to>
                                    </p:set>
                                  </p:childTnLst>
                                </p:cTn>
                              </p:par>
                            </p:childTnLst>
                          </p:cTn>
                        </p:par>
                        <p:par>
                          <p:cTn id="91" fill="hold">
                            <p:stCondLst>
                              <p:cond delay="8540"/>
                            </p:stCondLst>
                            <p:childTnLst>
                              <p:par>
                                <p:cTn id="92" presetID="10" presetClass="entr" presetSubtype="0" fill="hold" grpId="0" nodeType="afterEffect">
                                  <p:stCondLst>
                                    <p:cond delay="0"/>
                                  </p:stCondLst>
                                  <p:childTnLst>
                                    <p:set>
                                      <p:cBhvr>
                                        <p:cTn id="93" dur="1" fill="hold">
                                          <p:stCondLst>
                                            <p:cond delay="0"/>
                                          </p:stCondLst>
                                        </p:cTn>
                                        <p:tgtEl>
                                          <p:spTgt spid="985"/>
                                        </p:tgtEl>
                                        <p:attrNameLst>
                                          <p:attrName>style.visibility</p:attrName>
                                        </p:attrNameLst>
                                      </p:cBhvr>
                                      <p:to>
                                        <p:strVal val="visible"/>
                                      </p:to>
                                    </p:set>
                                    <p:animEffect transition="in" filter="fade">
                                      <p:cBhvr>
                                        <p:cTn id="94" dur="500"/>
                                        <p:tgtEl>
                                          <p:spTgt spid="985"/>
                                        </p:tgtEl>
                                      </p:cBhvr>
                                    </p:animEffect>
                                  </p:childTnLst>
                                </p:cTn>
                              </p:par>
                              <p:par>
                                <p:cTn id="95" presetID="10" presetClass="entr" presetSubtype="0" fill="hold" nodeType="withEffect">
                                  <p:stCondLst>
                                    <p:cond delay="0"/>
                                  </p:stCondLst>
                                  <p:childTnLst>
                                    <p:set>
                                      <p:cBhvr>
                                        <p:cTn id="96" dur="1" fill="hold">
                                          <p:stCondLst>
                                            <p:cond delay="0"/>
                                          </p:stCondLst>
                                        </p:cTn>
                                        <p:tgtEl>
                                          <p:spTgt spid="986"/>
                                        </p:tgtEl>
                                        <p:attrNameLst>
                                          <p:attrName>style.visibility</p:attrName>
                                        </p:attrNameLst>
                                      </p:cBhvr>
                                      <p:to>
                                        <p:strVal val="visible"/>
                                      </p:to>
                                    </p:set>
                                    <p:animEffect transition="in" filter="fade">
                                      <p:cBhvr>
                                        <p:cTn id="97" dur="500"/>
                                        <p:tgtEl>
                                          <p:spTgt spid="9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4" grpId="0" animBg="1"/>
      <p:bldP spid="983" grpId="0" animBg="1"/>
      <p:bldP spid="983" grpId="1" animBg="1"/>
      <p:bldP spid="983" grpId="2" animBg="1"/>
      <p:bldP spid="983" grpId="3" animBg="1"/>
      <p:bldP spid="983" grpId="4" animBg="1"/>
      <p:bldP spid="983" grpId="5" animBg="1"/>
      <p:bldP spid="983" grpId="6" animBg="1"/>
      <p:bldP spid="983" grpId="7" animBg="1"/>
      <p:bldP spid="983" grpId="8" animBg="1"/>
      <p:bldP spid="983" grpId="9" animBg="1"/>
      <p:bldP spid="983" grpId="10" animBg="1"/>
      <p:bldP spid="984" grpId="0" animBg="1"/>
      <p:bldP spid="984" grpId="1" animBg="1"/>
      <p:bldP spid="98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277608" cy="443295"/>
          </a:xfrm>
        </p:spPr>
        <p:txBody>
          <a:bodyPr/>
          <a:lstStyle/>
          <a:p>
            <a:r>
              <a:rPr kumimoji="1" lang="ja-JP" altLang="en-US" dirty="0" smtClean="0"/>
              <a:t>ポリシーやオブジェクトを効果的に分析</a:t>
            </a:r>
            <a:endParaRPr kumimoji="1" lang="ja-JP" altLang="en-US" dirty="0"/>
          </a:p>
        </p:txBody>
      </p:sp>
      <p:sp>
        <p:nvSpPr>
          <p:cNvPr id="3" name="Rectangle 41"/>
          <p:cNvSpPr/>
          <p:nvPr/>
        </p:nvSpPr>
        <p:spPr>
          <a:xfrm>
            <a:off x="852804" y="1512035"/>
            <a:ext cx="3125203" cy="2194671"/>
          </a:xfrm>
          <a:prstGeom prst="rect">
            <a:avLst/>
          </a:prstGeom>
          <a:solidFill>
            <a:srgbClr val="FFFFFF"/>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4" name="Rectangle 52"/>
          <p:cNvSpPr/>
          <p:nvPr/>
        </p:nvSpPr>
        <p:spPr>
          <a:xfrm>
            <a:off x="799237" y="1381153"/>
            <a:ext cx="1272932" cy="477478"/>
          </a:xfrm>
          <a:prstGeom prst="rect">
            <a:avLst/>
          </a:prstGeom>
          <a:solidFill>
            <a:srgbClr val="FFFFFF">
              <a:lumMod val="95000"/>
            </a:srgbClr>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8" name="Freeform 88"/>
          <p:cNvSpPr>
            <a:spLocks noEditPoints="1"/>
          </p:cNvSpPr>
          <p:nvPr/>
        </p:nvSpPr>
        <p:spPr bwMode="black">
          <a:xfrm>
            <a:off x="640058" y="1201005"/>
            <a:ext cx="3466450" cy="293953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9" name="Rectangle 185"/>
          <p:cNvSpPr/>
          <p:nvPr/>
        </p:nvSpPr>
        <p:spPr>
          <a:xfrm>
            <a:off x="274476" y="603196"/>
            <a:ext cx="8058149"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4"/>
          <p:cNvGrpSpPr/>
          <p:nvPr/>
        </p:nvGrpSpPr>
        <p:grpSpPr>
          <a:xfrm>
            <a:off x="4962587" y="1110052"/>
            <a:ext cx="3706139" cy="3706142"/>
            <a:chOff x="7695877" y="1819682"/>
            <a:chExt cx="4127270" cy="4127274"/>
          </a:xfrm>
        </p:grpSpPr>
        <p:sp>
          <p:nvSpPr>
            <p:cNvPr id="11" name="Oval 186"/>
            <p:cNvSpPr/>
            <p:nvPr/>
          </p:nvSpPr>
          <p:spPr>
            <a:xfrm>
              <a:off x="7695877" y="1819682"/>
              <a:ext cx="4127270" cy="4127274"/>
            </a:xfrm>
            <a:prstGeom prst="ellipse">
              <a:avLst/>
            </a:prstGeom>
            <a:solidFill>
              <a:srgbClr val="FFFFFF"/>
            </a:solidFill>
            <a:ln w="38100" cap="flat" cmpd="sng" algn="ctr">
              <a:solidFill>
                <a:sysClr val="window" lastClr="FFFFFF">
                  <a:lumMod val="65000"/>
                </a:sysClr>
              </a:solidFill>
              <a:prstDash val="solid"/>
            </a:ln>
            <a:effectLst/>
          </p:spPr>
          <p:txBody>
            <a:bodyPr rtlCol="0" anchor="ctr"/>
            <a:lstStyle/>
            <a:p>
              <a:pPr algn="ctr" defTabSz="746150">
                <a:defRPr/>
              </a:pPr>
              <a:endParaRPr lang="en-US" sz="1469" kern="0" dirty="0">
                <a:solidFill>
                  <a:srgbClr val="FFFFFF"/>
                </a:solidFill>
                <a:latin typeface="+mj-lt"/>
              </a:endParaRPr>
            </a:p>
          </p:txBody>
        </p:sp>
        <p:sp>
          <p:nvSpPr>
            <p:cNvPr id="12" name="Freeform 5"/>
            <p:cNvSpPr>
              <a:spLocks noEditPoints="1"/>
            </p:cNvSpPr>
            <p:nvPr/>
          </p:nvSpPr>
          <p:spPr bwMode="auto">
            <a:xfrm>
              <a:off x="7777374" y="1903894"/>
              <a:ext cx="3969017" cy="3975919"/>
            </a:xfrm>
            <a:custGeom>
              <a:avLst/>
              <a:gdLst>
                <a:gd name="T0" fmla="*/ 3483 w 4600"/>
                <a:gd name="T1" fmla="*/ 324 h 4608"/>
                <a:gd name="T2" fmla="*/ 1030 w 4600"/>
                <a:gd name="T3" fmla="*/ 391 h 4608"/>
                <a:gd name="T4" fmla="*/ 1224 w 4600"/>
                <a:gd name="T5" fmla="*/ 735 h 4608"/>
                <a:gd name="T6" fmla="*/ 4472 w 4600"/>
                <a:gd name="T7" fmla="*/ 2015 h 4608"/>
                <a:gd name="T8" fmla="*/ 4278 w 4600"/>
                <a:gd name="T9" fmla="*/ 1298 h 4608"/>
                <a:gd name="T10" fmla="*/ 4001 w 4600"/>
                <a:gd name="T11" fmla="*/ 836 h 4608"/>
                <a:gd name="T12" fmla="*/ 3970 w 4600"/>
                <a:gd name="T13" fmla="*/ 770 h 4608"/>
                <a:gd name="T14" fmla="*/ 3785 w 4600"/>
                <a:gd name="T15" fmla="*/ 539 h 4608"/>
                <a:gd name="T16" fmla="*/ 3551 w 4600"/>
                <a:gd name="T17" fmla="*/ 370 h 4608"/>
                <a:gd name="T18" fmla="*/ 3581 w 4600"/>
                <a:gd name="T19" fmla="*/ 432 h 4608"/>
                <a:gd name="T20" fmla="*/ 2328 w 4600"/>
                <a:gd name="T21" fmla="*/ 0 h 4608"/>
                <a:gd name="T22" fmla="*/ 1338 w 4600"/>
                <a:gd name="T23" fmla="*/ 309 h 4608"/>
                <a:gd name="T24" fmla="*/ 1071 w 4600"/>
                <a:gd name="T25" fmla="*/ 448 h 4608"/>
                <a:gd name="T26" fmla="*/ 137 w 4600"/>
                <a:gd name="T27" fmla="*/ 1519 h 4608"/>
                <a:gd name="T28" fmla="*/ 1048 w 4600"/>
                <a:gd name="T29" fmla="*/ 4231 h 4608"/>
                <a:gd name="T30" fmla="*/ 3629 w 4600"/>
                <a:gd name="T31" fmla="*/ 4183 h 4608"/>
                <a:gd name="T32" fmla="*/ 3904 w 4600"/>
                <a:gd name="T33" fmla="*/ 786 h 4608"/>
                <a:gd name="T34" fmla="*/ 3442 w 4600"/>
                <a:gd name="T35" fmla="*/ 1400 h 4608"/>
                <a:gd name="T36" fmla="*/ 2915 w 4600"/>
                <a:gd name="T37" fmla="*/ 84 h 4608"/>
                <a:gd name="T38" fmla="*/ 2930 w 4600"/>
                <a:gd name="T39" fmla="*/ 333 h 4608"/>
                <a:gd name="T40" fmla="*/ 3346 w 4600"/>
                <a:gd name="T41" fmla="*/ 544 h 4608"/>
                <a:gd name="T42" fmla="*/ 3063 w 4600"/>
                <a:gd name="T43" fmla="*/ 729 h 4608"/>
                <a:gd name="T44" fmla="*/ 2665 w 4600"/>
                <a:gd name="T45" fmla="*/ 498 h 4608"/>
                <a:gd name="T46" fmla="*/ 2752 w 4600"/>
                <a:gd name="T47" fmla="*/ 795 h 4608"/>
                <a:gd name="T48" fmla="*/ 2930 w 4600"/>
                <a:gd name="T49" fmla="*/ 816 h 4608"/>
                <a:gd name="T50" fmla="*/ 2412 w 4600"/>
                <a:gd name="T51" fmla="*/ 470 h 4608"/>
                <a:gd name="T52" fmla="*/ 2613 w 4600"/>
                <a:gd name="T53" fmla="*/ 489 h 4608"/>
                <a:gd name="T54" fmla="*/ 2449 w 4600"/>
                <a:gd name="T55" fmla="*/ 594 h 4608"/>
                <a:gd name="T56" fmla="*/ 2316 w 4600"/>
                <a:gd name="T57" fmla="*/ 631 h 4608"/>
                <a:gd name="T58" fmla="*/ 2234 w 4600"/>
                <a:gd name="T59" fmla="*/ 621 h 4608"/>
                <a:gd name="T60" fmla="*/ 1886 w 4600"/>
                <a:gd name="T61" fmla="*/ 566 h 4608"/>
                <a:gd name="T62" fmla="*/ 1967 w 4600"/>
                <a:gd name="T63" fmla="*/ 724 h 4608"/>
                <a:gd name="T64" fmla="*/ 4063 w 4600"/>
                <a:gd name="T65" fmla="*/ 3413 h 4608"/>
                <a:gd name="T66" fmla="*/ 3309 w 4600"/>
                <a:gd name="T67" fmla="*/ 4181 h 4608"/>
                <a:gd name="T68" fmla="*/ 2771 w 4600"/>
                <a:gd name="T69" fmla="*/ 4508 h 4608"/>
                <a:gd name="T70" fmla="*/ 2807 w 4600"/>
                <a:gd name="T71" fmla="*/ 4279 h 4608"/>
                <a:gd name="T72" fmla="*/ 2730 w 4600"/>
                <a:gd name="T73" fmla="*/ 3290 h 4608"/>
                <a:gd name="T74" fmla="*/ 2690 w 4600"/>
                <a:gd name="T75" fmla="*/ 2942 h 4608"/>
                <a:gd name="T76" fmla="*/ 2376 w 4600"/>
                <a:gd name="T77" fmla="*/ 2721 h 4608"/>
                <a:gd name="T78" fmla="*/ 1629 w 4600"/>
                <a:gd name="T79" fmla="*/ 2102 h 4608"/>
                <a:gd name="T80" fmla="*/ 1562 w 4600"/>
                <a:gd name="T81" fmla="*/ 2195 h 4608"/>
                <a:gd name="T82" fmla="*/ 1403 w 4600"/>
                <a:gd name="T83" fmla="*/ 1405 h 4608"/>
                <a:gd name="T84" fmla="*/ 1210 w 4600"/>
                <a:gd name="T85" fmla="*/ 775 h 4608"/>
                <a:gd name="T86" fmla="*/ 1076 w 4600"/>
                <a:gd name="T87" fmla="*/ 667 h 4608"/>
                <a:gd name="T88" fmla="*/ 1471 w 4600"/>
                <a:gd name="T89" fmla="*/ 468 h 4608"/>
                <a:gd name="T90" fmla="*/ 1967 w 4600"/>
                <a:gd name="T91" fmla="*/ 754 h 4608"/>
                <a:gd name="T92" fmla="*/ 2485 w 4600"/>
                <a:gd name="T93" fmla="*/ 775 h 4608"/>
                <a:gd name="T94" fmla="*/ 2627 w 4600"/>
                <a:gd name="T95" fmla="*/ 1252 h 4608"/>
                <a:gd name="T96" fmla="*/ 3223 w 4600"/>
                <a:gd name="T97" fmla="*/ 1154 h 4608"/>
                <a:gd name="T98" fmla="*/ 3104 w 4600"/>
                <a:gd name="T99" fmla="*/ 1517 h 4608"/>
                <a:gd name="T100" fmla="*/ 2869 w 4600"/>
                <a:gd name="T101" fmla="*/ 1743 h 4608"/>
                <a:gd name="T102" fmla="*/ 2583 w 4600"/>
                <a:gd name="T103" fmla="*/ 2113 h 4608"/>
                <a:gd name="T104" fmla="*/ 2234 w 4600"/>
                <a:gd name="T105" fmla="*/ 2547 h 4608"/>
                <a:gd name="T106" fmla="*/ 2439 w 4600"/>
                <a:gd name="T107" fmla="*/ 2650 h 4608"/>
                <a:gd name="T108" fmla="*/ 2690 w 4600"/>
                <a:gd name="T109" fmla="*/ 2911 h 4608"/>
                <a:gd name="T110" fmla="*/ 3131 w 4600"/>
                <a:gd name="T111" fmla="*/ 2830 h 4608"/>
                <a:gd name="T112" fmla="*/ 3780 w 4600"/>
                <a:gd name="T113" fmla="*/ 2947 h 4608"/>
                <a:gd name="T114" fmla="*/ 3063 w 4600"/>
                <a:gd name="T115" fmla="*/ 2522 h 4608"/>
                <a:gd name="T116" fmla="*/ 2674 w 4600"/>
                <a:gd name="T117" fmla="*/ 2378 h 4608"/>
                <a:gd name="T118" fmla="*/ 2627 w 4600"/>
                <a:gd name="T119" fmla="*/ 4519 h 4608"/>
                <a:gd name="T120" fmla="*/ 4324 w 4600"/>
                <a:gd name="T121" fmla="*/ 1266 h 4608"/>
                <a:gd name="T122" fmla="*/ 4164 w 4600"/>
                <a:gd name="T123" fmla="*/ 1001 h 4608"/>
                <a:gd name="T124" fmla="*/ 4267 w 4600"/>
                <a:gd name="T125" fmla="*/ 1119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0" h="4608">
                  <a:moveTo>
                    <a:pt x="1117" y="329"/>
                  </a:moveTo>
                  <a:lnTo>
                    <a:pt x="1101" y="345"/>
                  </a:lnTo>
                  <a:lnTo>
                    <a:pt x="1128" y="329"/>
                  </a:lnTo>
                  <a:lnTo>
                    <a:pt x="1131" y="329"/>
                  </a:lnTo>
                  <a:lnTo>
                    <a:pt x="1137" y="324"/>
                  </a:lnTo>
                  <a:lnTo>
                    <a:pt x="1117" y="329"/>
                  </a:lnTo>
                  <a:close/>
                  <a:moveTo>
                    <a:pt x="1055" y="375"/>
                  </a:moveTo>
                  <a:lnTo>
                    <a:pt x="1046" y="386"/>
                  </a:lnTo>
                  <a:lnTo>
                    <a:pt x="1066" y="381"/>
                  </a:lnTo>
                  <a:lnTo>
                    <a:pt x="1087" y="375"/>
                  </a:lnTo>
                  <a:lnTo>
                    <a:pt x="1101" y="375"/>
                  </a:lnTo>
                  <a:lnTo>
                    <a:pt x="1137" y="356"/>
                  </a:lnTo>
                  <a:lnTo>
                    <a:pt x="1142" y="345"/>
                  </a:lnTo>
                  <a:lnTo>
                    <a:pt x="1122" y="356"/>
                  </a:lnTo>
                  <a:lnTo>
                    <a:pt x="1106" y="356"/>
                  </a:lnTo>
                  <a:lnTo>
                    <a:pt x="1147" y="329"/>
                  </a:lnTo>
                  <a:lnTo>
                    <a:pt x="1163" y="320"/>
                  </a:lnTo>
                  <a:lnTo>
                    <a:pt x="1131" y="329"/>
                  </a:lnTo>
                  <a:lnTo>
                    <a:pt x="1131" y="329"/>
                  </a:lnTo>
                  <a:lnTo>
                    <a:pt x="1083" y="361"/>
                  </a:lnTo>
                  <a:lnTo>
                    <a:pt x="1035" y="391"/>
                  </a:lnTo>
                  <a:lnTo>
                    <a:pt x="1041" y="386"/>
                  </a:lnTo>
                  <a:lnTo>
                    <a:pt x="1055" y="375"/>
                  </a:lnTo>
                  <a:close/>
                  <a:moveTo>
                    <a:pt x="2787" y="4560"/>
                  </a:moveTo>
                  <a:lnTo>
                    <a:pt x="2782" y="4560"/>
                  </a:lnTo>
                  <a:lnTo>
                    <a:pt x="2777" y="4560"/>
                  </a:lnTo>
                  <a:lnTo>
                    <a:pt x="2777" y="4560"/>
                  </a:lnTo>
                  <a:lnTo>
                    <a:pt x="2750" y="4565"/>
                  </a:lnTo>
                  <a:lnTo>
                    <a:pt x="2725" y="4571"/>
                  </a:lnTo>
                  <a:lnTo>
                    <a:pt x="2700" y="4576"/>
                  </a:lnTo>
                  <a:lnTo>
                    <a:pt x="2674" y="4581"/>
                  </a:lnTo>
                  <a:lnTo>
                    <a:pt x="2674" y="4581"/>
                  </a:lnTo>
                  <a:lnTo>
                    <a:pt x="2732" y="4572"/>
                  </a:lnTo>
                  <a:lnTo>
                    <a:pt x="2761" y="4567"/>
                  </a:lnTo>
                  <a:lnTo>
                    <a:pt x="2787" y="4560"/>
                  </a:lnTo>
                  <a:lnTo>
                    <a:pt x="2787" y="4560"/>
                  </a:lnTo>
                  <a:close/>
                  <a:moveTo>
                    <a:pt x="3483" y="324"/>
                  </a:moveTo>
                  <a:lnTo>
                    <a:pt x="3483" y="324"/>
                  </a:lnTo>
                  <a:lnTo>
                    <a:pt x="3483" y="324"/>
                  </a:lnTo>
                  <a:lnTo>
                    <a:pt x="3488" y="327"/>
                  </a:lnTo>
                  <a:lnTo>
                    <a:pt x="3492" y="329"/>
                  </a:lnTo>
                  <a:lnTo>
                    <a:pt x="3504" y="334"/>
                  </a:lnTo>
                  <a:lnTo>
                    <a:pt x="3504" y="334"/>
                  </a:lnTo>
                  <a:lnTo>
                    <a:pt x="3497" y="334"/>
                  </a:lnTo>
                  <a:lnTo>
                    <a:pt x="3492" y="331"/>
                  </a:lnTo>
                  <a:lnTo>
                    <a:pt x="3483" y="324"/>
                  </a:lnTo>
                  <a:lnTo>
                    <a:pt x="3483" y="324"/>
                  </a:lnTo>
                  <a:close/>
                  <a:moveTo>
                    <a:pt x="1957" y="612"/>
                  </a:moveTo>
                  <a:lnTo>
                    <a:pt x="1978" y="606"/>
                  </a:lnTo>
                  <a:lnTo>
                    <a:pt x="1998" y="601"/>
                  </a:lnTo>
                  <a:lnTo>
                    <a:pt x="1998" y="601"/>
                  </a:lnTo>
                  <a:lnTo>
                    <a:pt x="1967" y="606"/>
                  </a:lnTo>
                  <a:lnTo>
                    <a:pt x="1957" y="612"/>
                  </a:lnTo>
                  <a:close/>
                  <a:moveTo>
                    <a:pt x="3300" y="228"/>
                  </a:moveTo>
                  <a:lnTo>
                    <a:pt x="3278" y="217"/>
                  </a:lnTo>
                  <a:lnTo>
                    <a:pt x="3278" y="217"/>
                  </a:lnTo>
                  <a:lnTo>
                    <a:pt x="3278" y="217"/>
                  </a:lnTo>
                  <a:lnTo>
                    <a:pt x="3284" y="221"/>
                  </a:lnTo>
                  <a:lnTo>
                    <a:pt x="3289" y="222"/>
                  </a:lnTo>
                  <a:lnTo>
                    <a:pt x="3294" y="224"/>
                  </a:lnTo>
                  <a:lnTo>
                    <a:pt x="3300" y="228"/>
                  </a:lnTo>
                  <a:lnTo>
                    <a:pt x="3300" y="228"/>
                  </a:lnTo>
                  <a:close/>
                  <a:moveTo>
                    <a:pt x="3551" y="365"/>
                  </a:moveTo>
                  <a:lnTo>
                    <a:pt x="3551" y="365"/>
                  </a:lnTo>
                  <a:lnTo>
                    <a:pt x="3554" y="368"/>
                  </a:lnTo>
                  <a:lnTo>
                    <a:pt x="3556" y="370"/>
                  </a:lnTo>
                  <a:lnTo>
                    <a:pt x="3561" y="370"/>
                  </a:lnTo>
                  <a:lnTo>
                    <a:pt x="3561" y="370"/>
                  </a:lnTo>
                  <a:lnTo>
                    <a:pt x="3558" y="370"/>
                  </a:lnTo>
                  <a:lnTo>
                    <a:pt x="3556" y="368"/>
                  </a:lnTo>
                  <a:lnTo>
                    <a:pt x="3554" y="366"/>
                  </a:lnTo>
                  <a:lnTo>
                    <a:pt x="3551" y="365"/>
                  </a:lnTo>
                  <a:lnTo>
                    <a:pt x="3551" y="365"/>
                  </a:lnTo>
                  <a:close/>
                  <a:moveTo>
                    <a:pt x="3561" y="370"/>
                  </a:moveTo>
                  <a:lnTo>
                    <a:pt x="3561" y="370"/>
                  </a:lnTo>
                  <a:lnTo>
                    <a:pt x="3561" y="370"/>
                  </a:lnTo>
                  <a:lnTo>
                    <a:pt x="3561" y="370"/>
                  </a:lnTo>
                  <a:close/>
                  <a:moveTo>
                    <a:pt x="1030" y="391"/>
                  </a:moveTo>
                  <a:lnTo>
                    <a:pt x="1030" y="391"/>
                  </a:lnTo>
                  <a:lnTo>
                    <a:pt x="1009" y="404"/>
                  </a:lnTo>
                  <a:lnTo>
                    <a:pt x="987" y="416"/>
                  </a:lnTo>
                  <a:lnTo>
                    <a:pt x="971" y="430"/>
                  </a:lnTo>
                  <a:lnTo>
                    <a:pt x="959" y="443"/>
                  </a:lnTo>
                  <a:lnTo>
                    <a:pt x="959" y="443"/>
                  </a:lnTo>
                  <a:lnTo>
                    <a:pt x="977" y="429"/>
                  </a:lnTo>
                  <a:lnTo>
                    <a:pt x="996" y="414"/>
                  </a:lnTo>
                  <a:lnTo>
                    <a:pt x="1030" y="391"/>
                  </a:lnTo>
                  <a:lnTo>
                    <a:pt x="1030" y="391"/>
                  </a:lnTo>
                  <a:close/>
                  <a:moveTo>
                    <a:pt x="3561" y="370"/>
                  </a:moveTo>
                  <a:lnTo>
                    <a:pt x="3570" y="381"/>
                  </a:lnTo>
                  <a:lnTo>
                    <a:pt x="3570" y="381"/>
                  </a:lnTo>
                  <a:lnTo>
                    <a:pt x="3570" y="377"/>
                  </a:lnTo>
                  <a:lnTo>
                    <a:pt x="3568" y="375"/>
                  </a:lnTo>
                  <a:lnTo>
                    <a:pt x="3561" y="370"/>
                  </a:lnTo>
                  <a:lnTo>
                    <a:pt x="3561" y="370"/>
                  </a:lnTo>
                  <a:close/>
                  <a:moveTo>
                    <a:pt x="3458" y="315"/>
                  </a:moveTo>
                  <a:lnTo>
                    <a:pt x="3458" y="315"/>
                  </a:lnTo>
                  <a:lnTo>
                    <a:pt x="3469" y="322"/>
                  </a:lnTo>
                  <a:lnTo>
                    <a:pt x="3479" y="329"/>
                  </a:lnTo>
                  <a:lnTo>
                    <a:pt x="3479" y="329"/>
                  </a:lnTo>
                  <a:lnTo>
                    <a:pt x="3474" y="324"/>
                  </a:lnTo>
                  <a:lnTo>
                    <a:pt x="3470" y="318"/>
                  </a:lnTo>
                  <a:lnTo>
                    <a:pt x="3465" y="315"/>
                  </a:lnTo>
                  <a:lnTo>
                    <a:pt x="3458" y="315"/>
                  </a:lnTo>
                  <a:lnTo>
                    <a:pt x="3458" y="315"/>
                  </a:lnTo>
                  <a:close/>
                  <a:moveTo>
                    <a:pt x="3832" y="580"/>
                  </a:moveTo>
                  <a:lnTo>
                    <a:pt x="3832" y="580"/>
                  </a:lnTo>
                  <a:lnTo>
                    <a:pt x="3817" y="567"/>
                  </a:lnTo>
                  <a:lnTo>
                    <a:pt x="3810" y="562"/>
                  </a:lnTo>
                  <a:lnTo>
                    <a:pt x="3807" y="555"/>
                  </a:lnTo>
                  <a:lnTo>
                    <a:pt x="3807" y="555"/>
                  </a:lnTo>
                  <a:lnTo>
                    <a:pt x="3814" y="560"/>
                  </a:lnTo>
                  <a:lnTo>
                    <a:pt x="3819" y="566"/>
                  </a:lnTo>
                  <a:lnTo>
                    <a:pt x="3832" y="580"/>
                  </a:lnTo>
                  <a:lnTo>
                    <a:pt x="3832" y="580"/>
                  </a:lnTo>
                  <a:close/>
                  <a:moveTo>
                    <a:pt x="1251" y="724"/>
                  </a:moveTo>
                  <a:lnTo>
                    <a:pt x="1224" y="735"/>
                  </a:lnTo>
                  <a:lnTo>
                    <a:pt x="1245" y="735"/>
                  </a:lnTo>
                  <a:lnTo>
                    <a:pt x="1251" y="724"/>
                  </a:lnTo>
                  <a:close/>
                  <a:moveTo>
                    <a:pt x="4600" y="2451"/>
                  </a:moveTo>
                  <a:lnTo>
                    <a:pt x="4600" y="2451"/>
                  </a:lnTo>
                  <a:lnTo>
                    <a:pt x="4600" y="2458"/>
                  </a:lnTo>
                  <a:lnTo>
                    <a:pt x="4598" y="2461"/>
                  </a:lnTo>
                  <a:lnTo>
                    <a:pt x="4595" y="2465"/>
                  </a:lnTo>
                  <a:lnTo>
                    <a:pt x="4595" y="2470"/>
                  </a:lnTo>
                  <a:lnTo>
                    <a:pt x="4589" y="2465"/>
                  </a:lnTo>
                  <a:lnTo>
                    <a:pt x="4586" y="2445"/>
                  </a:lnTo>
                  <a:lnTo>
                    <a:pt x="4580" y="2435"/>
                  </a:lnTo>
                  <a:lnTo>
                    <a:pt x="4575" y="2419"/>
                  </a:lnTo>
                  <a:lnTo>
                    <a:pt x="4559" y="2413"/>
                  </a:lnTo>
                  <a:lnTo>
                    <a:pt x="4559" y="2369"/>
                  </a:lnTo>
                  <a:lnTo>
                    <a:pt x="4548" y="2353"/>
                  </a:lnTo>
                  <a:lnTo>
                    <a:pt x="4545" y="2342"/>
                  </a:lnTo>
                  <a:lnTo>
                    <a:pt x="4540" y="2342"/>
                  </a:lnTo>
                  <a:lnTo>
                    <a:pt x="4534" y="2337"/>
                  </a:lnTo>
                  <a:lnTo>
                    <a:pt x="4534" y="2317"/>
                  </a:lnTo>
                  <a:lnTo>
                    <a:pt x="4529" y="2317"/>
                  </a:lnTo>
                  <a:lnTo>
                    <a:pt x="4524" y="2307"/>
                  </a:lnTo>
                  <a:lnTo>
                    <a:pt x="4518" y="2296"/>
                  </a:lnTo>
                  <a:lnTo>
                    <a:pt x="4518" y="2291"/>
                  </a:lnTo>
                  <a:lnTo>
                    <a:pt x="4513" y="2285"/>
                  </a:lnTo>
                  <a:lnTo>
                    <a:pt x="4513" y="2285"/>
                  </a:lnTo>
                  <a:lnTo>
                    <a:pt x="4511" y="2280"/>
                  </a:lnTo>
                  <a:lnTo>
                    <a:pt x="4509" y="2273"/>
                  </a:lnTo>
                  <a:lnTo>
                    <a:pt x="4508" y="2255"/>
                  </a:lnTo>
                  <a:lnTo>
                    <a:pt x="4508" y="2236"/>
                  </a:lnTo>
                  <a:lnTo>
                    <a:pt x="4499" y="2214"/>
                  </a:lnTo>
                  <a:lnTo>
                    <a:pt x="4493" y="2204"/>
                  </a:lnTo>
                  <a:lnTo>
                    <a:pt x="4499" y="2189"/>
                  </a:lnTo>
                  <a:lnTo>
                    <a:pt x="4499" y="2132"/>
                  </a:lnTo>
                  <a:lnTo>
                    <a:pt x="4493" y="2116"/>
                  </a:lnTo>
                  <a:lnTo>
                    <a:pt x="4493" y="2102"/>
                  </a:lnTo>
                  <a:lnTo>
                    <a:pt x="4488" y="2067"/>
                  </a:lnTo>
                  <a:lnTo>
                    <a:pt x="4488" y="2067"/>
                  </a:lnTo>
                  <a:lnTo>
                    <a:pt x="4481" y="2038"/>
                  </a:lnTo>
                  <a:lnTo>
                    <a:pt x="4472" y="2015"/>
                  </a:lnTo>
                  <a:lnTo>
                    <a:pt x="4467" y="1994"/>
                  </a:lnTo>
                  <a:lnTo>
                    <a:pt x="4461" y="1979"/>
                  </a:lnTo>
                  <a:lnTo>
                    <a:pt x="4452" y="1969"/>
                  </a:lnTo>
                  <a:lnTo>
                    <a:pt x="4452" y="1969"/>
                  </a:lnTo>
                  <a:lnTo>
                    <a:pt x="4449" y="1962"/>
                  </a:lnTo>
                  <a:lnTo>
                    <a:pt x="4447" y="1953"/>
                  </a:lnTo>
                  <a:lnTo>
                    <a:pt x="4445" y="1946"/>
                  </a:lnTo>
                  <a:lnTo>
                    <a:pt x="4442" y="1939"/>
                  </a:lnTo>
                  <a:lnTo>
                    <a:pt x="4442" y="1901"/>
                  </a:lnTo>
                  <a:lnTo>
                    <a:pt x="4436" y="1892"/>
                  </a:lnTo>
                  <a:lnTo>
                    <a:pt x="4431" y="1866"/>
                  </a:lnTo>
                  <a:lnTo>
                    <a:pt x="4431" y="1830"/>
                  </a:lnTo>
                  <a:lnTo>
                    <a:pt x="4426" y="1810"/>
                  </a:lnTo>
                  <a:lnTo>
                    <a:pt x="4420" y="1784"/>
                  </a:lnTo>
                  <a:lnTo>
                    <a:pt x="4417" y="1759"/>
                  </a:lnTo>
                  <a:lnTo>
                    <a:pt x="4417" y="1738"/>
                  </a:lnTo>
                  <a:lnTo>
                    <a:pt x="4406" y="1697"/>
                  </a:lnTo>
                  <a:lnTo>
                    <a:pt x="4406" y="1677"/>
                  </a:lnTo>
                  <a:lnTo>
                    <a:pt x="4411" y="1661"/>
                  </a:lnTo>
                  <a:lnTo>
                    <a:pt x="4406" y="1626"/>
                  </a:lnTo>
                  <a:lnTo>
                    <a:pt x="4406" y="1563"/>
                  </a:lnTo>
                  <a:lnTo>
                    <a:pt x="4385" y="1522"/>
                  </a:lnTo>
                  <a:lnTo>
                    <a:pt x="4385" y="1522"/>
                  </a:lnTo>
                  <a:lnTo>
                    <a:pt x="4381" y="1508"/>
                  </a:lnTo>
                  <a:lnTo>
                    <a:pt x="4376" y="1496"/>
                  </a:lnTo>
                  <a:lnTo>
                    <a:pt x="4365" y="1473"/>
                  </a:lnTo>
                  <a:lnTo>
                    <a:pt x="4355" y="1441"/>
                  </a:lnTo>
                  <a:lnTo>
                    <a:pt x="4355" y="1441"/>
                  </a:lnTo>
                  <a:lnTo>
                    <a:pt x="4355" y="1428"/>
                  </a:lnTo>
                  <a:lnTo>
                    <a:pt x="4351" y="1416"/>
                  </a:lnTo>
                  <a:lnTo>
                    <a:pt x="4344" y="1389"/>
                  </a:lnTo>
                  <a:lnTo>
                    <a:pt x="4344" y="1389"/>
                  </a:lnTo>
                  <a:lnTo>
                    <a:pt x="4330" y="1359"/>
                  </a:lnTo>
                  <a:lnTo>
                    <a:pt x="4323" y="1341"/>
                  </a:lnTo>
                  <a:lnTo>
                    <a:pt x="4319" y="1323"/>
                  </a:lnTo>
                  <a:lnTo>
                    <a:pt x="4319" y="1313"/>
                  </a:lnTo>
                  <a:lnTo>
                    <a:pt x="4303" y="1318"/>
                  </a:lnTo>
                  <a:lnTo>
                    <a:pt x="4292" y="1313"/>
                  </a:lnTo>
                  <a:lnTo>
                    <a:pt x="4278" y="1298"/>
                  </a:lnTo>
                  <a:lnTo>
                    <a:pt x="4273" y="1304"/>
                  </a:lnTo>
                  <a:lnTo>
                    <a:pt x="4278" y="1318"/>
                  </a:lnTo>
                  <a:lnTo>
                    <a:pt x="4273" y="1318"/>
                  </a:lnTo>
                  <a:lnTo>
                    <a:pt x="4273" y="1329"/>
                  </a:lnTo>
                  <a:lnTo>
                    <a:pt x="4257" y="1304"/>
                  </a:lnTo>
                  <a:lnTo>
                    <a:pt x="4242" y="1282"/>
                  </a:lnTo>
                  <a:lnTo>
                    <a:pt x="4232" y="1272"/>
                  </a:lnTo>
                  <a:lnTo>
                    <a:pt x="4242" y="1252"/>
                  </a:lnTo>
                  <a:lnTo>
                    <a:pt x="4237" y="1236"/>
                  </a:lnTo>
                  <a:lnTo>
                    <a:pt x="4237" y="1236"/>
                  </a:lnTo>
                  <a:lnTo>
                    <a:pt x="4226" y="1220"/>
                  </a:lnTo>
                  <a:lnTo>
                    <a:pt x="4216" y="1206"/>
                  </a:lnTo>
                  <a:lnTo>
                    <a:pt x="4205" y="1190"/>
                  </a:lnTo>
                  <a:lnTo>
                    <a:pt x="4202" y="1184"/>
                  </a:lnTo>
                  <a:lnTo>
                    <a:pt x="4202" y="1184"/>
                  </a:lnTo>
                  <a:lnTo>
                    <a:pt x="4194" y="1177"/>
                  </a:lnTo>
                  <a:lnTo>
                    <a:pt x="4189" y="1170"/>
                  </a:lnTo>
                  <a:lnTo>
                    <a:pt x="4180" y="1154"/>
                  </a:lnTo>
                  <a:lnTo>
                    <a:pt x="4170" y="1144"/>
                  </a:lnTo>
                  <a:lnTo>
                    <a:pt x="4161" y="1108"/>
                  </a:lnTo>
                  <a:lnTo>
                    <a:pt x="4170" y="1097"/>
                  </a:lnTo>
                  <a:lnTo>
                    <a:pt x="4175" y="1083"/>
                  </a:lnTo>
                  <a:lnTo>
                    <a:pt x="4180" y="1078"/>
                  </a:lnTo>
                  <a:lnTo>
                    <a:pt x="4180" y="1048"/>
                  </a:lnTo>
                  <a:lnTo>
                    <a:pt x="4164" y="1026"/>
                  </a:lnTo>
                  <a:lnTo>
                    <a:pt x="4120" y="964"/>
                  </a:lnTo>
                  <a:lnTo>
                    <a:pt x="4098" y="944"/>
                  </a:lnTo>
                  <a:lnTo>
                    <a:pt x="4082" y="939"/>
                  </a:lnTo>
                  <a:lnTo>
                    <a:pt x="4073" y="944"/>
                  </a:lnTo>
                  <a:lnTo>
                    <a:pt x="4052" y="923"/>
                  </a:lnTo>
                  <a:lnTo>
                    <a:pt x="4047" y="914"/>
                  </a:lnTo>
                  <a:lnTo>
                    <a:pt x="4057" y="903"/>
                  </a:lnTo>
                  <a:lnTo>
                    <a:pt x="4033" y="877"/>
                  </a:lnTo>
                  <a:lnTo>
                    <a:pt x="4041" y="877"/>
                  </a:lnTo>
                  <a:lnTo>
                    <a:pt x="4022" y="832"/>
                  </a:lnTo>
                  <a:lnTo>
                    <a:pt x="4001" y="811"/>
                  </a:lnTo>
                  <a:lnTo>
                    <a:pt x="4001" y="816"/>
                  </a:lnTo>
                  <a:lnTo>
                    <a:pt x="4006" y="836"/>
                  </a:lnTo>
                  <a:lnTo>
                    <a:pt x="4001" y="836"/>
                  </a:lnTo>
                  <a:lnTo>
                    <a:pt x="4011" y="857"/>
                  </a:lnTo>
                  <a:lnTo>
                    <a:pt x="4006" y="863"/>
                  </a:lnTo>
                  <a:lnTo>
                    <a:pt x="4017" y="882"/>
                  </a:lnTo>
                  <a:lnTo>
                    <a:pt x="4011" y="882"/>
                  </a:lnTo>
                  <a:lnTo>
                    <a:pt x="3992" y="841"/>
                  </a:lnTo>
                  <a:lnTo>
                    <a:pt x="3986" y="827"/>
                  </a:lnTo>
                  <a:lnTo>
                    <a:pt x="3981" y="836"/>
                  </a:lnTo>
                  <a:lnTo>
                    <a:pt x="3965" y="827"/>
                  </a:lnTo>
                  <a:lnTo>
                    <a:pt x="3960" y="806"/>
                  </a:lnTo>
                  <a:lnTo>
                    <a:pt x="3945" y="816"/>
                  </a:lnTo>
                  <a:lnTo>
                    <a:pt x="3924" y="795"/>
                  </a:lnTo>
                  <a:lnTo>
                    <a:pt x="3929" y="781"/>
                  </a:lnTo>
                  <a:lnTo>
                    <a:pt x="3919" y="770"/>
                  </a:lnTo>
                  <a:lnTo>
                    <a:pt x="3899" y="759"/>
                  </a:lnTo>
                  <a:lnTo>
                    <a:pt x="3899" y="770"/>
                  </a:lnTo>
                  <a:lnTo>
                    <a:pt x="3888" y="765"/>
                  </a:lnTo>
                  <a:lnTo>
                    <a:pt x="3872" y="749"/>
                  </a:lnTo>
                  <a:lnTo>
                    <a:pt x="3864" y="745"/>
                  </a:lnTo>
                  <a:lnTo>
                    <a:pt x="3878" y="765"/>
                  </a:lnTo>
                  <a:lnTo>
                    <a:pt x="3853" y="745"/>
                  </a:lnTo>
                  <a:lnTo>
                    <a:pt x="3837" y="735"/>
                  </a:lnTo>
                  <a:lnTo>
                    <a:pt x="3812" y="708"/>
                  </a:lnTo>
                  <a:lnTo>
                    <a:pt x="3785" y="672"/>
                  </a:lnTo>
                  <a:lnTo>
                    <a:pt x="3785" y="658"/>
                  </a:lnTo>
                  <a:lnTo>
                    <a:pt x="3812" y="694"/>
                  </a:lnTo>
                  <a:lnTo>
                    <a:pt x="3807" y="678"/>
                  </a:lnTo>
                  <a:lnTo>
                    <a:pt x="3807" y="667"/>
                  </a:lnTo>
                  <a:lnTo>
                    <a:pt x="3826" y="688"/>
                  </a:lnTo>
                  <a:lnTo>
                    <a:pt x="3848" y="713"/>
                  </a:lnTo>
                  <a:lnTo>
                    <a:pt x="3853" y="704"/>
                  </a:lnTo>
                  <a:lnTo>
                    <a:pt x="3888" y="724"/>
                  </a:lnTo>
                  <a:lnTo>
                    <a:pt x="3894" y="718"/>
                  </a:lnTo>
                  <a:lnTo>
                    <a:pt x="3894" y="718"/>
                  </a:lnTo>
                  <a:lnTo>
                    <a:pt x="3913" y="733"/>
                  </a:lnTo>
                  <a:lnTo>
                    <a:pt x="3924" y="740"/>
                  </a:lnTo>
                  <a:lnTo>
                    <a:pt x="3935" y="745"/>
                  </a:lnTo>
                  <a:lnTo>
                    <a:pt x="3940" y="735"/>
                  </a:lnTo>
                  <a:lnTo>
                    <a:pt x="3960" y="754"/>
                  </a:lnTo>
                  <a:lnTo>
                    <a:pt x="3970" y="770"/>
                  </a:lnTo>
                  <a:lnTo>
                    <a:pt x="3981" y="775"/>
                  </a:lnTo>
                  <a:lnTo>
                    <a:pt x="3976" y="770"/>
                  </a:lnTo>
                  <a:lnTo>
                    <a:pt x="3929" y="718"/>
                  </a:lnTo>
                  <a:lnTo>
                    <a:pt x="3913" y="699"/>
                  </a:lnTo>
                  <a:lnTo>
                    <a:pt x="3908" y="688"/>
                  </a:lnTo>
                  <a:lnTo>
                    <a:pt x="3904" y="683"/>
                  </a:lnTo>
                  <a:lnTo>
                    <a:pt x="3899" y="672"/>
                  </a:lnTo>
                  <a:lnTo>
                    <a:pt x="3883" y="658"/>
                  </a:lnTo>
                  <a:lnTo>
                    <a:pt x="3883" y="658"/>
                  </a:lnTo>
                  <a:lnTo>
                    <a:pt x="3876" y="653"/>
                  </a:lnTo>
                  <a:lnTo>
                    <a:pt x="3869" y="647"/>
                  </a:lnTo>
                  <a:lnTo>
                    <a:pt x="3865" y="642"/>
                  </a:lnTo>
                  <a:lnTo>
                    <a:pt x="3864" y="637"/>
                  </a:lnTo>
                  <a:lnTo>
                    <a:pt x="3848" y="626"/>
                  </a:lnTo>
                  <a:lnTo>
                    <a:pt x="3848" y="626"/>
                  </a:lnTo>
                  <a:lnTo>
                    <a:pt x="3835" y="617"/>
                  </a:lnTo>
                  <a:lnTo>
                    <a:pt x="3824" y="608"/>
                  </a:lnTo>
                  <a:lnTo>
                    <a:pt x="3812" y="601"/>
                  </a:lnTo>
                  <a:lnTo>
                    <a:pt x="3801" y="590"/>
                  </a:lnTo>
                  <a:lnTo>
                    <a:pt x="3796" y="580"/>
                  </a:lnTo>
                  <a:lnTo>
                    <a:pt x="3796" y="580"/>
                  </a:lnTo>
                  <a:lnTo>
                    <a:pt x="3776" y="560"/>
                  </a:lnTo>
                  <a:lnTo>
                    <a:pt x="3791" y="571"/>
                  </a:lnTo>
                  <a:lnTo>
                    <a:pt x="3801" y="580"/>
                  </a:lnTo>
                  <a:lnTo>
                    <a:pt x="3812" y="585"/>
                  </a:lnTo>
                  <a:lnTo>
                    <a:pt x="3826" y="596"/>
                  </a:lnTo>
                  <a:lnTo>
                    <a:pt x="3848" y="617"/>
                  </a:lnTo>
                  <a:lnTo>
                    <a:pt x="3864" y="626"/>
                  </a:lnTo>
                  <a:lnTo>
                    <a:pt x="3872" y="637"/>
                  </a:lnTo>
                  <a:lnTo>
                    <a:pt x="3872" y="631"/>
                  </a:lnTo>
                  <a:lnTo>
                    <a:pt x="3883" y="642"/>
                  </a:lnTo>
                  <a:lnTo>
                    <a:pt x="3872" y="626"/>
                  </a:lnTo>
                  <a:lnTo>
                    <a:pt x="3864" y="617"/>
                  </a:lnTo>
                  <a:lnTo>
                    <a:pt x="3867" y="617"/>
                  </a:lnTo>
                  <a:lnTo>
                    <a:pt x="3832" y="585"/>
                  </a:lnTo>
                  <a:lnTo>
                    <a:pt x="3832" y="580"/>
                  </a:lnTo>
                  <a:lnTo>
                    <a:pt x="3807" y="555"/>
                  </a:lnTo>
                  <a:lnTo>
                    <a:pt x="3801" y="550"/>
                  </a:lnTo>
                  <a:lnTo>
                    <a:pt x="3785" y="539"/>
                  </a:lnTo>
                  <a:lnTo>
                    <a:pt x="3785" y="539"/>
                  </a:lnTo>
                  <a:lnTo>
                    <a:pt x="3784" y="539"/>
                  </a:lnTo>
                  <a:lnTo>
                    <a:pt x="3780" y="537"/>
                  </a:lnTo>
                  <a:lnTo>
                    <a:pt x="3778" y="535"/>
                  </a:lnTo>
                  <a:lnTo>
                    <a:pt x="3776" y="535"/>
                  </a:lnTo>
                  <a:lnTo>
                    <a:pt x="3760" y="519"/>
                  </a:lnTo>
                  <a:lnTo>
                    <a:pt x="3760" y="519"/>
                  </a:lnTo>
                  <a:lnTo>
                    <a:pt x="3743" y="503"/>
                  </a:lnTo>
                  <a:lnTo>
                    <a:pt x="3725" y="489"/>
                  </a:lnTo>
                  <a:lnTo>
                    <a:pt x="3725" y="489"/>
                  </a:lnTo>
                  <a:lnTo>
                    <a:pt x="3743" y="503"/>
                  </a:lnTo>
                  <a:lnTo>
                    <a:pt x="3760" y="519"/>
                  </a:lnTo>
                  <a:lnTo>
                    <a:pt x="3760" y="519"/>
                  </a:lnTo>
                  <a:lnTo>
                    <a:pt x="3764" y="521"/>
                  </a:lnTo>
                  <a:lnTo>
                    <a:pt x="3768" y="525"/>
                  </a:lnTo>
                  <a:lnTo>
                    <a:pt x="3776" y="535"/>
                  </a:lnTo>
                  <a:lnTo>
                    <a:pt x="3776" y="535"/>
                  </a:lnTo>
                  <a:lnTo>
                    <a:pt x="3780" y="535"/>
                  </a:lnTo>
                  <a:lnTo>
                    <a:pt x="3785" y="539"/>
                  </a:lnTo>
                  <a:lnTo>
                    <a:pt x="3785" y="539"/>
                  </a:lnTo>
                  <a:lnTo>
                    <a:pt x="3789" y="541"/>
                  </a:lnTo>
                  <a:lnTo>
                    <a:pt x="3794" y="542"/>
                  </a:lnTo>
                  <a:lnTo>
                    <a:pt x="3801" y="550"/>
                  </a:lnTo>
                  <a:lnTo>
                    <a:pt x="3807" y="550"/>
                  </a:lnTo>
                  <a:lnTo>
                    <a:pt x="3807" y="550"/>
                  </a:lnTo>
                  <a:lnTo>
                    <a:pt x="3780" y="526"/>
                  </a:lnTo>
                  <a:lnTo>
                    <a:pt x="3752" y="503"/>
                  </a:lnTo>
                  <a:lnTo>
                    <a:pt x="3695" y="459"/>
                  </a:lnTo>
                  <a:lnTo>
                    <a:pt x="3636" y="418"/>
                  </a:lnTo>
                  <a:lnTo>
                    <a:pt x="3575" y="375"/>
                  </a:lnTo>
                  <a:lnTo>
                    <a:pt x="3575" y="375"/>
                  </a:lnTo>
                  <a:lnTo>
                    <a:pt x="3602" y="393"/>
                  </a:lnTo>
                  <a:lnTo>
                    <a:pt x="3627" y="411"/>
                  </a:lnTo>
                  <a:lnTo>
                    <a:pt x="3616" y="411"/>
                  </a:lnTo>
                  <a:lnTo>
                    <a:pt x="3611" y="407"/>
                  </a:lnTo>
                  <a:lnTo>
                    <a:pt x="3616" y="411"/>
                  </a:lnTo>
                  <a:lnTo>
                    <a:pt x="3616" y="411"/>
                  </a:lnTo>
                  <a:lnTo>
                    <a:pt x="3616" y="411"/>
                  </a:lnTo>
                  <a:lnTo>
                    <a:pt x="3551" y="370"/>
                  </a:lnTo>
                  <a:lnTo>
                    <a:pt x="3517" y="347"/>
                  </a:lnTo>
                  <a:lnTo>
                    <a:pt x="3483" y="324"/>
                  </a:lnTo>
                  <a:lnTo>
                    <a:pt x="3483" y="324"/>
                  </a:lnTo>
                  <a:lnTo>
                    <a:pt x="3474" y="317"/>
                  </a:lnTo>
                  <a:lnTo>
                    <a:pt x="3463" y="309"/>
                  </a:lnTo>
                  <a:lnTo>
                    <a:pt x="3458" y="315"/>
                  </a:lnTo>
                  <a:lnTo>
                    <a:pt x="3458" y="315"/>
                  </a:lnTo>
                  <a:lnTo>
                    <a:pt x="3485" y="331"/>
                  </a:lnTo>
                  <a:lnTo>
                    <a:pt x="3499" y="340"/>
                  </a:lnTo>
                  <a:lnTo>
                    <a:pt x="3515" y="350"/>
                  </a:lnTo>
                  <a:lnTo>
                    <a:pt x="3515" y="350"/>
                  </a:lnTo>
                  <a:lnTo>
                    <a:pt x="3545" y="370"/>
                  </a:lnTo>
                  <a:lnTo>
                    <a:pt x="3574" y="391"/>
                  </a:lnTo>
                  <a:lnTo>
                    <a:pt x="3602" y="413"/>
                  </a:lnTo>
                  <a:lnTo>
                    <a:pt x="3632" y="432"/>
                  </a:lnTo>
                  <a:lnTo>
                    <a:pt x="3648" y="443"/>
                  </a:lnTo>
                  <a:lnTo>
                    <a:pt x="3657" y="448"/>
                  </a:lnTo>
                  <a:lnTo>
                    <a:pt x="3693" y="473"/>
                  </a:lnTo>
                  <a:lnTo>
                    <a:pt x="3709" y="489"/>
                  </a:lnTo>
                  <a:lnTo>
                    <a:pt x="3709" y="489"/>
                  </a:lnTo>
                  <a:lnTo>
                    <a:pt x="3785" y="550"/>
                  </a:lnTo>
                  <a:lnTo>
                    <a:pt x="3791" y="560"/>
                  </a:lnTo>
                  <a:lnTo>
                    <a:pt x="3801" y="571"/>
                  </a:lnTo>
                  <a:lnTo>
                    <a:pt x="3801" y="571"/>
                  </a:lnTo>
                  <a:lnTo>
                    <a:pt x="3785" y="560"/>
                  </a:lnTo>
                  <a:lnTo>
                    <a:pt x="3771" y="551"/>
                  </a:lnTo>
                  <a:lnTo>
                    <a:pt x="3739" y="535"/>
                  </a:lnTo>
                  <a:lnTo>
                    <a:pt x="3725" y="530"/>
                  </a:lnTo>
                  <a:lnTo>
                    <a:pt x="3766" y="571"/>
                  </a:lnTo>
                  <a:lnTo>
                    <a:pt x="3780" y="590"/>
                  </a:lnTo>
                  <a:lnTo>
                    <a:pt x="3771" y="590"/>
                  </a:lnTo>
                  <a:lnTo>
                    <a:pt x="3771" y="590"/>
                  </a:lnTo>
                  <a:lnTo>
                    <a:pt x="3721" y="560"/>
                  </a:lnTo>
                  <a:lnTo>
                    <a:pt x="3696" y="542"/>
                  </a:lnTo>
                  <a:lnTo>
                    <a:pt x="3673" y="525"/>
                  </a:lnTo>
                  <a:lnTo>
                    <a:pt x="3652" y="503"/>
                  </a:lnTo>
                  <a:lnTo>
                    <a:pt x="3622" y="462"/>
                  </a:lnTo>
                  <a:lnTo>
                    <a:pt x="3581" y="432"/>
                  </a:lnTo>
                  <a:lnTo>
                    <a:pt x="3581" y="432"/>
                  </a:lnTo>
                  <a:lnTo>
                    <a:pt x="3554" y="411"/>
                  </a:lnTo>
                  <a:lnTo>
                    <a:pt x="3524" y="391"/>
                  </a:lnTo>
                  <a:lnTo>
                    <a:pt x="3465" y="350"/>
                  </a:lnTo>
                  <a:lnTo>
                    <a:pt x="3341" y="274"/>
                  </a:lnTo>
                  <a:lnTo>
                    <a:pt x="3330" y="258"/>
                  </a:lnTo>
                  <a:lnTo>
                    <a:pt x="3294" y="237"/>
                  </a:lnTo>
                  <a:lnTo>
                    <a:pt x="3278" y="233"/>
                  </a:lnTo>
                  <a:lnTo>
                    <a:pt x="3259" y="217"/>
                  </a:lnTo>
                  <a:lnTo>
                    <a:pt x="3248" y="206"/>
                  </a:lnTo>
                  <a:lnTo>
                    <a:pt x="3268" y="217"/>
                  </a:lnTo>
                  <a:lnTo>
                    <a:pt x="3278" y="217"/>
                  </a:lnTo>
                  <a:lnTo>
                    <a:pt x="3278" y="217"/>
                  </a:lnTo>
                  <a:lnTo>
                    <a:pt x="3252" y="206"/>
                  </a:lnTo>
                  <a:lnTo>
                    <a:pt x="3223" y="192"/>
                  </a:lnTo>
                  <a:lnTo>
                    <a:pt x="3278" y="217"/>
                  </a:lnTo>
                  <a:lnTo>
                    <a:pt x="3278" y="217"/>
                  </a:lnTo>
                  <a:lnTo>
                    <a:pt x="3259" y="206"/>
                  </a:lnTo>
                  <a:lnTo>
                    <a:pt x="3259" y="206"/>
                  </a:lnTo>
                  <a:lnTo>
                    <a:pt x="3248" y="203"/>
                  </a:lnTo>
                  <a:lnTo>
                    <a:pt x="3241" y="196"/>
                  </a:lnTo>
                  <a:lnTo>
                    <a:pt x="3232" y="190"/>
                  </a:lnTo>
                  <a:lnTo>
                    <a:pt x="3223" y="187"/>
                  </a:lnTo>
                  <a:lnTo>
                    <a:pt x="3223" y="187"/>
                  </a:lnTo>
                  <a:lnTo>
                    <a:pt x="3145" y="153"/>
                  </a:lnTo>
                  <a:lnTo>
                    <a:pt x="3068" y="124"/>
                  </a:lnTo>
                  <a:lnTo>
                    <a:pt x="2990" y="98"/>
                  </a:lnTo>
                  <a:lnTo>
                    <a:pt x="2910" y="73"/>
                  </a:lnTo>
                  <a:lnTo>
                    <a:pt x="2910" y="73"/>
                  </a:lnTo>
                  <a:lnTo>
                    <a:pt x="2860" y="60"/>
                  </a:lnTo>
                  <a:lnTo>
                    <a:pt x="2809" y="48"/>
                  </a:lnTo>
                  <a:lnTo>
                    <a:pt x="2706" y="27"/>
                  </a:lnTo>
                  <a:lnTo>
                    <a:pt x="2706" y="27"/>
                  </a:lnTo>
                  <a:lnTo>
                    <a:pt x="2652" y="20"/>
                  </a:lnTo>
                  <a:lnTo>
                    <a:pt x="2599" y="14"/>
                  </a:lnTo>
                  <a:lnTo>
                    <a:pt x="2545" y="9"/>
                  </a:lnTo>
                  <a:lnTo>
                    <a:pt x="2490" y="5"/>
                  </a:lnTo>
                  <a:lnTo>
                    <a:pt x="2437" y="2"/>
                  </a:lnTo>
                  <a:lnTo>
                    <a:pt x="2384" y="2"/>
                  </a:lnTo>
                  <a:lnTo>
                    <a:pt x="2328" y="0"/>
                  </a:lnTo>
                  <a:lnTo>
                    <a:pt x="2275" y="2"/>
                  </a:lnTo>
                  <a:lnTo>
                    <a:pt x="2220" y="4"/>
                  </a:lnTo>
                  <a:lnTo>
                    <a:pt x="2167" y="5"/>
                  </a:lnTo>
                  <a:lnTo>
                    <a:pt x="2111" y="11"/>
                  </a:lnTo>
                  <a:lnTo>
                    <a:pt x="2058" y="16"/>
                  </a:lnTo>
                  <a:lnTo>
                    <a:pt x="2005" y="21"/>
                  </a:lnTo>
                  <a:lnTo>
                    <a:pt x="1951" y="28"/>
                  </a:lnTo>
                  <a:lnTo>
                    <a:pt x="1898" y="37"/>
                  </a:lnTo>
                  <a:lnTo>
                    <a:pt x="1845" y="48"/>
                  </a:lnTo>
                  <a:lnTo>
                    <a:pt x="1845" y="48"/>
                  </a:lnTo>
                  <a:lnTo>
                    <a:pt x="1770" y="64"/>
                  </a:lnTo>
                  <a:lnTo>
                    <a:pt x="1733" y="73"/>
                  </a:lnTo>
                  <a:lnTo>
                    <a:pt x="1695" y="84"/>
                  </a:lnTo>
                  <a:lnTo>
                    <a:pt x="1706" y="84"/>
                  </a:lnTo>
                  <a:lnTo>
                    <a:pt x="1676" y="94"/>
                  </a:lnTo>
                  <a:lnTo>
                    <a:pt x="1676" y="94"/>
                  </a:lnTo>
                  <a:lnTo>
                    <a:pt x="1667" y="94"/>
                  </a:lnTo>
                  <a:lnTo>
                    <a:pt x="1660" y="96"/>
                  </a:lnTo>
                  <a:lnTo>
                    <a:pt x="1653" y="98"/>
                  </a:lnTo>
                  <a:lnTo>
                    <a:pt x="1644" y="100"/>
                  </a:lnTo>
                  <a:lnTo>
                    <a:pt x="1644" y="114"/>
                  </a:lnTo>
                  <a:lnTo>
                    <a:pt x="1558" y="146"/>
                  </a:lnTo>
                  <a:lnTo>
                    <a:pt x="1558" y="146"/>
                  </a:lnTo>
                  <a:lnTo>
                    <a:pt x="1521" y="160"/>
                  </a:lnTo>
                  <a:lnTo>
                    <a:pt x="1475" y="181"/>
                  </a:lnTo>
                  <a:lnTo>
                    <a:pt x="1450" y="206"/>
                  </a:lnTo>
                  <a:lnTo>
                    <a:pt x="1430" y="217"/>
                  </a:lnTo>
                  <a:lnTo>
                    <a:pt x="1409" y="228"/>
                  </a:lnTo>
                  <a:lnTo>
                    <a:pt x="1387" y="237"/>
                  </a:lnTo>
                  <a:lnTo>
                    <a:pt x="1368" y="247"/>
                  </a:lnTo>
                  <a:lnTo>
                    <a:pt x="1368" y="253"/>
                  </a:lnTo>
                  <a:lnTo>
                    <a:pt x="1357" y="263"/>
                  </a:lnTo>
                  <a:lnTo>
                    <a:pt x="1343" y="279"/>
                  </a:lnTo>
                  <a:lnTo>
                    <a:pt x="1343" y="293"/>
                  </a:lnTo>
                  <a:lnTo>
                    <a:pt x="1306" y="315"/>
                  </a:lnTo>
                  <a:lnTo>
                    <a:pt x="1316" y="320"/>
                  </a:lnTo>
                  <a:lnTo>
                    <a:pt x="1338" y="304"/>
                  </a:lnTo>
                  <a:lnTo>
                    <a:pt x="1352" y="299"/>
                  </a:lnTo>
                  <a:lnTo>
                    <a:pt x="1338" y="309"/>
                  </a:lnTo>
                  <a:lnTo>
                    <a:pt x="1338" y="324"/>
                  </a:lnTo>
                  <a:lnTo>
                    <a:pt x="1316" y="350"/>
                  </a:lnTo>
                  <a:lnTo>
                    <a:pt x="1302" y="365"/>
                  </a:lnTo>
                  <a:lnTo>
                    <a:pt x="1302" y="365"/>
                  </a:lnTo>
                  <a:lnTo>
                    <a:pt x="1288" y="381"/>
                  </a:lnTo>
                  <a:lnTo>
                    <a:pt x="1275" y="397"/>
                  </a:lnTo>
                  <a:lnTo>
                    <a:pt x="1263" y="414"/>
                  </a:lnTo>
                  <a:lnTo>
                    <a:pt x="1251" y="432"/>
                  </a:lnTo>
                  <a:lnTo>
                    <a:pt x="1229" y="443"/>
                  </a:lnTo>
                  <a:lnTo>
                    <a:pt x="1224" y="452"/>
                  </a:lnTo>
                  <a:lnTo>
                    <a:pt x="1245" y="438"/>
                  </a:lnTo>
                  <a:lnTo>
                    <a:pt x="1251" y="457"/>
                  </a:lnTo>
                  <a:lnTo>
                    <a:pt x="1229" y="489"/>
                  </a:lnTo>
                  <a:lnTo>
                    <a:pt x="1210" y="489"/>
                  </a:lnTo>
                  <a:lnTo>
                    <a:pt x="1194" y="478"/>
                  </a:lnTo>
                  <a:lnTo>
                    <a:pt x="1163" y="498"/>
                  </a:lnTo>
                  <a:lnTo>
                    <a:pt x="1153" y="498"/>
                  </a:lnTo>
                  <a:lnTo>
                    <a:pt x="1153" y="489"/>
                  </a:lnTo>
                  <a:lnTo>
                    <a:pt x="1163" y="473"/>
                  </a:lnTo>
                  <a:lnTo>
                    <a:pt x="1169" y="457"/>
                  </a:lnTo>
                  <a:lnTo>
                    <a:pt x="1183" y="448"/>
                  </a:lnTo>
                  <a:lnTo>
                    <a:pt x="1188" y="438"/>
                  </a:lnTo>
                  <a:lnTo>
                    <a:pt x="1183" y="432"/>
                  </a:lnTo>
                  <a:lnTo>
                    <a:pt x="1199" y="416"/>
                  </a:lnTo>
                  <a:lnTo>
                    <a:pt x="1215" y="411"/>
                  </a:lnTo>
                  <a:lnTo>
                    <a:pt x="1199" y="407"/>
                  </a:lnTo>
                  <a:lnTo>
                    <a:pt x="1183" y="421"/>
                  </a:lnTo>
                  <a:lnTo>
                    <a:pt x="1169" y="427"/>
                  </a:lnTo>
                  <a:lnTo>
                    <a:pt x="1169" y="427"/>
                  </a:lnTo>
                  <a:lnTo>
                    <a:pt x="1163" y="427"/>
                  </a:lnTo>
                  <a:lnTo>
                    <a:pt x="1147" y="427"/>
                  </a:lnTo>
                  <a:lnTo>
                    <a:pt x="1153" y="416"/>
                  </a:lnTo>
                  <a:lnTo>
                    <a:pt x="1131" y="438"/>
                  </a:lnTo>
                  <a:lnTo>
                    <a:pt x="1112" y="462"/>
                  </a:lnTo>
                  <a:lnTo>
                    <a:pt x="1106" y="462"/>
                  </a:lnTo>
                  <a:lnTo>
                    <a:pt x="1090" y="473"/>
                  </a:lnTo>
                  <a:lnTo>
                    <a:pt x="1082" y="478"/>
                  </a:lnTo>
                  <a:lnTo>
                    <a:pt x="1090" y="457"/>
                  </a:lnTo>
                  <a:lnTo>
                    <a:pt x="1071" y="448"/>
                  </a:lnTo>
                  <a:lnTo>
                    <a:pt x="1071" y="443"/>
                  </a:lnTo>
                  <a:lnTo>
                    <a:pt x="1041" y="443"/>
                  </a:lnTo>
                  <a:lnTo>
                    <a:pt x="1025" y="448"/>
                  </a:lnTo>
                  <a:lnTo>
                    <a:pt x="1049" y="427"/>
                  </a:lnTo>
                  <a:lnTo>
                    <a:pt x="1035" y="416"/>
                  </a:lnTo>
                  <a:lnTo>
                    <a:pt x="1049" y="407"/>
                  </a:lnTo>
                  <a:lnTo>
                    <a:pt x="1041" y="407"/>
                  </a:lnTo>
                  <a:lnTo>
                    <a:pt x="1055" y="391"/>
                  </a:lnTo>
                  <a:lnTo>
                    <a:pt x="1035" y="402"/>
                  </a:lnTo>
                  <a:lnTo>
                    <a:pt x="1014" y="411"/>
                  </a:lnTo>
                  <a:lnTo>
                    <a:pt x="1000" y="421"/>
                  </a:lnTo>
                  <a:lnTo>
                    <a:pt x="984" y="438"/>
                  </a:lnTo>
                  <a:lnTo>
                    <a:pt x="948" y="462"/>
                  </a:lnTo>
                  <a:lnTo>
                    <a:pt x="953" y="452"/>
                  </a:lnTo>
                  <a:lnTo>
                    <a:pt x="932" y="462"/>
                  </a:lnTo>
                  <a:lnTo>
                    <a:pt x="918" y="478"/>
                  </a:lnTo>
                  <a:lnTo>
                    <a:pt x="918" y="473"/>
                  </a:lnTo>
                  <a:lnTo>
                    <a:pt x="891" y="493"/>
                  </a:lnTo>
                  <a:lnTo>
                    <a:pt x="902" y="484"/>
                  </a:lnTo>
                  <a:lnTo>
                    <a:pt x="902" y="484"/>
                  </a:lnTo>
                  <a:lnTo>
                    <a:pt x="895" y="487"/>
                  </a:lnTo>
                  <a:lnTo>
                    <a:pt x="888" y="493"/>
                  </a:lnTo>
                  <a:lnTo>
                    <a:pt x="882" y="500"/>
                  </a:lnTo>
                  <a:lnTo>
                    <a:pt x="881" y="503"/>
                  </a:lnTo>
                  <a:lnTo>
                    <a:pt x="881" y="503"/>
                  </a:lnTo>
                  <a:lnTo>
                    <a:pt x="809" y="562"/>
                  </a:lnTo>
                  <a:lnTo>
                    <a:pt x="740" y="622"/>
                  </a:lnTo>
                  <a:lnTo>
                    <a:pt x="674" y="686"/>
                  </a:lnTo>
                  <a:lnTo>
                    <a:pt x="610" y="751"/>
                  </a:lnTo>
                  <a:lnTo>
                    <a:pt x="550" y="820"/>
                  </a:lnTo>
                  <a:lnTo>
                    <a:pt x="491" y="889"/>
                  </a:lnTo>
                  <a:lnTo>
                    <a:pt x="436" y="962"/>
                  </a:lnTo>
                  <a:lnTo>
                    <a:pt x="384" y="1037"/>
                  </a:lnTo>
                  <a:lnTo>
                    <a:pt x="334" y="1113"/>
                  </a:lnTo>
                  <a:lnTo>
                    <a:pt x="288" y="1192"/>
                  </a:lnTo>
                  <a:lnTo>
                    <a:pt x="245" y="1272"/>
                  </a:lnTo>
                  <a:lnTo>
                    <a:pt x="206" y="1352"/>
                  </a:lnTo>
                  <a:lnTo>
                    <a:pt x="171" y="1435"/>
                  </a:lnTo>
                  <a:lnTo>
                    <a:pt x="137" y="1519"/>
                  </a:lnTo>
                  <a:lnTo>
                    <a:pt x="109" y="1606"/>
                  </a:lnTo>
                  <a:lnTo>
                    <a:pt x="82" y="1691"/>
                  </a:lnTo>
                  <a:lnTo>
                    <a:pt x="82" y="1691"/>
                  </a:lnTo>
                  <a:lnTo>
                    <a:pt x="60" y="1777"/>
                  </a:lnTo>
                  <a:lnTo>
                    <a:pt x="43" y="1862"/>
                  </a:lnTo>
                  <a:lnTo>
                    <a:pt x="27" y="1949"/>
                  </a:lnTo>
                  <a:lnTo>
                    <a:pt x="16" y="2036"/>
                  </a:lnTo>
                  <a:lnTo>
                    <a:pt x="7" y="2122"/>
                  </a:lnTo>
                  <a:lnTo>
                    <a:pt x="2" y="2211"/>
                  </a:lnTo>
                  <a:lnTo>
                    <a:pt x="0" y="2298"/>
                  </a:lnTo>
                  <a:lnTo>
                    <a:pt x="2" y="2385"/>
                  </a:lnTo>
                  <a:lnTo>
                    <a:pt x="5" y="2472"/>
                  </a:lnTo>
                  <a:lnTo>
                    <a:pt x="14" y="2559"/>
                  </a:lnTo>
                  <a:lnTo>
                    <a:pt x="25" y="2646"/>
                  </a:lnTo>
                  <a:lnTo>
                    <a:pt x="39" y="2732"/>
                  </a:lnTo>
                  <a:lnTo>
                    <a:pt x="57" y="2817"/>
                  </a:lnTo>
                  <a:lnTo>
                    <a:pt x="76" y="2902"/>
                  </a:lnTo>
                  <a:lnTo>
                    <a:pt x="101" y="2986"/>
                  </a:lnTo>
                  <a:lnTo>
                    <a:pt x="128" y="3070"/>
                  </a:lnTo>
                  <a:lnTo>
                    <a:pt x="128" y="3070"/>
                  </a:lnTo>
                  <a:lnTo>
                    <a:pt x="157" y="3144"/>
                  </a:lnTo>
                  <a:lnTo>
                    <a:pt x="187" y="3219"/>
                  </a:lnTo>
                  <a:lnTo>
                    <a:pt x="221" y="3292"/>
                  </a:lnTo>
                  <a:lnTo>
                    <a:pt x="256" y="3363"/>
                  </a:lnTo>
                  <a:lnTo>
                    <a:pt x="295" y="3432"/>
                  </a:lnTo>
                  <a:lnTo>
                    <a:pt x="334" y="3502"/>
                  </a:lnTo>
                  <a:lnTo>
                    <a:pt x="379" y="3568"/>
                  </a:lnTo>
                  <a:lnTo>
                    <a:pt x="423" y="3633"/>
                  </a:lnTo>
                  <a:lnTo>
                    <a:pt x="471" y="3697"/>
                  </a:lnTo>
                  <a:lnTo>
                    <a:pt x="519" y="3758"/>
                  </a:lnTo>
                  <a:lnTo>
                    <a:pt x="571" y="3818"/>
                  </a:lnTo>
                  <a:lnTo>
                    <a:pt x="624" y="3877"/>
                  </a:lnTo>
                  <a:lnTo>
                    <a:pt x="680" y="3934"/>
                  </a:lnTo>
                  <a:lnTo>
                    <a:pt x="736" y="3989"/>
                  </a:lnTo>
                  <a:lnTo>
                    <a:pt x="797" y="4041"/>
                  </a:lnTo>
                  <a:lnTo>
                    <a:pt x="857" y="4092"/>
                  </a:lnTo>
                  <a:lnTo>
                    <a:pt x="920" y="4140"/>
                  </a:lnTo>
                  <a:lnTo>
                    <a:pt x="984" y="4187"/>
                  </a:lnTo>
                  <a:lnTo>
                    <a:pt x="1048" y="4231"/>
                  </a:lnTo>
                  <a:lnTo>
                    <a:pt x="1115" y="4274"/>
                  </a:lnTo>
                  <a:lnTo>
                    <a:pt x="1183" y="4313"/>
                  </a:lnTo>
                  <a:lnTo>
                    <a:pt x="1252" y="4352"/>
                  </a:lnTo>
                  <a:lnTo>
                    <a:pt x="1323" y="4387"/>
                  </a:lnTo>
                  <a:lnTo>
                    <a:pt x="1396" y="4419"/>
                  </a:lnTo>
                  <a:lnTo>
                    <a:pt x="1469" y="4450"/>
                  </a:lnTo>
                  <a:lnTo>
                    <a:pt x="1544" y="4478"/>
                  </a:lnTo>
                  <a:lnTo>
                    <a:pt x="1619" y="4503"/>
                  </a:lnTo>
                  <a:lnTo>
                    <a:pt x="1695" y="4526"/>
                  </a:lnTo>
                  <a:lnTo>
                    <a:pt x="1772" y="4548"/>
                  </a:lnTo>
                  <a:lnTo>
                    <a:pt x="1850" y="4564"/>
                  </a:lnTo>
                  <a:lnTo>
                    <a:pt x="1928" y="4580"/>
                  </a:lnTo>
                  <a:lnTo>
                    <a:pt x="2008" y="4590"/>
                  </a:lnTo>
                  <a:lnTo>
                    <a:pt x="2008" y="4590"/>
                  </a:lnTo>
                  <a:lnTo>
                    <a:pt x="2085" y="4599"/>
                  </a:lnTo>
                  <a:lnTo>
                    <a:pt x="2163" y="4604"/>
                  </a:lnTo>
                  <a:lnTo>
                    <a:pt x="2241" y="4608"/>
                  </a:lnTo>
                  <a:lnTo>
                    <a:pt x="2321" y="4608"/>
                  </a:lnTo>
                  <a:lnTo>
                    <a:pt x="2400" y="4606"/>
                  </a:lnTo>
                  <a:lnTo>
                    <a:pt x="2478" y="4601"/>
                  </a:lnTo>
                  <a:lnTo>
                    <a:pt x="2556" y="4594"/>
                  </a:lnTo>
                  <a:lnTo>
                    <a:pt x="2633" y="4587"/>
                  </a:lnTo>
                  <a:lnTo>
                    <a:pt x="2633" y="4587"/>
                  </a:lnTo>
                  <a:lnTo>
                    <a:pt x="2707" y="4571"/>
                  </a:lnTo>
                  <a:lnTo>
                    <a:pt x="2741" y="4565"/>
                  </a:lnTo>
                  <a:lnTo>
                    <a:pt x="2777" y="4560"/>
                  </a:lnTo>
                  <a:lnTo>
                    <a:pt x="2777" y="4560"/>
                  </a:lnTo>
                  <a:lnTo>
                    <a:pt x="2853" y="4542"/>
                  </a:lnTo>
                  <a:lnTo>
                    <a:pt x="2930" y="4523"/>
                  </a:lnTo>
                  <a:lnTo>
                    <a:pt x="3004" y="4500"/>
                  </a:lnTo>
                  <a:lnTo>
                    <a:pt x="3079" y="4475"/>
                  </a:lnTo>
                  <a:lnTo>
                    <a:pt x="3152" y="4446"/>
                  </a:lnTo>
                  <a:lnTo>
                    <a:pt x="3223" y="4416"/>
                  </a:lnTo>
                  <a:lnTo>
                    <a:pt x="3294" y="4382"/>
                  </a:lnTo>
                  <a:lnTo>
                    <a:pt x="3364" y="4347"/>
                  </a:lnTo>
                  <a:lnTo>
                    <a:pt x="3433" y="4309"/>
                  </a:lnTo>
                  <a:lnTo>
                    <a:pt x="3499" y="4270"/>
                  </a:lnTo>
                  <a:lnTo>
                    <a:pt x="3565" y="4227"/>
                  </a:lnTo>
                  <a:lnTo>
                    <a:pt x="3629" y="4183"/>
                  </a:lnTo>
                  <a:lnTo>
                    <a:pt x="3693" y="4137"/>
                  </a:lnTo>
                  <a:lnTo>
                    <a:pt x="3753" y="4089"/>
                  </a:lnTo>
                  <a:lnTo>
                    <a:pt x="3812" y="4039"/>
                  </a:lnTo>
                  <a:lnTo>
                    <a:pt x="3871" y="3987"/>
                  </a:lnTo>
                  <a:lnTo>
                    <a:pt x="3926" y="3932"/>
                  </a:lnTo>
                  <a:lnTo>
                    <a:pt x="3981" y="3877"/>
                  </a:lnTo>
                  <a:lnTo>
                    <a:pt x="4033" y="3820"/>
                  </a:lnTo>
                  <a:lnTo>
                    <a:pt x="4084" y="3760"/>
                  </a:lnTo>
                  <a:lnTo>
                    <a:pt x="4132" y="3699"/>
                  </a:lnTo>
                  <a:lnTo>
                    <a:pt x="4178" y="3637"/>
                  </a:lnTo>
                  <a:lnTo>
                    <a:pt x="4223" y="3573"/>
                  </a:lnTo>
                  <a:lnTo>
                    <a:pt x="4266" y="3507"/>
                  </a:lnTo>
                  <a:lnTo>
                    <a:pt x="4305" y="3440"/>
                  </a:lnTo>
                  <a:lnTo>
                    <a:pt x="4342" y="3372"/>
                  </a:lnTo>
                  <a:lnTo>
                    <a:pt x="4378" y="3303"/>
                  </a:lnTo>
                  <a:lnTo>
                    <a:pt x="4411" y="3231"/>
                  </a:lnTo>
                  <a:lnTo>
                    <a:pt x="4442" y="3160"/>
                  </a:lnTo>
                  <a:lnTo>
                    <a:pt x="4470" y="3086"/>
                  </a:lnTo>
                  <a:lnTo>
                    <a:pt x="4495" y="3013"/>
                  </a:lnTo>
                  <a:lnTo>
                    <a:pt x="4518" y="2936"/>
                  </a:lnTo>
                  <a:lnTo>
                    <a:pt x="4518" y="2936"/>
                  </a:lnTo>
                  <a:lnTo>
                    <a:pt x="4534" y="2881"/>
                  </a:lnTo>
                  <a:lnTo>
                    <a:pt x="4548" y="2824"/>
                  </a:lnTo>
                  <a:lnTo>
                    <a:pt x="4563" y="2767"/>
                  </a:lnTo>
                  <a:lnTo>
                    <a:pt x="4573" y="2710"/>
                  </a:lnTo>
                  <a:lnTo>
                    <a:pt x="4582" y="2652"/>
                  </a:lnTo>
                  <a:lnTo>
                    <a:pt x="4589" y="2593"/>
                  </a:lnTo>
                  <a:lnTo>
                    <a:pt x="4596" y="2534"/>
                  </a:lnTo>
                  <a:lnTo>
                    <a:pt x="4600" y="2476"/>
                  </a:lnTo>
                  <a:lnTo>
                    <a:pt x="4600" y="2451"/>
                  </a:lnTo>
                  <a:close/>
                  <a:moveTo>
                    <a:pt x="3684" y="457"/>
                  </a:moveTo>
                  <a:lnTo>
                    <a:pt x="3684" y="457"/>
                  </a:lnTo>
                  <a:lnTo>
                    <a:pt x="3684" y="457"/>
                  </a:lnTo>
                  <a:lnTo>
                    <a:pt x="3687" y="461"/>
                  </a:lnTo>
                  <a:lnTo>
                    <a:pt x="3689" y="462"/>
                  </a:lnTo>
                  <a:lnTo>
                    <a:pt x="3693" y="462"/>
                  </a:lnTo>
                  <a:lnTo>
                    <a:pt x="3684" y="457"/>
                  </a:lnTo>
                  <a:close/>
                  <a:moveTo>
                    <a:pt x="3883" y="781"/>
                  </a:moveTo>
                  <a:lnTo>
                    <a:pt x="3904" y="786"/>
                  </a:lnTo>
                  <a:lnTo>
                    <a:pt x="3945" y="827"/>
                  </a:lnTo>
                  <a:lnTo>
                    <a:pt x="3965" y="857"/>
                  </a:lnTo>
                  <a:lnTo>
                    <a:pt x="3965" y="887"/>
                  </a:lnTo>
                  <a:lnTo>
                    <a:pt x="3954" y="898"/>
                  </a:lnTo>
                  <a:lnTo>
                    <a:pt x="3935" y="863"/>
                  </a:lnTo>
                  <a:lnTo>
                    <a:pt x="3908" y="841"/>
                  </a:lnTo>
                  <a:lnTo>
                    <a:pt x="3908" y="841"/>
                  </a:lnTo>
                  <a:lnTo>
                    <a:pt x="3894" y="815"/>
                  </a:lnTo>
                  <a:lnTo>
                    <a:pt x="3888" y="802"/>
                  </a:lnTo>
                  <a:lnTo>
                    <a:pt x="3883" y="791"/>
                  </a:lnTo>
                  <a:lnTo>
                    <a:pt x="3883" y="781"/>
                  </a:lnTo>
                  <a:lnTo>
                    <a:pt x="3883" y="781"/>
                  </a:lnTo>
                  <a:close/>
                  <a:moveTo>
                    <a:pt x="3474" y="626"/>
                  </a:moveTo>
                  <a:lnTo>
                    <a:pt x="3504" y="631"/>
                  </a:lnTo>
                  <a:lnTo>
                    <a:pt x="3499" y="612"/>
                  </a:lnTo>
                  <a:lnTo>
                    <a:pt x="3520" y="612"/>
                  </a:lnTo>
                  <a:lnTo>
                    <a:pt x="3504" y="590"/>
                  </a:lnTo>
                  <a:lnTo>
                    <a:pt x="3515" y="580"/>
                  </a:lnTo>
                  <a:lnTo>
                    <a:pt x="3534" y="596"/>
                  </a:lnTo>
                  <a:lnTo>
                    <a:pt x="3561" y="606"/>
                  </a:lnTo>
                  <a:lnTo>
                    <a:pt x="3581" y="631"/>
                  </a:lnTo>
                  <a:lnTo>
                    <a:pt x="3586" y="667"/>
                  </a:lnTo>
                  <a:lnTo>
                    <a:pt x="3586" y="678"/>
                  </a:lnTo>
                  <a:lnTo>
                    <a:pt x="3586" y="678"/>
                  </a:lnTo>
                  <a:lnTo>
                    <a:pt x="3565" y="686"/>
                  </a:lnTo>
                  <a:lnTo>
                    <a:pt x="3545" y="699"/>
                  </a:lnTo>
                  <a:lnTo>
                    <a:pt x="3534" y="672"/>
                  </a:lnTo>
                  <a:lnTo>
                    <a:pt x="3504" y="678"/>
                  </a:lnTo>
                  <a:lnTo>
                    <a:pt x="3515" y="663"/>
                  </a:lnTo>
                  <a:lnTo>
                    <a:pt x="3504" y="658"/>
                  </a:lnTo>
                  <a:lnTo>
                    <a:pt x="3483" y="667"/>
                  </a:lnTo>
                  <a:lnTo>
                    <a:pt x="3469" y="647"/>
                  </a:lnTo>
                  <a:lnTo>
                    <a:pt x="3474" y="626"/>
                  </a:lnTo>
                  <a:close/>
                  <a:moveTo>
                    <a:pt x="3401" y="1334"/>
                  </a:moveTo>
                  <a:lnTo>
                    <a:pt x="3417" y="1323"/>
                  </a:lnTo>
                  <a:lnTo>
                    <a:pt x="3428" y="1345"/>
                  </a:lnTo>
                  <a:lnTo>
                    <a:pt x="3447" y="1364"/>
                  </a:lnTo>
                  <a:lnTo>
                    <a:pt x="3453" y="1394"/>
                  </a:lnTo>
                  <a:lnTo>
                    <a:pt x="3442" y="1400"/>
                  </a:lnTo>
                  <a:lnTo>
                    <a:pt x="3422" y="1394"/>
                  </a:lnTo>
                  <a:lnTo>
                    <a:pt x="3412" y="1369"/>
                  </a:lnTo>
                  <a:lnTo>
                    <a:pt x="3401" y="1364"/>
                  </a:lnTo>
                  <a:lnTo>
                    <a:pt x="3387" y="1400"/>
                  </a:lnTo>
                  <a:lnTo>
                    <a:pt x="3371" y="1400"/>
                  </a:lnTo>
                  <a:lnTo>
                    <a:pt x="3382" y="1380"/>
                  </a:lnTo>
                  <a:lnTo>
                    <a:pt x="3355" y="1375"/>
                  </a:lnTo>
                  <a:lnTo>
                    <a:pt x="3335" y="1385"/>
                  </a:lnTo>
                  <a:lnTo>
                    <a:pt x="3289" y="1394"/>
                  </a:lnTo>
                  <a:lnTo>
                    <a:pt x="3278" y="1385"/>
                  </a:lnTo>
                  <a:lnTo>
                    <a:pt x="3289" y="1369"/>
                  </a:lnTo>
                  <a:lnTo>
                    <a:pt x="3273" y="1359"/>
                  </a:lnTo>
                  <a:lnTo>
                    <a:pt x="3289" y="1339"/>
                  </a:lnTo>
                  <a:lnTo>
                    <a:pt x="3294" y="1277"/>
                  </a:lnTo>
                  <a:lnTo>
                    <a:pt x="3300" y="1257"/>
                  </a:lnTo>
                  <a:lnTo>
                    <a:pt x="3314" y="1241"/>
                  </a:lnTo>
                  <a:lnTo>
                    <a:pt x="3325" y="1241"/>
                  </a:lnTo>
                  <a:lnTo>
                    <a:pt x="3325" y="1252"/>
                  </a:lnTo>
                  <a:lnTo>
                    <a:pt x="3325" y="1252"/>
                  </a:lnTo>
                  <a:lnTo>
                    <a:pt x="3325" y="1266"/>
                  </a:lnTo>
                  <a:lnTo>
                    <a:pt x="3323" y="1280"/>
                  </a:lnTo>
                  <a:lnTo>
                    <a:pt x="3321" y="1293"/>
                  </a:lnTo>
                  <a:lnTo>
                    <a:pt x="3319" y="1307"/>
                  </a:lnTo>
                  <a:lnTo>
                    <a:pt x="3330" y="1293"/>
                  </a:lnTo>
                  <a:lnTo>
                    <a:pt x="3351" y="1298"/>
                  </a:lnTo>
                  <a:lnTo>
                    <a:pt x="3346" y="1313"/>
                  </a:lnTo>
                  <a:lnTo>
                    <a:pt x="3366" y="1318"/>
                  </a:lnTo>
                  <a:lnTo>
                    <a:pt x="3371" y="1307"/>
                  </a:lnTo>
                  <a:lnTo>
                    <a:pt x="3396" y="1313"/>
                  </a:lnTo>
                  <a:lnTo>
                    <a:pt x="3401" y="1334"/>
                  </a:lnTo>
                  <a:close/>
                  <a:moveTo>
                    <a:pt x="2921" y="84"/>
                  </a:moveTo>
                  <a:lnTo>
                    <a:pt x="2921" y="84"/>
                  </a:lnTo>
                  <a:lnTo>
                    <a:pt x="2912" y="84"/>
                  </a:lnTo>
                  <a:lnTo>
                    <a:pt x="2908" y="82"/>
                  </a:lnTo>
                  <a:lnTo>
                    <a:pt x="2905" y="78"/>
                  </a:lnTo>
                  <a:lnTo>
                    <a:pt x="2905" y="78"/>
                  </a:lnTo>
                  <a:lnTo>
                    <a:pt x="2908" y="80"/>
                  </a:lnTo>
                  <a:lnTo>
                    <a:pt x="2912" y="82"/>
                  </a:lnTo>
                  <a:lnTo>
                    <a:pt x="2915" y="84"/>
                  </a:lnTo>
                  <a:lnTo>
                    <a:pt x="2921" y="84"/>
                  </a:lnTo>
                  <a:lnTo>
                    <a:pt x="2921" y="84"/>
                  </a:lnTo>
                  <a:close/>
                  <a:moveTo>
                    <a:pt x="2859" y="68"/>
                  </a:moveTo>
                  <a:lnTo>
                    <a:pt x="2859" y="68"/>
                  </a:lnTo>
                  <a:lnTo>
                    <a:pt x="2848" y="68"/>
                  </a:lnTo>
                  <a:lnTo>
                    <a:pt x="2839" y="66"/>
                  </a:lnTo>
                  <a:lnTo>
                    <a:pt x="2818" y="59"/>
                  </a:lnTo>
                  <a:lnTo>
                    <a:pt x="2818" y="59"/>
                  </a:lnTo>
                  <a:lnTo>
                    <a:pt x="2839" y="64"/>
                  </a:lnTo>
                  <a:lnTo>
                    <a:pt x="2859" y="68"/>
                  </a:lnTo>
                  <a:lnTo>
                    <a:pt x="2859" y="68"/>
                  </a:lnTo>
                  <a:close/>
                  <a:moveTo>
                    <a:pt x="2720" y="416"/>
                  </a:moveTo>
                  <a:lnTo>
                    <a:pt x="2741" y="407"/>
                  </a:lnTo>
                  <a:lnTo>
                    <a:pt x="2766" y="402"/>
                  </a:lnTo>
                  <a:lnTo>
                    <a:pt x="2787" y="407"/>
                  </a:lnTo>
                  <a:lnTo>
                    <a:pt x="2796" y="386"/>
                  </a:lnTo>
                  <a:lnTo>
                    <a:pt x="2823" y="391"/>
                  </a:lnTo>
                  <a:lnTo>
                    <a:pt x="2859" y="391"/>
                  </a:lnTo>
                  <a:lnTo>
                    <a:pt x="2828" y="386"/>
                  </a:lnTo>
                  <a:lnTo>
                    <a:pt x="2812" y="370"/>
                  </a:lnTo>
                  <a:lnTo>
                    <a:pt x="2823" y="350"/>
                  </a:lnTo>
                  <a:lnTo>
                    <a:pt x="2843" y="340"/>
                  </a:lnTo>
                  <a:lnTo>
                    <a:pt x="2839" y="329"/>
                  </a:lnTo>
                  <a:lnTo>
                    <a:pt x="2859" y="320"/>
                  </a:lnTo>
                  <a:lnTo>
                    <a:pt x="2859" y="320"/>
                  </a:lnTo>
                  <a:lnTo>
                    <a:pt x="2869" y="315"/>
                  </a:lnTo>
                  <a:lnTo>
                    <a:pt x="2880" y="309"/>
                  </a:lnTo>
                  <a:lnTo>
                    <a:pt x="2889" y="304"/>
                  </a:lnTo>
                  <a:lnTo>
                    <a:pt x="2899" y="299"/>
                  </a:lnTo>
                  <a:lnTo>
                    <a:pt x="2899" y="299"/>
                  </a:lnTo>
                  <a:lnTo>
                    <a:pt x="2912" y="299"/>
                  </a:lnTo>
                  <a:lnTo>
                    <a:pt x="2924" y="297"/>
                  </a:lnTo>
                  <a:lnTo>
                    <a:pt x="2939" y="295"/>
                  </a:lnTo>
                  <a:lnTo>
                    <a:pt x="2951" y="293"/>
                  </a:lnTo>
                  <a:lnTo>
                    <a:pt x="2956" y="309"/>
                  </a:lnTo>
                  <a:lnTo>
                    <a:pt x="2956" y="309"/>
                  </a:lnTo>
                  <a:lnTo>
                    <a:pt x="2946" y="317"/>
                  </a:lnTo>
                  <a:lnTo>
                    <a:pt x="2939" y="324"/>
                  </a:lnTo>
                  <a:lnTo>
                    <a:pt x="2930" y="333"/>
                  </a:lnTo>
                  <a:lnTo>
                    <a:pt x="2921" y="340"/>
                  </a:lnTo>
                  <a:lnTo>
                    <a:pt x="2930" y="340"/>
                  </a:lnTo>
                  <a:lnTo>
                    <a:pt x="2946" y="324"/>
                  </a:lnTo>
                  <a:lnTo>
                    <a:pt x="2967" y="320"/>
                  </a:lnTo>
                  <a:lnTo>
                    <a:pt x="2962" y="309"/>
                  </a:lnTo>
                  <a:lnTo>
                    <a:pt x="2981" y="309"/>
                  </a:lnTo>
                  <a:lnTo>
                    <a:pt x="2997" y="324"/>
                  </a:lnTo>
                  <a:lnTo>
                    <a:pt x="2997" y="288"/>
                  </a:lnTo>
                  <a:lnTo>
                    <a:pt x="3012" y="279"/>
                  </a:lnTo>
                  <a:lnTo>
                    <a:pt x="3033" y="283"/>
                  </a:lnTo>
                  <a:lnTo>
                    <a:pt x="3049" y="309"/>
                  </a:lnTo>
                  <a:lnTo>
                    <a:pt x="3052" y="315"/>
                  </a:lnTo>
                  <a:lnTo>
                    <a:pt x="3049" y="329"/>
                  </a:lnTo>
                  <a:lnTo>
                    <a:pt x="3058" y="320"/>
                  </a:lnTo>
                  <a:lnTo>
                    <a:pt x="3058" y="320"/>
                  </a:lnTo>
                  <a:lnTo>
                    <a:pt x="3079" y="334"/>
                  </a:lnTo>
                  <a:lnTo>
                    <a:pt x="3099" y="350"/>
                  </a:lnTo>
                  <a:lnTo>
                    <a:pt x="3136" y="370"/>
                  </a:lnTo>
                  <a:lnTo>
                    <a:pt x="3161" y="375"/>
                  </a:lnTo>
                  <a:lnTo>
                    <a:pt x="3156" y="386"/>
                  </a:lnTo>
                  <a:lnTo>
                    <a:pt x="3161" y="402"/>
                  </a:lnTo>
                  <a:lnTo>
                    <a:pt x="3186" y="402"/>
                  </a:lnTo>
                  <a:lnTo>
                    <a:pt x="3213" y="416"/>
                  </a:lnTo>
                  <a:lnTo>
                    <a:pt x="3213" y="421"/>
                  </a:lnTo>
                  <a:lnTo>
                    <a:pt x="3248" y="432"/>
                  </a:lnTo>
                  <a:lnTo>
                    <a:pt x="3237" y="448"/>
                  </a:lnTo>
                  <a:lnTo>
                    <a:pt x="3259" y="448"/>
                  </a:lnTo>
                  <a:lnTo>
                    <a:pt x="3268" y="457"/>
                  </a:lnTo>
                  <a:lnTo>
                    <a:pt x="3264" y="468"/>
                  </a:lnTo>
                  <a:lnTo>
                    <a:pt x="3253" y="478"/>
                  </a:lnTo>
                  <a:lnTo>
                    <a:pt x="3278" y="489"/>
                  </a:lnTo>
                  <a:lnTo>
                    <a:pt x="3294" y="498"/>
                  </a:lnTo>
                  <a:lnTo>
                    <a:pt x="3268" y="498"/>
                  </a:lnTo>
                  <a:lnTo>
                    <a:pt x="3278" y="509"/>
                  </a:lnTo>
                  <a:lnTo>
                    <a:pt x="3300" y="509"/>
                  </a:lnTo>
                  <a:lnTo>
                    <a:pt x="3325" y="514"/>
                  </a:lnTo>
                  <a:lnTo>
                    <a:pt x="3351" y="530"/>
                  </a:lnTo>
                  <a:lnTo>
                    <a:pt x="3346" y="544"/>
                  </a:lnTo>
                  <a:lnTo>
                    <a:pt x="3346" y="544"/>
                  </a:lnTo>
                  <a:lnTo>
                    <a:pt x="3325" y="537"/>
                  </a:lnTo>
                  <a:lnTo>
                    <a:pt x="3316" y="535"/>
                  </a:lnTo>
                  <a:lnTo>
                    <a:pt x="3305" y="535"/>
                  </a:lnTo>
                  <a:lnTo>
                    <a:pt x="3325" y="550"/>
                  </a:lnTo>
                  <a:lnTo>
                    <a:pt x="3335" y="571"/>
                  </a:lnTo>
                  <a:lnTo>
                    <a:pt x="3335" y="571"/>
                  </a:lnTo>
                  <a:lnTo>
                    <a:pt x="3351" y="560"/>
                  </a:lnTo>
                  <a:lnTo>
                    <a:pt x="3366" y="550"/>
                  </a:lnTo>
                  <a:lnTo>
                    <a:pt x="3376" y="580"/>
                  </a:lnTo>
                  <a:lnTo>
                    <a:pt x="3376" y="612"/>
                  </a:lnTo>
                  <a:lnTo>
                    <a:pt x="3355" y="631"/>
                  </a:lnTo>
                  <a:lnTo>
                    <a:pt x="3346" y="637"/>
                  </a:lnTo>
                  <a:lnTo>
                    <a:pt x="3346" y="653"/>
                  </a:lnTo>
                  <a:lnTo>
                    <a:pt x="3360" y="683"/>
                  </a:lnTo>
                  <a:lnTo>
                    <a:pt x="3355" y="708"/>
                  </a:lnTo>
                  <a:lnTo>
                    <a:pt x="3346" y="718"/>
                  </a:lnTo>
                  <a:lnTo>
                    <a:pt x="3335" y="735"/>
                  </a:lnTo>
                  <a:lnTo>
                    <a:pt x="3314" y="754"/>
                  </a:lnTo>
                  <a:lnTo>
                    <a:pt x="3319" y="775"/>
                  </a:lnTo>
                  <a:lnTo>
                    <a:pt x="3341" y="795"/>
                  </a:lnTo>
                  <a:lnTo>
                    <a:pt x="3351" y="816"/>
                  </a:lnTo>
                  <a:lnTo>
                    <a:pt x="3346" y="847"/>
                  </a:lnTo>
                  <a:lnTo>
                    <a:pt x="3366" y="868"/>
                  </a:lnTo>
                  <a:lnTo>
                    <a:pt x="3366" y="868"/>
                  </a:lnTo>
                  <a:lnTo>
                    <a:pt x="3380" y="896"/>
                  </a:lnTo>
                  <a:lnTo>
                    <a:pt x="3387" y="909"/>
                  </a:lnTo>
                  <a:lnTo>
                    <a:pt x="3392" y="923"/>
                  </a:lnTo>
                  <a:lnTo>
                    <a:pt x="3376" y="923"/>
                  </a:lnTo>
                  <a:lnTo>
                    <a:pt x="3335" y="903"/>
                  </a:lnTo>
                  <a:lnTo>
                    <a:pt x="3305" y="914"/>
                  </a:lnTo>
                  <a:lnTo>
                    <a:pt x="3278" y="903"/>
                  </a:lnTo>
                  <a:lnTo>
                    <a:pt x="3248" y="882"/>
                  </a:lnTo>
                  <a:lnTo>
                    <a:pt x="3191" y="857"/>
                  </a:lnTo>
                  <a:lnTo>
                    <a:pt x="3172" y="836"/>
                  </a:lnTo>
                  <a:lnTo>
                    <a:pt x="3150" y="816"/>
                  </a:lnTo>
                  <a:lnTo>
                    <a:pt x="3109" y="795"/>
                  </a:lnTo>
                  <a:lnTo>
                    <a:pt x="3095" y="770"/>
                  </a:lnTo>
                  <a:lnTo>
                    <a:pt x="3074" y="765"/>
                  </a:lnTo>
                  <a:lnTo>
                    <a:pt x="3063" y="729"/>
                  </a:lnTo>
                  <a:lnTo>
                    <a:pt x="3079" y="713"/>
                  </a:lnTo>
                  <a:lnTo>
                    <a:pt x="3074" y="699"/>
                  </a:lnTo>
                  <a:lnTo>
                    <a:pt x="3058" y="678"/>
                  </a:lnTo>
                  <a:lnTo>
                    <a:pt x="3058" y="699"/>
                  </a:lnTo>
                  <a:lnTo>
                    <a:pt x="3052" y="704"/>
                  </a:lnTo>
                  <a:lnTo>
                    <a:pt x="3044" y="708"/>
                  </a:lnTo>
                  <a:lnTo>
                    <a:pt x="3022" y="699"/>
                  </a:lnTo>
                  <a:lnTo>
                    <a:pt x="3008" y="678"/>
                  </a:lnTo>
                  <a:lnTo>
                    <a:pt x="3008" y="667"/>
                  </a:lnTo>
                  <a:lnTo>
                    <a:pt x="3022" y="663"/>
                  </a:lnTo>
                  <a:lnTo>
                    <a:pt x="3052" y="663"/>
                  </a:lnTo>
                  <a:lnTo>
                    <a:pt x="3052" y="663"/>
                  </a:lnTo>
                  <a:lnTo>
                    <a:pt x="3026" y="654"/>
                  </a:lnTo>
                  <a:lnTo>
                    <a:pt x="2997" y="642"/>
                  </a:lnTo>
                  <a:lnTo>
                    <a:pt x="2987" y="647"/>
                  </a:lnTo>
                  <a:lnTo>
                    <a:pt x="2971" y="642"/>
                  </a:lnTo>
                  <a:lnTo>
                    <a:pt x="2967" y="617"/>
                  </a:lnTo>
                  <a:lnTo>
                    <a:pt x="2951" y="606"/>
                  </a:lnTo>
                  <a:lnTo>
                    <a:pt x="2951" y="606"/>
                  </a:lnTo>
                  <a:lnTo>
                    <a:pt x="2935" y="596"/>
                  </a:lnTo>
                  <a:lnTo>
                    <a:pt x="2921" y="587"/>
                  </a:lnTo>
                  <a:lnTo>
                    <a:pt x="2889" y="571"/>
                  </a:lnTo>
                  <a:lnTo>
                    <a:pt x="2869" y="566"/>
                  </a:lnTo>
                  <a:lnTo>
                    <a:pt x="2859" y="560"/>
                  </a:lnTo>
                  <a:lnTo>
                    <a:pt x="2812" y="550"/>
                  </a:lnTo>
                  <a:lnTo>
                    <a:pt x="2787" y="555"/>
                  </a:lnTo>
                  <a:lnTo>
                    <a:pt x="2787" y="555"/>
                  </a:lnTo>
                  <a:lnTo>
                    <a:pt x="2755" y="562"/>
                  </a:lnTo>
                  <a:lnTo>
                    <a:pt x="2739" y="564"/>
                  </a:lnTo>
                  <a:lnTo>
                    <a:pt x="2720" y="566"/>
                  </a:lnTo>
                  <a:lnTo>
                    <a:pt x="2700" y="560"/>
                  </a:lnTo>
                  <a:lnTo>
                    <a:pt x="2668" y="544"/>
                  </a:lnTo>
                  <a:lnTo>
                    <a:pt x="2695" y="535"/>
                  </a:lnTo>
                  <a:lnTo>
                    <a:pt x="2714" y="530"/>
                  </a:lnTo>
                  <a:lnTo>
                    <a:pt x="2665" y="530"/>
                  </a:lnTo>
                  <a:lnTo>
                    <a:pt x="2633" y="519"/>
                  </a:lnTo>
                  <a:lnTo>
                    <a:pt x="2627" y="514"/>
                  </a:lnTo>
                  <a:lnTo>
                    <a:pt x="2627" y="514"/>
                  </a:lnTo>
                  <a:lnTo>
                    <a:pt x="2665" y="498"/>
                  </a:lnTo>
                  <a:lnTo>
                    <a:pt x="2700" y="484"/>
                  </a:lnTo>
                  <a:lnTo>
                    <a:pt x="2700" y="473"/>
                  </a:lnTo>
                  <a:lnTo>
                    <a:pt x="2665" y="468"/>
                  </a:lnTo>
                  <a:lnTo>
                    <a:pt x="2674" y="457"/>
                  </a:lnTo>
                  <a:lnTo>
                    <a:pt x="2695" y="438"/>
                  </a:lnTo>
                  <a:lnTo>
                    <a:pt x="2711" y="432"/>
                  </a:lnTo>
                  <a:lnTo>
                    <a:pt x="2700" y="427"/>
                  </a:lnTo>
                  <a:lnTo>
                    <a:pt x="2720" y="416"/>
                  </a:lnTo>
                  <a:close/>
                  <a:moveTo>
                    <a:pt x="2889" y="863"/>
                  </a:moveTo>
                  <a:lnTo>
                    <a:pt x="2921" y="873"/>
                  </a:lnTo>
                  <a:lnTo>
                    <a:pt x="2930" y="877"/>
                  </a:lnTo>
                  <a:lnTo>
                    <a:pt x="2956" y="903"/>
                  </a:lnTo>
                  <a:lnTo>
                    <a:pt x="2962" y="923"/>
                  </a:lnTo>
                  <a:lnTo>
                    <a:pt x="2930" y="923"/>
                  </a:lnTo>
                  <a:lnTo>
                    <a:pt x="2869" y="903"/>
                  </a:lnTo>
                  <a:lnTo>
                    <a:pt x="2869" y="903"/>
                  </a:lnTo>
                  <a:lnTo>
                    <a:pt x="2885" y="914"/>
                  </a:lnTo>
                  <a:lnTo>
                    <a:pt x="2903" y="923"/>
                  </a:lnTo>
                  <a:lnTo>
                    <a:pt x="2935" y="939"/>
                  </a:lnTo>
                  <a:lnTo>
                    <a:pt x="2946" y="950"/>
                  </a:lnTo>
                  <a:lnTo>
                    <a:pt x="2883" y="944"/>
                  </a:lnTo>
                  <a:lnTo>
                    <a:pt x="2834" y="928"/>
                  </a:lnTo>
                  <a:lnTo>
                    <a:pt x="2807" y="923"/>
                  </a:lnTo>
                  <a:lnTo>
                    <a:pt x="2812" y="914"/>
                  </a:lnTo>
                  <a:lnTo>
                    <a:pt x="2812" y="914"/>
                  </a:lnTo>
                  <a:lnTo>
                    <a:pt x="2796" y="905"/>
                  </a:lnTo>
                  <a:lnTo>
                    <a:pt x="2778" y="900"/>
                  </a:lnTo>
                  <a:lnTo>
                    <a:pt x="2762" y="895"/>
                  </a:lnTo>
                  <a:lnTo>
                    <a:pt x="2746" y="893"/>
                  </a:lnTo>
                  <a:lnTo>
                    <a:pt x="2752" y="903"/>
                  </a:lnTo>
                  <a:lnTo>
                    <a:pt x="2690" y="914"/>
                  </a:lnTo>
                  <a:lnTo>
                    <a:pt x="2668" y="903"/>
                  </a:lnTo>
                  <a:lnTo>
                    <a:pt x="2679" y="882"/>
                  </a:lnTo>
                  <a:lnTo>
                    <a:pt x="2714" y="873"/>
                  </a:lnTo>
                  <a:lnTo>
                    <a:pt x="2755" y="868"/>
                  </a:lnTo>
                  <a:lnTo>
                    <a:pt x="2746" y="857"/>
                  </a:lnTo>
                  <a:lnTo>
                    <a:pt x="2746" y="841"/>
                  </a:lnTo>
                  <a:lnTo>
                    <a:pt x="2761" y="811"/>
                  </a:lnTo>
                  <a:lnTo>
                    <a:pt x="2752" y="795"/>
                  </a:lnTo>
                  <a:lnTo>
                    <a:pt x="2736" y="781"/>
                  </a:lnTo>
                  <a:lnTo>
                    <a:pt x="2706" y="770"/>
                  </a:lnTo>
                  <a:lnTo>
                    <a:pt x="2665" y="765"/>
                  </a:lnTo>
                  <a:lnTo>
                    <a:pt x="2674" y="754"/>
                  </a:lnTo>
                  <a:lnTo>
                    <a:pt x="2654" y="735"/>
                  </a:lnTo>
                  <a:lnTo>
                    <a:pt x="2633" y="735"/>
                  </a:lnTo>
                  <a:lnTo>
                    <a:pt x="2613" y="724"/>
                  </a:lnTo>
                  <a:lnTo>
                    <a:pt x="2602" y="735"/>
                  </a:lnTo>
                  <a:lnTo>
                    <a:pt x="2572" y="740"/>
                  </a:lnTo>
                  <a:lnTo>
                    <a:pt x="2505" y="735"/>
                  </a:lnTo>
                  <a:lnTo>
                    <a:pt x="2505" y="735"/>
                  </a:lnTo>
                  <a:lnTo>
                    <a:pt x="2439" y="718"/>
                  </a:lnTo>
                  <a:lnTo>
                    <a:pt x="2423" y="708"/>
                  </a:lnTo>
                  <a:lnTo>
                    <a:pt x="2444" y="694"/>
                  </a:lnTo>
                  <a:lnTo>
                    <a:pt x="2417" y="694"/>
                  </a:lnTo>
                  <a:lnTo>
                    <a:pt x="2409" y="672"/>
                  </a:lnTo>
                  <a:lnTo>
                    <a:pt x="2423" y="653"/>
                  </a:lnTo>
                  <a:lnTo>
                    <a:pt x="2444" y="642"/>
                  </a:lnTo>
                  <a:lnTo>
                    <a:pt x="2485" y="637"/>
                  </a:lnTo>
                  <a:lnTo>
                    <a:pt x="2474" y="658"/>
                  </a:lnTo>
                  <a:lnTo>
                    <a:pt x="2490" y="678"/>
                  </a:lnTo>
                  <a:lnTo>
                    <a:pt x="2505" y="658"/>
                  </a:lnTo>
                  <a:lnTo>
                    <a:pt x="2545" y="647"/>
                  </a:lnTo>
                  <a:lnTo>
                    <a:pt x="2577" y="672"/>
                  </a:lnTo>
                  <a:lnTo>
                    <a:pt x="2577" y="694"/>
                  </a:lnTo>
                  <a:lnTo>
                    <a:pt x="2608" y="683"/>
                  </a:lnTo>
                  <a:lnTo>
                    <a:pt x="2624" y="672"/>
                  </a:lnTo>
                  <a:lnTo>
                    <a:pt x="2665" y="688"/>
                  </a:lnTo>
                  <a:lnTo>
                    <a:pt x="2690" y="699"/>
                  </a:lnTo>
                  <a:lnTo>
                    <a:pt x="2695" y="713"/>
                  </a:lnTo>
                  <a:lnTo>
                    <a:pt x="2720" y="704"/>
                  </a:lnTo>
                  <a:lnTo>
                    <a:pt x="2741" y="718"/>
                  </a:lnTo>
                  <a:lnTo>
                    <a:pt x="2787" y="724"/>
                  </a:lnTo>
                  <a:lnTo>
                    <a:pt x="2807" y="735"/>
                  </a:lnTo>
                  <a:lnTo>
                    <a:pt x="2834" y="754"/>
                  </a:lnTo>
                  <a:lnTo>
                    <a:pt x="2812" y="775"/>
                  </a:lnTo>
                  <a:lnTo>
                    <a:pt x="2864" y="791"/>
                  </a:lnTo>
                  <a:lnTo>
                    <a:pt x="2894" y="795"/>
                  </a:lnTo>
                  <a:lnTo>
                    <a:pt x="2930" y="816"/>
                  </a:lnTo>
                  <a:lnTo>
                    <a:pt x="2956" y="811"/>
                  </a:lnTo>
                  <a:lnTo>
                    <a:pt x="2962" y="832"/>
                  </a:lnTo>
                  <a:lnTo>
                    <a:pt x="2946" y="863"/>
                  </a:lnTo>
                  <a:lnTo>
                    <a:pt x="2921" y="852"/>
                  </a:lnTo>
                  <a:lnTo>
                    <a:pt x="2883" y="822"/>
                  </a:lnTo>
                  <a:lnTo>
                    <a:pt x="2864" y="827"/>
                  </a:lnTo>
                  <a:lnTo>
                    <a:pt x="2864" y="847"/>
                  </a:lnTo>
                  <a:lnTo>
                    <a:pt x="2889" y="863"/>
                  </a:lnTo>
                  <a:close/>
                  <a:moveTo>
                    <a:pt x="2638" y="923"/>
                  </a:moveTo>
                  <a:lnTo>
                    <a:pt x="2618" y="934"/>
                  </a:lnTo>
                  <a:lnTo>
                    <a:pt x="2583" y="923"/>
                  </a:lnTo>
                  <a:lnTo>
                    <a:pt x="2567" y="909"/>
                  </a:lnTo>
                  <a:lnTo>
                    <a:pt x="2545" y="928"/>
                  </a:lnTo>
                  <a:lnTo>
                    <a:pt x="2515" y="944"/>
                  </a:lnTo>
                  <a:lnTo>
                    <a:pt x="2510" y="923"/>
                  </a:lnTo>
                  <a:lnTo>
                    <a:pt x="2480" y="928"/>
                  </a:lnTo>
                  <a:lnTo>
                    <a:pt x="2499" y="914"/>
                  </a:lnTo>
                  <a:lnTo>
                    <a:pt x="2499" y="893"/>
                  </a:lnTo>
                  <a:lnTo>
                    <a:pt x="2505" y="868"/>
                  </a:lnTo>
                  <a:lnTo>
                    <a:pt x="2521" y="873"/>
                  </a:lnTo>
                  <a:lnTo>
                    <a:pt x="2526" y="887"/>
                  </a:lnTo>
                  <a:lnTo>
                    <a:pt x="2537" y="882"/>
                  </a:lnTo>
                  <a:lnTo>
                    <a:pt x="2551" y="893"/>
                  </a:lnTo>
                  <a:lnTo>
                    <a:pt x="2551" y="893"/>
                  </a:lnTo>
                  <a:lnTo>
                    <a:pt x="2565" y="898"/>
                  </a:lnTo>
                  <a:lnTo>
                    <a:pt x="2577" y="903"/>
                  </a:lnTo>
                  <a:lnTo>
                    <a:pt x="2588" y="909"/>
                  </a:lnTo>
                  <a:lnTo>
                    <a:pt x="2602" y="914"/>
                  </a:lnTo>
                  <a:lnTo>
                    <a:pt x="2608" y="928"/>
                  </a:lnTo>
                  <a:lnTo>
                    <a:pt x="2624" y="923"/>
                  </a:lnTo>
                  <a:lnTo>
                    <a:pt x="2638" y="923"/>
                  </a:lnTo>
                  <a:close/>
                  <a:moveTo>
                    <a:pt x="2336" y="462"/>
                  </a:moveTo>
                  <a:lnTo>
                    <a:pt x="2346" y="457"/>
                  </a:lnTo>
                  <a:lnTo>
                    <a:pt x="2362" y="457"/>
                  </a:lnTo>
                  <a:lnTo>
                    <a:pt x="2352" y="448"/>
                  </a:lnTo>
                  <a:lnTo>
                    <a:pt x="2376" y="448"/>
                  </a:lnTo>
                  <a:lnTo>
                    <a:pt x="2392" y="462"/>
                  </a:lnTo>
                  <a:lnTo>
                    <a:pt x="2392" y="462"/>
                  </a:lnTo>
                  <a:lnTo>
                    <a:pt x="2412" y="470"/>
                  </a:lnTo>
                  <a:lnTo>
                    <a:pt x="2423" y="471"/>
                  </a:lnTo>
                  <a:lnTo>
                    <a:pt x="2433" y="473"/>
                  </a:lnTo>
                  <a:lnTo>
                    <a:pt x="2444" y="489"/>
                  </a:lnTo>
                  <a:lnTo>
                    <a:pt x="2449" y="489"/>
                  </a:lnTo>
                  <a:lnTo>
                    <a:pt x="2444" y="478"/>
                  </a:lnTo>
                  <a:lnTo>
                    <a:pt x="2474" y="478"/>
                  </a:lnTo>
                  <a:lnTo>
                    <a:pt x="2485" y="484"/>
                  </a:lnTo>
                  <a:lnTo>
                    <a:pt x="2505" y="473"/>
                  </a:lnTo>
                  <a:lnTo>
                    <a:pt x="2439" y="473"/>
                  </a:lnTo>
                  <a:lnTo>
                    <a:pt x="2417" y="462"/>
                  </a:lnTo>
                  <a:lnTo>
                    <a:pt x="2409" y="452"/>
                  </a:lnTo>
                  <a:lnTo>
                    <a:pt x="2392" y="443"/>
                  </a:lnTo>
                  <a:lnTo>
                    <a:pt x="2387" y="432"/>
                  </a:lnTo>
                  <a:lnTo>
                    <a:pt x="2409" y="438"/>
                  </a:lnTo>
                  <a:lnTo>
                    <a:pt x="2423" y="438"/>
                  </a:lnTo>
                  <a:lnTo>
                    <a:pt x="2444" y="432"/>
                  </a:lnTo>
                  <a:lnTo>
                    <a:pt x="2458" y="421"/>
                  </a:lnTo>
                  <a:lnTo>
                    <a:pt x="2474" y="421"/>
                  </a:lnTo>
                  <a:lnTo>
                    <a:pt x="2490" y="427"/>
                  </a:lnTo>
                  <a:lnTo>
                    <a:pt x="2496" y="416"/>
                  </a:lnTo>
                  <a:lnTo>
                    <a:pt x="2510" y="411"/>
                  </a:lnTo>
                  <a:lnTo>
                    <a:pt x="2531" y="407"/>
                  </a:lnTo>
                  <a:lnTo>
                    <a:pt x="2556" y="402"/>
                  </a:lnTo>
                  <a:lnTo>
                    <a:pt x="2586" y="402"/>
                  </a:lnTo>
                  <a:lnTo>
                    <a:pt x="2586" y="402"/>
                  </a:lnTo>
                  <a:lnTo>
                    <a:pt x="2608" y="400"/>
                  </a:lnTo>
                  <a:lnTo>
                    <a:pt x="2631" y="398"/>
                  </a:lnTo>
                  <a:lnTo>
                    <a:pt x="2654" y="397"/>
                  </a:lnTo>
                  <a:lnTo>
                    <a:pt x="2674" y="397"/>
                  </a:lnTo>
                  <a:lnTo>
                    <a:pt x="2695" y="402"/>
                  </a:lnTo>
                  <a:lnTo>
                    <a:pt x="2700" y="407"/>
                  </a:lnTo>
                  <a:lnTo>
                    <a:pt x="2684" y="421"/>
                  </a:lnTo>
                  <a:lnTo>
                    <a:pt x="2665" y="432"/>
                  </a:lnTo>
                  <a:lnTo>
                    <a:pt x="2659" y="438"/>
                  </a:lnTo>
                  <a:lnTo>
                    <a:pt x="2674" y="438"/>
                  </a:lnTo>
                  <a:lnTo>
                    <a:pt x="2659" y="457"/>
                  </a:lnTo>
                  <a:lnTo>
                    <a:pt x="2649" y="462"/>
                  </a:lnTo>
                  <a:lnTo>
                    <a:pt x="2638" y="484"/>
                  </a:lnTo>
                  <a:lnTo>
                    <a:pt x="2613" y="489"/>
                  </a:lnTo>
                  <a:lnTo>
                    <a:pt x="2608" y="493"/>
                  </a:lnTo>
                  <a:lnTo>
                    <a:pt x="2572" y="498"/>
                  </a:lnTo>
                  <a:lnTo>
                    <a:pt x="2592" y="498"/>
                  </a:lnTo>
                  <a:lnTo>
                    <a:pt x="2586" y="503"/>
                  </a:lnTo>
                  <a:lnTo>
                    <a:pt x="2602" y="514"/>
                  </a:lnTo>
                  <a:lnTo>
                    <a:pt x="2592" y="525"/>
                  </a:lnTo>
                  <a:lnTo>
                    <a:pt x="2572" y="535"/>
                  </a:lnTo>
                  <a:lnTo>
                    <a:pt x="2567" y="544"/>
                  </a:lnTo>
                  <a:lnTo>
                    <a:pt x="2545" y="555"/>
                  </a:lnTo>
                  <a:lnTo>
                    <a:pt x="2551" y="560"/>
                  </a:lnTo>
                  <a:lnTo>
                    <a:pt x="2572" y="560"/>
                  </a:lnTo>
                  <a:lnTo>
                    <a:pt x="2572" y="566"/>
                  </a:lnTo>
                  <a:lnTo>
                    <a:pt x="2540" y="585"/>
                  </a:lnTo>
                  <a:lnTo>
                    <a:pt x="2545" y="585"/>
                  </a:lnTo>
                  <a:lnTo>
                    <a:pt x="2567" y="596"/>
                  </a:lnTo>
                  <a:lnTo>
                    <a:pt x="2572" y="606"/>
                  </a:lnTo>
                  <a:lnTo>
                    <a:pt x="2561" y="612"/>
                  </a:lnTo>
                  <a:lnTo>
                    <a:pt x="2540" y="617"/>
                  </a:lnTo>
                  <a:lnTo>
                    <a:pt x="2521" y="612"/>
                  </a:lnTo>
                  <a:lnTo>
                    <a:pt x="2469" y="617"/>
                  </a:lnTo>
                  <a:lnTo>
                    <a:pt x="2439" y="617"/>
                  </a:lnTo>
                  <a:lnTo>
                    <a:pt x="2412" y="612"/>
                  </a:lnTo>
                  <a:lnTo>
                    <a:pt x="2376" y="606"/>
                  </a:lnTo>
                  <a:lnTo>
                    <a:pt x="2371" y="590"/>
                  </a:lnTo>
                  <a:lnTo>
                    <a:pt x="2371" y="576"/>
                  </a:lnTo>
                  <a:lnTo>
                    <a:pt x="2352" y="566"/>
                  </a:lnTo>
                  <a:lnTo>
                    <a:pt x="2321" y="566"/>
                  </a:lnTo>
                  <a:lnTo>
                    <a:pt x="2305" y="555"/>
                  </a:lnTo>
                  <a:lnTo>
                    <a:pt x="2316" y="544"/>
                  </a:lnTo>
                  <a:lnTo>
                    <a:pt x="2341" y="550"/>
                  </a:lnTo>
                  <a:lnTo>
                    <a:pt x="2357" y="560"/>
                  </a:lnTo>
                  <a:lnTo>
                    <a:pt x="2382" y="560"/>
                  </a:lnTo>
                  <a:lnTo>
                    <a:pt x="2398" y="571"/>
                  </a:lnTo>
                  <a:lnTo>
                    <a:pt x="2398" y="580"/>
                  </a:lnTo>
                  <a:lnTo>
                    <a:pt x="2417" y="585"/>
                  </a:lnTo>
                  <a:lnTo>
                    <a:pt x="2428" y="590"/>
                  </a:lnTo>
                  <a:lnTo>
                    <a:pt x="2428" y="590"/>
                  </a:lnTo>
                  <a:lnTo>
                    <a:pt x="2439" y="592"/>
                  </a:lnTo>
                  <a:lnTo>
                    <a:pt x="2449" y="594"/>
                  </a:lnTo>
                  <a:lnTo>
                    <a:pt x="2460" y="596"/>
                  </a:lnTo>
                  <a:lnTo>
                    <a:pt x="2474" y="596"/>
                  </a:lnTo>
                  <a:lnTo>
                    <a:pt x="2496" y="590"/>
                  </a:lnTo>
                  <a:lnTo>
                    <a:pt x="2526" y="585"/>
                  </a:lnTo>
                  <a:lnTo>
                    <a:pt x="2540" y="585"/>
                  </a:lnTo>
                  <a:lnTo>
                    <a:pt x="2499" y="580"/>
                  </a:lnTo>
                  <a:lnTo>
                    <a:pt x="2458" y="585"/>
                  </a:lnTo>
                  <a:lnTo>
                    <a:pt x="2439" y="580"/>
                  </a:lnTo>
                  <a:lnTo>
                    <a:pt x="2412" y="580"/>
                  </a:lnTo>
                  <a:lnTo>
                    <a:pt x="2412" y="566"/>
                  </a:lnTo>
                  <a:lnTo>
                    <a:pt x="2439" y="560"/>
                  </a:lnTo>
                  <a:lnTo>
                    <a:pt x="2428" y="539"/>
                  </a:lnTo>
                  <a:lnTo>
                    <a:pt x="2439" y="539"/>
                  </a:lnTo>
                  <a:lnTo>
                    <a:pt x="2474" y="550"/>
                  </a:lnTo>
                  <a:lnTo>
                    <a:pt x="2455" y="535"/>
                  </a:lnTo>
                  <a:lnTo>
                    <a:pt x="2433" y="530"/>
                  </a:lnTo>
                  <a:lnTo>
                    <a:pt x="2444" y="519"/>
                  </a:lnTo>
                  <a:lnTo>
                    <a:pt x="2464" y="514"/>
                  </a:lnTo>
                  <a:lnTo>
                    <a:pt x="2469" y="503"/>
                  </a:lnTo>
                  <a:lnTo>
                    <a:pt x="2464" y="498"/>
                  </a:lnTo>
                  <a:lnTo>
                    <a:pt x="2444" y="509"/>
                  </a:lnTo>
                  <a:lnTo>
                    <a:pt x="2423" y="530"/>
                  </a:lnTo>
                  <a:lnTo>
                    <a:pt x="2403" y="530"/>
                  </a:lnTo>
                  <a:lnTo>
                    <a:pt x="2376" y="525"/>
                  </a:lnTo>
                  <a:lnTo>
                    <a:pt x="2357" y="509"/>
                  </a:lnTo>
                  <a:lnTo>
                    <a:pt x="2357" y="498"/>
                  </a:lnTo>
                  <a:lnTo>
                    <a:pt x="2368" y="493"/>
                  </a:lnTo>
                  <a:lnTo>
                    <a:pt x="2346" y="493"/>
                  </a:lnTo>
                  <a:lnTo>
                    <a:pt x="2330" y="484"/>
                  </a:lnTo>
                  <a:lnTo>
                    <a:pt x="2327" y="473"/>
                  </a:lnTo>
                  <a:lnTo>
                    <a:pt x="2336" y="462"/>
                  </a:lnTo>
                  <a:close/>
                  <a:moveTo>
                    <a:pt x="2403" y="631"/>
                  </a:moveTo>
                  <a:lnTo>
                    <a:pt x="2376" y="653"/>
                  </a:lnTo>
                  <a:lnTo>
                    <a:pt x="2357" y="658"/>
                  </a:lnTo>
                  <a:lnTo>
                    <a:pt x="2336" y="678"/>
                  </a:lnTo>
                  <a:lnTo>
                    <a:pt x="2316" y="678"/>
                  </a:lnTo>
                  <a:lnTo>
                    <a:pt x="2305" y="658"/>
                  </a:lnTo>
                  <a:lnTo>
                    <a:pt x="2305" y="642"/>
                  </a:lnTo>
                  <a:lnTo>
                    <a:pt x="2316" y="631"/>
                  </a:lnTo>
                  <a:lnTo>
                    <a:pt x="2336" y="626"/>
                  </a:lnTo>
                  <a:lnTo>
                    <a:pt x="2368" y="631"/>
                  </a:lnTo>
                  <a:lnTo>
                    <a:pt x="2403" y="631"/>
                  </a:lnTo>
                  <a:close/>
                  <a:moveTo>
                    <a:pt x="2295" y="503"/>
                  </a:moveTo>
                  <a:lnTo>
                    <a:pt x="2327" y="503"/>
                  </a:lnTo>
                  <a:lnTo>
                    <a:pt x="2341" y="514"/>
                  </a:lnTo>
                  <a:lnTo>
                    <a:pt x="2336" y="525"/>
                  </a:lnTo>
                  <a:lnTo>
                    <a:pt x="2316" y="530"/>
                  </a:lnTo>
                  <a:lnTo>
                    <a:pt x="2305" y="525"/>
                  </a:lnTo>
                  <a:lnTo>
                    <a:pt x="2295" y="514"/>
                  </a:lnTo>
                  <a:lnTo>
                    <a:pt x="2295" y="503"/>
                  </a:lnTo>
                  <a:close/>
                  <a:moveTo>
                    <a:pt x="2295" y="571"/>
                  </a:moveTo>
                  <a:lnTo>
                    <a:pt x="2295" y="585"/>
                  </a:lnTo>
                  <a:lnTo>
                    <a:pt x="2284" y="606"/>
                  </a:lnTo>
                  <a:lnTo>
                    <a:pt x="2259" y="606"/>
                  </a:lnTo>
                  <a:lnTo>
                    <a:pt x="2243" y="601"/>
                  </a:lnTo>
                  <a:lnTo>
                    <a:pt x="2248" y="585"/>
                  </a:lnTo>
                  <a:lnTo>
                    <a:pt x="2229" y="585"/>
                  </a:lnTo>
                  <a:lnTo>
                    <a:pt x="2234" y="566"/>
                  </a:lnTo>
                  <a:lnTo>
                    <a:pt x="2248" y="566"/>
                  </a:lnTo>
                  <a:lnTo>
                    <a:pt x="2270" y="560"/>
                  </a:lnTo>
                  <a:lnTo>
                    <a:pt x="2284" y="555"/>
                  </a:lnTo>
                  <a:lnTo>
                    <a:pt x="2295" y="571"/>
                  </a:lnTo>
                  <a:close/>
                  <a:moveTo>
                    <a:pt x="2213" y="478"/>
                  </a:moveTo>
                  <a:lnTo>
                    <a:pt x="2234" y="484"/>
                  </a:lnTo>
                  <a:lnTo>
                    <a:pt x="2264" y="498"/>
                  </a:lnTo>
                  <a:lnTo>
                    <a:pt x="2275" y="514"/>
                  </a:lnTo>
                  <a:lnTo>
                    <a:pt x="2280" y="525"/>
                  </a:lnTo>
                  <a:lnTo>
                    <a:pt x="2259" y="519"/>
                  </a:lnTo>
                  <a:lnTo>
                    <a:pt x="2240" y="509"/>
                  </a:lnTo>
                  <a:lnTo>
                    <a:pt x="2213" y="503"/>
                  </a:lnTo>
                  <a:lnTo>
                    <a:pt x="2229" y="498"/>
                  </a:lnTo>
                  <a:lnTo>
                    <a:pt x="2208" y="489"/>
                  </a:lnTo>
                  <a:lnTo>
                    <a:pt x="2213" y="478"/>
                  </a:lnTo>
                  <a:close/>
                  <a:moveTo>
                    <a:pt x="2188" y="647"/>
                  </a:moveTo>
                  <a:lnTo>
                    <a:pt x="2199" y="647"/>
                  </a:lnTo>
                  <a:lnTo>
                    <a:pt x="2229" y="653"/>
                  </a:lnTo>
                  <a:lnTo>
                    <a:pt x="2213" y="631"/>
                  </a:lnTo>
                  <a:lnTo>
                    <a:pt x="2234" y="621"/>
                  </a:lnTo>
                  <a:lnTo>
                    <a:pt x="2254" y="631"/>
                  </a:lnTo>
                  <a:lnTo>
                    <a:pt x="2280" y="631"/>
                  </a:lnTo>
                  <a:lnTo>
                    <a:pt x="2284" y="642"/>
                  </a:lnTo>
                  <a:lnTo>
                    <a:pt x="2264" y="653"/>
                  </a:lnTo>
                  <a:lnTo>
                    <a:pt x="2284" y="667"/>
                  </a:lnTo>
                  <a:lnTo>
                    <a:pt x="2280" y="688"/>
                  </a:lnTo>
                  <a:lnTo>
                    <a:pt x="2248" y="699"/>
                  </a:lnTo>
                  <a:lnTo>
                    <a:pt x="2234" y="694"/>
                  </a:lnTo>
                  <a:lnTo>
                    <a:pt x="2224" y="683"/>
                  </a:lnTo>
                  <a:lnTo>
                    <a:pt x="2188" y="663"/>
                  </a:lnTo>
                  <a:lnTo>
                    <a:pt x="2188" y="647"/>
                  </a:lnTo>
                  <a:lnTo>
                    <a:pt x="2188" y="647"/>
                  </a:lnTo>
                  <a:close/>
                  <a:moveTo>
                    <a:pt x="2033" y="535"/>
                  </a:moveTo>
                  <a:lnTo>
                    <a:pt x="2055" y="530"/>
                  </a:lnTo>
                  <a:lnTo>
                    <a:pt x="2085" y="544"/>
                  </a:lnTo>
                  <a:lnTo>
                    <a:pt x="2106" y="566"/>
                  </a:lnTo>
                  <a:lnTo>
                    <a:pt x="2126" y="571"/>
                  </a:lnTo>
                  <a:lnTo>
                    <a:pt x="2115" y="544"/>
                  </a:lnTo>
                  <a:lnTo>
                    <a:pt x="2136" y="539"/>
                  </a:lnTo>
                  <a:lnTo>
                    <a:pt x="2152" y="544"/>
                  </a:lnTo>
                  <a:lnTo>
                    <a:pt x="2152" y="571"/>
                  </a:lnTo>
                  <a:lnTo>
                    <a:pt x="2167" y="571"/>
                  </a:lnTo>
                  <a:lnTo>
                    <a:pt x="2183" y="576"/>
                  </a:lnTo>
                  <a:lnTo>
                    <a:pt x="2183" y="590"/>
                  </a:lnTo>
                  <a:lnTo>
                    <a:pt x="2167" y="601"/>
                  </a:lnTo>
                  <a:lnTo>
                    <a:pt x="2115" y="596"/>
                  </a:lnTo>
                  <a:lnTo>
                    <a:pt x="2074" y="601"/>
                  </a:lnTo>
                  <a:lnTo>
                    <a:pt x="2049" y="580"/>
                  </a:lnTo>
                  <a:lnTo>
                    <a:pt x="2055" y="571"/>
                  </a:lnTo>
                  <a:lnTo>
                    <a:pt x="2090" y="566"/>
                  </a:lnTo>
                  <a:lnTo>
                    <a:pt x="2090" y="566"/>
                  </a:lnTo>
                  <a:lnTo>
                    <a:pt x="2074" y="564"/>
                  </a:lnTo>
                  <a:lnTo>
                    <a:pt x="2056" y="562"/>
                  </a:lnTo>
                  <a:lnTo>
                    <a:pt x="2024" y="555"/>
                  </a:lnTo>
                  <a:lnTo>
                    <a:pt x="2003" y="550"/>
                  </a:lnTo>
                  <a:lnTo>
                    <a:pt x="2033" y="535"/>
                  </a:lnTo>
                  <a:close/>
                  <a:moveTo>
                    <a:pt x="1839" y="601"/>
                  </a:moveTo>
                  <a:lnTo>
                    <a:pt x="1864" y="580"/>
                  </a:lnTo>
                  <a:lnTo>
                    <a:pt x="1886" y="566"/>
                  </a:lnTo>
                  <a:lnTo>
                    <a:pt x="1886" y="544"/>
                  </a:lnTo>
                  <a:lnTo>
                    <a:pt x="1932" y="555"/>
                  </a:lnTo>
                  <a:lnTo>
                    <a:pt x="1946" y="566"/>
                  </a:lnTo>
                  <a:lnTo>
                    <a:pt x="1978" y="576"/>
                  </a:lnTo>
                  <a:lnTo>
                    <a:pt x="1987" y="585"/>
                  </a:lnTo>
                  <a:lnTo>
                    <a:pt x="1998" y="601"/>
                  </a:lnTo>
                  <a:lnTo>
                    <a:pt x="2019" y="596"/>
                  </a:lnTo>
                  <a:lnTo>
                    <a:pt x="2033" y="606"/>
                  </a:lnTo>
                  <a:lnTo>
                    <a:pt x="2019" y="617"/>
                  </a:lnTo>
                  <a:lnTo>
                    <a:pt x="2049" y="617"/>
                  </a:lnTo>
                  <a:lnTo>
                    <a:pt x="2065" y="637"/>
                  </a:lnTo>
                  <a:lnTo>
                    <a:pt x="2085" y="626"/>
                  </a:lnTo>
                  <a:lnTo>
                    <a:pt x="2095" y="637"/>
                  </a:lnTo>
                  <a:lnTo>
                    <a:pt x="2101" y="663"/>
                  </a:lnTo>
                  <a:lnTo>
                    <a:pt x="2115" y="653"/>
                  </a:lnTo>
                  <a:lnTo>
                    <a:pt x="2115" y="626"/>
                  </a:lnTo>
                  <a:lnTo>
                    <a:pt x="2131" y="626"/>
                  </a:lnTo>
                  <a:lnTo>
                    <a:pt x="2147" y="631"/>
                  </a:lnTo>
                  <a:lnTo>
                    <a:pt x="2161" y="647"/>
                  </a:lnTo>
                  <a:lnTo>
                    <a:pt x="2161" y="694"/>
                  </a:lnTo>
                  <a:lnTo>
                    <a:pt x="2161" y="694"/>
                  </a:lnTo>
                  <a:lnTo>
                    <a:pt x="2170" y="704"/>
                  </a:lnTo>
                  <a:lnTo>
                    <a:pt x="2181" y="713"/>
                  </a:lnTo>
                  <a:lnTo>
                    <a:pt x="2193" y="718"/>
                  </a:lnTo>
                  <a:lnTo>
                    <a:pt x="2208" y="724"/>
                  </a:lnTo>
                  <a:lnTo>
                    <a:pt x="2199" y="740"/>
                  </a:lnTo>
                  <a:lnTo>
                    <a:pt x="2167" y="740"/>
                  </a:lnTo>
                  <a:lnTo>
                    <a:pt x="2177" y="754"/>
                  </a:lnTo>
                  <a:lnTo>
                    <a:pt x="2167" y="765"/>
                  </a:lnTo>
                  <a:lnTo>
                    <a:pt x="2136" y="754"/>
                  </a:lnTo>
                  <a:lnTo>
                    <a:pt x="2111" y="740"/>
                  </a:lnTo>
                  <a:lnTo>
                    <a:pt x="2090" y="740"/>
                  </a:lnTo>
                  <a:lnTo>
                    <a:pt x="2049" y="745"/>
                  </a:lnTo>
                  <a:lnTo>
                    <a:pt x="2049" y="745"/>
                  </a:lnTo>
                  <a:lnTo>
                    <a:pt x="2030" y="743"/>
                  </a:lnTo>
                  <a:lnTo>
                    <a:pt x="2008" y="742"/>
                  </a:lnTo>
                  <a:lnTo>
                    <a:pt x="1989" y="740"/>
                  </a:lnTo>
                  <a:lnTo>
                    <a:pt x="1973" y="740"/>
                  </a:lnTo>
                  <a:lnTo>
                    <a:pt x="1967" y="724"/>
                  </a:lnTo>
                  <a:lnTo>
                    <a:pt x="1946" y="713"/>
                  </a:lnTo>
                  <a:lnTo>
                    <a:pt x="1926" y="713"/>
                  </a:lnTo>
                  <a:lnTo>
                    <a:pt x="1916" y="694"/>
                  </a:lnTo>
                  <a:lnTo>
                    <a:pt x="1957" y="694"/>
                  </a:lnTo>
                  <a:lnTo>
                    <a:pt x="1978" y="699"/>
                  </a:lnTo>
                  <a:lnTo>
                    <a:pt x="1998" y="699"/>
                  </a:lnTo>
                  <a:lnTo>
                    <a:pt x="1978" y="683"/>
                  </a:lnTo>
                  <a:lnTo>
                    <a:pt x="1946" y="672"/>
                  </a:lnTo>
                  <a:lnTo>
                    <a:pt x="1926" y="667"/>
                  </a:lnTo>
                  <a:lnTo>
                    <a:pt x="1926" y="658"/>
                  </a:lnTo>
                  <a:lnTo>
                    <a:pt x="1967" y="653"/>
                  </a:lnTo>
                  <a:lnTo>
                    <a:pt x="1946" y="647"/>
                  </a:lnTo>
                  <a:lnTo>
                    <a:pt x="1926" y="631"/>
                  </a:lnTo>
                  <a:lnTo>
                    <a:pt x="1946" y="617"/>
                  </a:lnTo>
                  <a:lnTo>
                    <a:pt x="1957" y="612"/>
                  </a:lnTo>
                  <a:lnTo>
                    <a:pt x="1937" y="617"/>
                  </a:lnTo>
                  <a:lnTo>
                    <a:pt x="1905" y="631"/>
                  </a:lnTo>
                  <a:lnTo>
                    <a:pt x="1905" y="631"/>
                  </a:lnTo>
                  <a:lnTo>
                    <a:pt x="1900" y="638"/>
                  </a:lnTo>
                  <a:lnTo>
                    <a:pt x="1898" y="642"/>
                  </a:lnTo>
                  <a:lnTo>
                    <a:pt x="1896" y="642"/>
                  </a:lnTo>
                  <a:lnTo>
                    <a:pt x="1850" y="647"/>
                  </a:lnTo>
                  <a:lnTo>
                    <a:pt x="1850" y="631"/>
                  </a:lnTo>
                  <a:lnTo>
                    <a:pt x="1829" y="612"/>
                  </a:lnTo>
                  <a:lnTo>
                    <a:pt x="1839" y="601"/>
                  </a:lnTo>
                  <a:close/>
                  <a:moveTo>
                    <a:pt x="1777" y="64"/>
                  </a:moveTo>
                  <a:lnTo>
                    <a:pt x="1777" y="64"/>
                  </a:lnTo>
                  <a:lnTo>
                    <a:pt x="1773" y="66"/>
                  </a:lnTo>
                  <a:lnTo>
                    <a:pt x="1770" y="68"/>
                  </a:lnTo>
                  <a:lnTo>
                    <a:pt x="1757" y="68"/>
                  </a:lnTo>
                  <a:lnTo>
                    <a:pt x="1757" y="68"/>
                  </a:lnTo>
                  <a:lnTo>
                    <a:pt x="1768" y="66"/>
                  </a:lnTo>
                  <a:lnTo>
                    <a:pt x="1777" y="64"/>
                  </a:lnTo>
                  <a:lnTo>
                    <a:pt x="1777" y="64"/>
                  </a:lnTo>
                  <a:close/>
                  <a:moveTo>
                    <a:pt x="4175" y="3224"/>
                  </a:moveTo>
                  <a:lnTo>
                    <a:pt x="4150" y="3285"/>
                  </a:lnTo>
                  <a:lnTo>
                    <a:pt x="4129" y="3310"/>
                  </a:lnTo>
                  <a:lnTo>
                    <a:pt x="4082" y="3372"/>
                  </a:lnTo>
                  <a:lnTo>
                    <a:pt x="4063" y="3413"/>
                  </a:lnTo>
                  <a:lnTo>
                    <a:pt x="4036" y="3448"/>
                  </a:lnTo>
                  <a:lnTo>
                    <a:pt x="4033" y="3454"/>
                  </a:lnTo>
                  <a:lnTo>
                    <a:pt x="4017" y="3480"/>
                  </a:lnTo>
                  <a:lnTo>
                    <a:pt x="3995" y="3541"/>
                  </a:lnTo>
                  <a:lnTo>
                    <a:pt x="3995" y="3541"/>
                  </a:lnTo>
                  <a:lnTo>
                    <a:pt x="3986" y="3557"/>
                  </a:lnTo>
                  <a:lnTo>
                    <a:pt x="3977" y="3575"/>
                  </a:lnTo>
                  <a:lnTo>
                    <a:pt x="3970" y="3591"/>
                  </a:lnTo>
                  <a:lnTo>
                    <a:pt x="3960" y="3609"/>
                  </a:lnTo>
                  <a:lnTo>
                    <a:pt x="3945" y="3623"/>
                  </a:lnTo>
                  <a:lnTo>
                    <a:pt x="3924" y="3664"/>
                  </a:lnTo>
                  <a:lnTo>
                    <a:pt x="3883" y="3710"/>
                  </a:lnTo>
                  <a:lnTo>
                    <a:pt x="3872" y="3740"/>
                  </a:lnTo>
                  <a:lnTo>
                    <a:pt x="3853" y="3761"/>
                  </a:lnTo>
                  <a:lnTo>
                    <a:pt x="3837" y="3781"/>
                  </a:lnTo>
                  <a:lnTo>
                    <a:pt x="3837" y="3781"/>
                  </a:lnTo>
                  <a:lnTo>
                    <a:pt x="3823" y="3786"/>
                  </a:lnTo>
                  <a:lnTo>
                    <a:pt x="3819" y="3788"/>
                  </a:lnTo>
                  <a:lnTo>
                    <a:pt x="3817" y="3792"/>
                  </a:lnTo>
                  <a:lnTo>
                    <a:pt x="3776" y="3813"/>
                  </a:lnTo>
                  <a:lnTo>
                    <a:pt x="3755" y="3833"/>
                  </a:lnTo>
                  <a:lnTo>
                    <a:pt x="3725" y="3854"/>
                  </a:lnTo>
                  <a:lnTo>
                    <a:pt x="3684" y="3884"/>
                  </a:lnTo>
                  <a:lnTo>
                    <a:pt x="3638" y="3914"/>
                  </a:lnTo>
                  <a:lnTo>
                    <a:pt x="3622" y="3936"/>
                  </a:lnTo>
                  <a:lnTo>
                    <a:pt x="3622" y="3946"/>
                  </a:lnTo>
                  <a:lnTo>
                    <a:pt x="3602" y="3971"/>
                  </a:lnTo>
                  <a:lnTo>
                    <a:pt x="3586" y="3987"/>
                  </a:lnTo>
                  <a:lnTo>
                    <a:pt x="3561" y="4007"/>
                  </a:lnTo>
                  <a:lnTo>
                    <a:pt x="3504" y="4058"/>
                  </a:lnTo>
                  <a:lnTo>
                    <a:pt x="3504" y="4058"/>
                  </a:lnTo>
                  <a:lnTo>
                    <a:pt x="3476" y="4078"/>
                  </a:lnTo>
                  <a:lnTo>
                    <a:pt x="3460" y="4087"/>
                  </a:lnTo>
                  <a:lnTo>
                    <a:pt x="3442" y="4094"/>
                  </a:lnTo>
                  <a:lnTo>
                    <a:pt x="3417" y="4115"/>
                  </a:lnTo>
                  <a:lnTo>
                    <a:pt x="3376" y="4156"/>
                  </a:lnTo>
                  <a:lnTo>
                    <a:pt x="3341" y="4176"/>
                  </a:lnTo>
                  <a:lnTo>
                    <a:pt x="3325" y="4176"/>
                  </a:lnTo>
                  <a:lnTo>
                    <a:pt x="3309" y="4181"/>
                  </a:lnTo>
                  <a:lnTo>
                    <a:pt x="3289" y="4176"/>
                  </a:lnTo>
                  <a:lnTo>
                    <a:pt x="3268" y="4181"/>
                  </a:lnTo>
                  <a:lnTo>
                    <a:pt x="3259" y="4170"/>
                  </a:lnTo>
                  <a:lnTo>
                    <a:pt x="3248" y="4187"/>
                  </a:lnTo>
                  <a:lnTo>
                    <a:pt x="3268" y="4203"/>
                  </a:lnTo>
                  <a:lnTo>
                    <a:pt x="3253" y="4217"/>
                  </a:lnTo>
                  <a:lnTo>
                    <a:pt x="3264" y="4222"/>
                  </a:lnTo>
                  <a:lnTo>
                    <a:pt x="3253" y="4233"/>
                  </a:lnTo>
                  <a:lnTo>
                    <a:pt x="3213" y="4263"/>
                  </a:lnTo>
                  <a:lnTo>
                    <a:pt x="3177" y="4274"/>
                  </a:lnTo>
                  <a:lnTo>
                    <a:pt x="3120" y="4290"/>
                  </a:lnTo>
                  <a:lnTo>
                    <a:pt x="3095" y="4293"/>
                  </a:lnTo>
                  <a:lnTo>
                    <a:pt x="3084" y="4304"/>
                  </a:lnTo>
                  <a:lnTo>
                    <a:pt x="3084" y="4315"/>
                  </a:lnTo>
                  <a:lnTo>
                    <a:pt x="3063" y="4325"/>
                  </a:lnTo>
                  <a:lnTo>
                    <a:pt x="3038" y="4331"/>
                  </a:lnTo>
                  <a:lnTo>
                    <a:pt x="3022" y="4320"/>
                  </a:lnTo>
                  <a:lnTo>
                    <a:pt x="3003" y="4331"/>
                  </a:lnTo>
                  <a:lnTo>
                    <a:pt x="2992" y="4350"/>
                  </a:lnTo>
                  <a:lnTo>
                    <a:pt x="3008" y="4355"/>
                  </a:lnTo>
                  <a:lnTo>
                    <a:pt x="3028" y="4345"/>
                  </a:lnTo>
                  <a:lnTo>
                    <a:pt x="3028" y="4355"/>
                  </a:lnTo>
                  <a:lnTo>
                    <a:pt x="3003" y="4366"/>
                  </a:lnTo>
                  <a:lnTo>
                    <a:pt x="2976" y="4380"/>
                  </a:lnTo>
                  <a:lnTo>
                    <a:pt x="2956" y="4402"/>
                  </a:lnTo>
                  <a:lnTo>
                    <a:pt x="2940" y="4412"/>
                  </a:lnTo>
                  <a:lnTo>
                    <a:pt x="2910" y="4407"/>
                  </a:lnTo>
                  <a:lnTo>
                    <a:pt x="2883" y="4418"/>
                  </a:lnTo>
                  <a:lnTo>
                    <a:pt x="2864" y="4432"/>
                  </a:lnTo>
                  <a:lnTo>
                    <a:pt x="2880" y="4443"/>
                  </a:lnTo>
                  <a:lnTo>
                    <a:pt x="2899" y="4443"/>
                  </a:lnTo>
                  <a:lnTo>
                    <a:pt x="2880" y="4459"/>
                  </a:lnTo>
                  <a:lnTo>
                    <a:pt x="2843" y="4468"/>
                  </a:lnTo>
                  <a:lnTo>
                    <a:pt x="2812" y="4489"/>
                  </a:lnTo>
                  <a:lnTo>
                    <a:pt x="2787" y="4500"/>
                  </a:lnTo>
                  <a:lnTo>
                    <a:pt x="2766" y="4494"/>
                  </a:lnTo>
                  <a:lnTo>
                    <a:pt x="2761" y="4505"/>
                  </a:lnTo>
                  <a:lnTo>
                    <a:pt x="2771" y="4508"/>
                  </a:lnTo>
                  <a:lnTo>
                    <a:pt x="2771" y="4508"/>
                  </a:lnTo>
                  <a:lnTo>
                    <a:pt x="2761" y="4508"/>
                  </a:lnTo>
                  <a:lnTo>
                    <a:pt x="2761" y="4514"/>
                  </a:lnTo>
                  <a:lnTo>
                    <a:pt x="2782" y="4519"/>
                  </a:lnTo>
                  <a:lnTo>
                    <a:pt x="2802" y="4519"/>
                  </a:lnTo>
                  <a:lnTo>
                    <a:pt x="2793" y="4524"/>
                  </a:lnTo>
                  <a:lnTo>
                    <a:pt x="2771" y="4530"/>
                  </a:lnTo>
                  <a:lnTo>
                    <a:pt x="2766" y="4530"/>
                  </a:lnTo>
                  <a:lnTo>
                    <a:pt x="2752" y="4535"/>
                  </a:lnTo>
                  <a:lnTo>
                    <a:pt x="2730" y="4540"/>
                  </a:lnTo>
                  <a:lnTo>
                    <a:pt x="2684" y="4540"/>
                  </a:lnTo>
                  <a:lnTo>
                    <a:pt x="2684" y="4540"/>
                  </a:lnTo>
                  <a:lnTo>
                    <a:pt x="2675" y="4539"/>
                  </a:lnTo>
                  <a:lnTo>
                    <a:pt x="2666" y="4537"/>
                  </a:lnTo>
                  <a:lnTo>
                    <a:pt x="2659" y="4535"/>
                  </a:lnTo>
                  <a:lnTo>
                    <a:pt x="2649" y="4535"/>
                  </a:lnTo>
                  <a:lnTo>
                    <a:pt x="2627" y="4519"/>
                  </a:lnTo>
                  <a:lnTo>
                    <a:pt x="2627" y="4519"/>
                  </a:lnTo>
                  <a:lnTo>
                    <a:pt x="2624" y="4514"/>
                  </a:lnTo>
                  <a:lnTo>
                    <a:pt x="2624" y="4508"/>
                  </a:lnTo>
                  <a:lnTo>
                    <a:pt x="2638" y="4500"/>
                  </a:lnTo>
                  <a:lnTo>
                    <a:pt x="2633" y="4489"/>
                  </a:lnTo>
                  <a:lnTo>
                    <a:pt x="2649" y="4468"/>
                  </a:lnTo>
                  <a:lnTo>
                    <a:pt x="2668" y="4453"/>
                  </a:lnTo>
                  <a:lnTo>
                    <a:pt x="2700" y="4437"/>
                  </a:lnTo>
                  <a:lnTo>
                    <a:pt x="2665" y="4437"/>
                  </a:lnTo>
                  <a:lnTo>
                    <a:pt x="2695" y="4421"/>
                  </a:lnTo>
                  <a:lnTo>
                    <a:pt x="2714" y="4396"/>
                  </a:lnTo>
                  <a:lnTo>
                    <a:pt x="2741" y="4402"/>
                  </a:lnTo>
                  <a:lnTo>
                    <a:pt x="2771" y="4371"/>
                  </a:lnTo>
                  <a:lnTo>
                    <a:pt x="2766" y="4371"/>
                  </a:lnTo>
                  <a:lnTo>
                    <a:pt x="2746" y="4391"/>
                  </a:lnTo>
                  <a:lnTo>
                    <a:pt x="2730" y="4391"/>
                  </a:lnTo>
                  <a:lnTo>
                    <a:pt x="2730" y="4391"/>
                  </a:lnTo>
                  <a:lnTo>
                    <a:pt x="2745" y="4377"/>
                  </a:lnTo>
                  <a:lnTo>
                    <a:pt x="2755" y="4363"/>
                  </a:lnTo>
                  <a:lnTo>
                    <a:pt x="2777" y="4334"/>
                  </a:lnTo>
                  <a:lnTo>
                    <a:pt x="2796" y="4320"/>
                  </a:lnTo>
                  <a:lnTo>
                    <a:pt x="2796" y="4299"/>
                  </a:lnTo>
                  <a:lnTo>
                    <a:pt x="2807" y="4279"/>
                  </a:lnTo>
                  <a:lnTo>
                    <a:pt x="2823" y="4279"/>
                  </a:lnTo>
                  <a:lnTo>
                    <a:pt x="2823" y="4279"/>
                  </a:lnTo>
                  <a:lnTo>
                    <a:pt x="2889" y="4211"/>
                  </a:lnTo>
                  <a:lnTo>
                    <a:pt x="2915" y="4181"/>
                  </a:lnTo>
                  <a:lnTo>
                    <a:pt x="2921" y="4151"/>
                  </a:lnTo>
                  <a:lnTo>
                    <a:pt x="2940" y="4130"/>
                  </a:lnTo>
                  <a:lnTo>
                    <a:pt x="2946" y="4105"/>
                  </a:lnTo>
                  <a:lnTo>
                    <a:pt x="2971" y="4074"/>
                  </a:lnTo>
                  <a:lnTo>
                    <a:pt x="2971" y="4074"/>
                  </a:lnTo>
                  <a:lnTo>
                    <a:pt x="2988" y="4032"/>
                  </a:lnTo>
                  <a:lnTo>
                    <a:pt x="3008" y="3991"/>
                  </a:lnTo>
                  <a:lnTo>
                    <a:pt x="3044" y="3914"/>
                  </a:lnTo>
                  <a:lnTo>
                    <a:pt x="3052" y="3868"/>
                  </a:lnTo>
                  <a:lnTo>
                    <a:pt x="3058" y="3833"/>
                  </a:lnTo>
                  <a:lnTo>
                    <a:pt x="3028" y="3818"/>
                  </a:lnTo>
                  <a:lnTo>
                    <a:pt x="3028" y="3802"/>
                  </a:lnTo>
                  <a:lnTo>
                    <a:pt x="2962" y="3781"/>
                  </a:lnTo>
                  <a:lnTo>
                    <a:pt x="2899" y="3756"/>
                  </a:lnTo>
                  <a:lnTo>
                    <a:pt x="2875" y="3737"/>
                  </a:lnTo>
                  <a:lnTo>
                    <a:pt x="2859" y="3715"/>
                  </a:lnTo>
                  <a:lnTo>
                    <a:pt x="2869" y="3705"/>
                  </a:lnTo>
                  <a:lnTo>
                    <a:pt x="2843" y="3669"/>
                  </a:lnTo>
                  <a:lnTo>
                    <a:pt x="2843" y="3669"/>
                  </a:lnTo>
                  <a:lnTo>
                    <a:pt x="2812" y="3610"/>
                  </a:lnTo>
                  <a:lnTo>
                    <a:pt x="2782" y="3552"/>
                  </a:lnTo>
                  <a:lnTo>
                    <a:pt x="2766" y="3536"/>
                  </a:lnTo>
                  <a:lnTo>
                    <a:pt x="2755" y="3516"/>
                  </a:lnTo>
                  <a:lnTo>
                    <a:pt x="2730" y="3495"/>
                  </a:lnTo>
                  <a:lnTo>
                    <a:pt x="2706" y="3480"/>
                  </a:lnTo>
                  <a:lnTo>
                    <a:pt x="2720" y="3464"/>
                  </a:lnTo>
                  <a:lnTo>
                    <a:pt x="2700" y="3434"/>
                  </a:lnTo>
                  <a:lnTo>
                    <a:pt x="2714" y="3413"/>
                  </a:lnTo>
                  <a:lnTo>
                    <a:pt x="2746" y="3393"/>
                  </a:lnTo>
                  <a:lnTo>
                    <a:pt x="2766" y="3367"/>
                  </a:lnTo>
                  <a:lnTo>
                    <a:pt x="2766" y="3326"/>
                  </a:lnTo>
                  <a:lnTo>
                    <a:pt x="2746" y="3347"/>
                  </a:lnTo>
                  <a:lnTo>
                    <a:pt x="2725" y="3331"/>
                  </a:lnTo>
                  <a:lnTo>
                    <a:pt x="2736" y="3320"/>
                  </a:lnTo>
                  <a:lnTo>
                    <a:pt x="2730" y="3290"/>
                  </a:lnTo>
                  <a:lnTo>
                    <a:pt x="2746" y="3285"/>
                  </a:lnTo>
                  <a:lnTo>
                    <a:pt x="2755" y="3265"/>
                  </a:lnTo>
                  <a:lnTo>
                    <a:pt x="2777" y="3244"/>
                  </a:lnTo>
                  <a:lnTo>
                    <a:pt x="2777" y="3228"/>
                  </a:lnTo>
                  <a:lnTo>
                    <a:pt x="2796" y="3219"/>
                  </a:lnTo>
                  <a:lnTo>
                    <a:pt x="2823" y="3203"/>
                  </a:lnTo>
                  <a:lnTo>
                    <a:pt x="2812" y="3182"/>
                  </a:lnTo>
                  <a:lnTo>
                    <a:pt x="2828" y="3178"/>
                  </a:lnTo>
                  <a:lnTo>
                    <a:pt x="2828" y="3157"/>
                  </a:lnTo>
                  <a:lnTo>
                    <a:pt x="2839" y="3141"/>
                  </a:lnTo>
                  <a:lnTo>
                    <a:pt x="2859" y="3137"/>
                  </a:lnTo>
                  <a:lnTo>
                    <a:pt x="2859" y="3137"/>
                  </a:lnTo>
                  <a:lnTo>
                    <a:pt x="2889" y="3091"/>
                  </a:lnTo>
                  <a:lnTo>
                    <a:pt x="2880" y="3086"/>
                  </a:lnTo>
                  <a:lnTo>
                    <a:pt x="2889" y="3064"/>
                  </a:lnTo>
                  <a:lnTo>
                    <a:pt x="2880" y="3029"/>
                  </a:lnTo>
                  <a:lnTo>
                    <a:pt x="2889" y="3018"/>
                  </a:lnTo>
                  <a:lnTo>
                    <a:pt x="2883" y="2988"/>
                  </a:lnTo>
                  <a:lnTo>
                    <a:pt x="2869" y="2972"/>
                  </a:lnTo>
                  <a:lnTo>
                    <a:pt x="2853" y="2963"/>
                  </a:lnTo>
                  <a:lnTo>
                    <a:pt x="2843" y="2942"/>
                  </a:lnTo>
                  <a:lnTo>
                    <a:pt x="2853" y="2931"/>
                  </a:lnTo>
                  <a:lnTo>
                    <a:pt x="2843" y="2931"/>
                  </a:lnTo>
                  <a:lnTo>
                    <a:pt x="2839" y="2922"/>
                  </a:lnTo>
                  <a:lnTo>
                    <a:pt x="2818" y="2911"/>
                  </a:lnTo>
                  <a:lnTo>
                    <a:pt x="2796" y="2906"/>
                  </a:lnTo>
                  <a:lnTo>
                    <a:pt x="2793" y="2922"/>
                  </a:lnTo>
                  <a:lnTo>
                    <a:pt x="2771" y="2931"/>
                  </a:lnTo>
                  <a:lnTo>
                    <a:pt x="2761" y="2931"/>
                  </a:lnTo>
                  <a:lnTo>
                    <a:pt x="2755" y="2942"/>
                  </a:lnTo>
                  <a:lnTo>
                    <a:pt x="2777" y="2963"/>
                  </a:lnTo>
                  <a:lnTo>
                    <a:pt x="2766" y="2963"/>
                  </a:lnTo>
                  <a:lnTo>
                    <a:pt x="2761" y="2968"/>
                  </a:lnTo>
                  <a:lnTo>
                    <a:pt x="2746" y="2972"/>
                  </a:lnTo>
                  <a:lnTo>
                    <a:pt x="2741" y="2952"/>
                  </a:lnTo>
                  <a:lnTo>
                    <a:pt x="2736" y="2958"/>
                  </a:lnTo>
                  <a:lnTo>
                    <a:pt x="2720" y="2958"/>
                  </a:lnTo>
                  <a:lnTo>
                    <a:pt x="2711" y="2942"/>
                  </a:lnTo>
                  <a:lnTo>
                    <a:pt x="2690" y="2942"/>
                  </a:lnTo>
                  <a:lnTo>
                    <a:pt x="2679" y="2936"/>
                  </a:lnTo>
                  <a:lnTo>
                    <a:pt x="2659" y="2936"/>
                  </a:lnTo>
                  <a:lnTo>
                    <a:pt x="2659" y="2947"/>
                  </a:lnTo>
                  <a:lnTo>
                    <a:pt x="2654" y="2942"/>
                  </a:lnTo>
                  <a:lnTo>
                    <a:pt x="2633" y="2931"/>
                  </a:lnTo>
                  <a:lnTo>
                    <a:pt x="2624" y="2922"/>
                  </a:lnTo>
                  <a:lnTo>
                    <a:pt x="2627" y="2917"/>
                  </a:lnTo>
                  <a:lnTo>
                    <a:pt x="2627" y="2906"/>
                  </a:lnTo>
                  <a:lnTo>
                    <a:pt x="2618" y="2895"/>
                  </a:lnTo>
                  <a:lnTo>
                    <a:pt x="2602" y="2885"/>
                  </a:lnTo>
                  <a:lnTo>
                    <a:pt x="2586" y="2881"/>
                  </a:lnTo>
                  <a:lnTo>
                    <a:pt x="2583" y="2870"/>
                  </a:lnTo>
                  <a:lnTo>
                    <a:pt x="2572" y="2854"/>
                  </a:lnTo>
                  <a:lnTo>
                    <a:pt x="2572" y="2865"/>
                  </a:lnTo>
                  <a:lnTo>
                    <a:pt x="2561" y="2876"/>
                  </a:lnTo>
                  <a:lnTo>
                    <a:pt x="2551" y="2870"/>
                  </a:lnTo>
                  <a:lnTo>
                    <a:pt x="2545" y="2860"/>
                  </a:lnTo>
                  <a:lnTo>
                    <a:pt x="2545" y="2844"/>
                  </a:lnTo>
                  <a:lnTo>
                    <a:pt x="2551" y="2830"/>
                  </a:lnTo>
                  <a:lnTo>
                    <a:pt x="2540" y="2824"/>
                  </a:lnTo>
                  <a:lnTo>
                    <a:pt x="2551" y="2814"/>
                  </a:lnTo>
                  <a:lnTo>
                    <a:pt x="2551" y="2814"/>
                  </a:lnTo>
                  <a:lnTo>
                    <a:pt x="2537" y="2799"/>
                  </a:lnTo>
                  <a:lnTo>
                    <a:pt x="2528" y="2792"/>
                  </a:lnTo>
                  <a:lnTo>
                    <a:pt x="2521" y="2789"/>
                  </a:lnTo>
                  <a:lnTo>
                    <a:pt x="2510" y="2778"/>
                  </a:lnTo>
                  <a:lnTo>
                    <a:pt x="2490" y="2762"/>
                  </a:lnTo>
                  <a:lnTo>
                    <a:pt x="2469" y="2742"/>
                  </a:lnTo>
                  <a:lnTo>
                    <a:pt x="2474" y="2737"/>
                  </a:lnTo>
                  <a:lnTo>
                    <a:pt x="2480" y="2742"/>
                  </a:lnTo>
                  <a:lnTo>
                    <a:pt x="2485" y="2737"/>
                  </a:lnTo>
                  <a:lnTo>
                    <a:pt x="2480" y="2721"/>
                  </a:lnTo>
                  <a:lnTo>
                    <a:pt x="2464" y="2716"/>
                  </a:lnTo>
                  <a:lnTo>
                    <a:pt x="2458" y="2726"/>
                  </a:lnTo>
                  <a:lnTo>
                    <a:pt x="2439" y="2726"/>
                  </a:lnTo>
                  <a:lnTo>
                    <a:pt x="2423" y="2721"/>
                  </a:lnTo>
                  <a:lnTo>
                    <a:pt x="2409" y="2716"/>
                  </a:lnTo>
                  <a:lnTo>
                    <a:pt x="2387" y="2712"/>
                  </a:lnTo>
                  <a:lnTo>
                    <a:pt x="2376" y="2721"/>
                  </a:lnTo>
                  <a:lnTo>
                    <a:pt x="2352" y="2716"/>
                  </a:lnTo>
                  <a:lnTo>
                    <a:pt x="2327" y="2716"/>
                  </a:lnTo>
                  <a:lnTo>
                    <a:pt x="2305" y="2707"/>
                  </a:lnTo>
                  <a:lnTo>
                    <a:pt x="2284" y="2685"/>
                  </a:lnTo>
                  <a:lnTo>
                    <a:pt x="2240" y="2645"/>
                  </a:lnTo>
                  <a:lnTo>
                    <a:pt x="2224" y="2625"/>
                  </a:lnTo>
                  <a:lnTo>
                    <a:pt x="2193" y="2614"/>
                  </a:lnTo>
                  <a:lnTo>
                    <a:pt x="2172" y="2614"/>
                  </a:lnTo>
                  <a:lnTo>
                    <a:pt x="2142" y="2629"/>
                  </a:lnTo>
                  <a:lnTo>
                    <a:pt x="2120" y="2634"/>
                  </a:lnTo>
                  <a:lnTo>
                    <a:pt x="2095" y="2620"/>
                  </a:lnTo>
                  <a:lnTo>
                    <a:pt x="2071" y="2609"/>
                  </a:lnTo>
                  <a:lnTo>
                    <a:pt x="2033" y="2588"/>
                  </a:lnTo>
                  <a:lnTo>
                    <a:pt x="1998" y="2584"/>
                  </a:lnTo>
                  <a:lnTo>
                    <a:pt x="1946" y="2563"/>
                  </a:lnTo>
                  <a:lnTo>
                    <a:pt x="1916" y="2541"/>
                  </a:lnTo>
                  <a:lnTo>
                    <a:pt x="1905" y="2533"/>
                  </a:lnTo>
                  <a:lnTo>
                    <a:pt x="1886" y="2527"/>
                  </a:lnTo>
                  <a:lnTo>
                    <a:pt x="1845" y="2511"/>
                  </a:lnTo>
                  <a:lnTo>
                    <a:pt x="1829" y="2492"/>
                  </a:lnTo>
                  <a:lnTo>
                    <a:pt x="1793" y="2465"/>
                  </a:lnTo>
                  <a:lnTo>
                    <a:pt x="1772" y="2440"/>
                  </a:lnTo>
                  <a:lnTo>
                    <a:pt x="1763" y="2419"/>
                  </a:lnTo>
                  <a:lnTo>
                    <a:pt x="1777" y="2419"/>
                  </a:lnTo>
                  <a:lnTo>
                    <a:pt x="1777" y="2410"/>
                  </a:lnTo>
                  <a:lnTo>
                    <a:pt x="1788" y="2399"/>
                  </a:lnTo>
                  <a:lnTo>
                    <a:pt x="1788" y="2383"/>
                  </a:lnTo>
                  <a:lnTo>
                    <a:pt x="1777" y="2364"/>
                  </a:lnTo>
                  <a:lnTo>
                    <a:pt x="1777" y="2348"/>
                  </a:lnTo>
                  <a:lnTo>
                    <a:pt x="1768" y="2328"/>
                  </a:lnTo>
                  <a:lnTo>
                    <a:pt x="1741" y="2285"/>
                  </a:lnTo>
                  <a:lnTo>
                    <a:pt x="1711" y="2244"/>
                  </a:lnTo>
                  <a:lnTo>
                    <a:pt x="1690" y="2220"/>
                  </a:lnTo>
                  <a:lnTo>
                    <a:pt x="1665" y="2200"/>
                  </a:lnTo>
                  <a:lnTo>
                    <a:pt x="1660" y="2189"/>
                  </a:lnTo>
                  <a:lnTo>
                    <a:pt x="1670" y="2168"/>
                  </a:lnTo>
                  <a:lnTo>
                    <a:pt x="1649" y="2154"/>
                  </a:lnTo>
                  <a:lnTo>
                    <a:pt x="1629" y="2132"/>
                  </a:lnTo>
                  <a:lnTo>
                    <a:pt x="1629" y="2102"/>
                  </a:lnTo>
                  <a:lnTo>
                    <a:pt x="1613" y="2102"/>
                  </a:lnTo>
                  <a:lnTo>
                    <a:pt x="1594" y="2081"/>
                  </a:lnTo>
                  <a:lnTo>
                    <a:pt x="1578" y="2061"/>
                  </a:lnTo>
                  <a:lnTo>
                    <a:pt x="1578" y="2045"/>
                  </a:lnTo>
                  <a:lnTo>
                    <a:pt x="1562" y="2015"/>
                  </a:lnTo>
                  <a:lnTo>
                    <a:pt x="1562" y="1988"/>
                  </a:lnTo>
                  <a:lnTo>
                    <a:pt x="1567" y="1974"/>
                  </a:lnTo>
                  <a:lnTo>
                    <a:pt x="1548" y="1953"/>
                  </a:lnTo>
                  <a:lnTo>
                    <a:pt x="1537" y="1953"/>
                  </a:lnTo>
                  <a:lnTo>
                    <a:pt x="1516" y="1939"/>
                  </a:lnTo>
                  <a:lnTo>
                    <a:pt x="1507" y="1953"/>
                  </a:lnTo>
                  <a:lnTo>
                    <a:pt x="1507" y="1999"/>
                  </a:lnTo>
                  <a:lnTo>
                    <a:pt x="1516" y="2020"/>
                  </a:lnTo>
                  <a:lnTo>
                    <a:pt x="1537" y="2051"/>
                  </a:lnTo>
                  <a:lnTo>
                    <a:pt x="1542" y="2061"/>
                  </a:lnTo>
                  <a:lnTo>
                    <a:pt x="1548" y="2067"/>
                  </a:lnTo>
                  <a:lnTo>
                    <a:pt x="1548" y="2081"/>
                  </a:lnTo>
                  <a:lnTo>
                    <a:pt x="1553" y="2081"/>
                  </a:lnTo>
                  <a:lnTo>
                    <a:pt x="1553" y="2102"/>
                  </a:lnTo>
                  <a:lnTo>
                    <a:pt x="1562" y="2113"/>
                  </a:lnTo>
                  <a:lnTo>
                    <a:pt x="1567" y="2127"/>
                  </a:lnTo>
                  <a:lnTo>
                    <a:pt x="1588" y="2148"/>
                  </a:lnTo>
                  <a:lnTo>
                    <a:pt x="1594" y="2184"/>
                  </a:lnTo>
                  <a:lnTo>
                    <a:pt x="1594" y="2184"/>
                  </a:lnTo>
                  <a:lnTo>
                    <a:pt x="1601" y="2202"/>
                  </a:lnTo>
                  <a:lnTo>
                    <a:pt x="1608" y="2220"/>
                  </a:lnTo>
                  <a:lnTo>
                    <a:pt x="1608" y="2241"/>
                  </a:lnTo>
                  <a:lnTo>
                    <a:pt x="1629" y="2244"/>
                  </a:lnTo>
                  <a:lnTo>
                    <a:pt x="1629" y="2244"/>
                  </a:lnTo>
                  <a:lnTo>
                    <a:pt x="1642" y="2266"/>
                  </a:lnTo>
                  <a:lnTo>
                    <a:pt x="1649" y="2282"/>
                  </a:lnTo>
                  <a:lnTo>
                    <a:pt x="1649" y="2285"/>
                  </a:lnTo>
                  <a:lnTo>
                    <a:pt x="1629" y="2301"/>
                  </a:lnTo>
                  <a:lnTo>
                    <a:pt x="1624" y="2301"/>
                  </a:lnTo>
                  <a:lnTo>
                    <a:pt x="1619" y="2282"/>
                  </a:lnTo>
                  <a:lnTo>
                    <a:pt x="1599" y="2255"/>
                  </a:lnTo>
                  <a:lnTo>
                    <a:pt x="1578" y="2236"/>
                  </a:lnTo>
                  <a:lnTo>
                    <a:pt x="1558" y="2220"/>
                  </a:lnTo>
                  <a:lnTo>
                    <a:pt x="1562" y="2195"/>
                  </a:lnTo>
                  <a:lnTo>
                    <a:pt x="1562" y="2173"/>
                  </a:lnTo>
                  <a:lnTo>
                    <a:pt x="1562" y="2173"/>
                  </a:lnTo>
                  <a:lnTo>
                    <a:pt x="1526" y="2138"/>
                  </a:lnTo>
                  <a:lnTo>
                    <a:pt x="1526" y="2148"/>
                  </a:lnTo>
                  <a:lnTo>
                    <a:pt x="1521" y="2138"/>
                  </a:lnTo>
                  <a:lnTo>
                    <a:pt x="1501" y="2122"/>
                  </a:lnTo>
                  <a:lnTo>
                    <a:pt x="1485" y="2086"/>
                  </a:lnTo>
                  <a:lnTo>
                    <a:pt x="1491" y="2081"/>
                  </a:lnTo>
                  <a:lnTo>
                    <a:pt x="1507" y="2086"/>
                  </a:lnTo>
                  <a:lnTo>
                    <a:pt x="1521" y="2072"/>
                  </a:lnTo>
                  <a:lnTo>
                    <a:pt x="1526" y="2051"/>
                  </a:lnTo>
                  <a:lnTo>
                    <a:pt x="1501" y="2029"/>
                  </a:lnTo>
                  <a:lnTo>
                    <a:pt x="1480" y="2015"/>
                  </a:lnTo>
                  <a:lnTo>
                    <a:pt x="1480" y="2015"/>
                  </a:lnTo>
                  <a:lnTo>
                    <a:pt x="1473" y="1995"/>
                  </a:lnTo>
                  <a:lnTo>
                    <a:pt x="1468" y="1974"/>
                  </a:lnTo>
                  <a:lnTo>
                    <a:pt x="1460" y="1933"/>
                  </a:lnTo>
                  <a:lnTo>
                    <a:pt x="1450" y="1898"/>
                  </a:lnTo>
                  <a:lnTo>
                    <a:pt x="1450" y="1876"/>
                  </a:lnTo>
                  <a:lnTo>
                    <a:pt x="1434" y="1857"/>
                  </a:lnTo>
                  <a:lnTo>
                    <a:pt x="1419" y="1846"/>
                  </a:lnTo>
                  <a:lnTo>
                    <a:pt x="1419" y="1835"/>
                  </a:lnTo>
                  <a:lnTo>
                    <a:pt x="1398" y="1830"/>
                  </a:lnTo>
                  <a:lnTo>
                    <a:pt x="1387" y="1816"/>
                  </a:lnTo>
                  <a:lnTo>
                    <a:pt x="1363" y="1805"/>
                  </a:lnTo>
                  <a:lnTo>
                    <a:pt x="1357" y="1794"/>
                  </a:lnTo>
                  <a:lnTo>
                    <a:pt x="1357" y="1773"/>
                  </a:lnTo>
                  <a:lnTo>
                    <a:pt x="1338" y="1732"/>
                  </a:lnTo>
                  <a:lnTo>
                    <a:pt x="1332" y="1688"/>
                  </a:lnTo>
                  <a:lnTo>
                    <a:pt x="1338" y="1677"/>
                  </a:lnTo>
                  <a:lnTo>
                    <a:pt x="1338" y="1656"/>
                  </a:lnTo>
                  <a:lnTo>
                    <a:pt x="1327" y="1620"/>
                  </a:lnTo>
                  <a:lnTo>
                    <a:pt x="1332" y="1590"/>
                  </a:lnTo>
                  <a:lnTo>
                    <a:pt x="1322" y="1569"/>
                  </a:lnTo>
                  <a:lnTo>
                    <a:pt x="1343" y="1544"/>
                  </a:lnTo>
                  <a:lnTo>
                    <a:pt x="1352" y="1517"/>
                  </a:lnTo>
                  <a:lnTo>
                    <a:pt x="1352" y="1492"/>
                  </a:lnTo>
                  <a:lnTo>
                    <a:pt x="1373" y="1467"/>
                  </a:lnTo>
                  <a:lnTo>
                    <a:pt x="1403" y="1405"/>
                  </a:lnTo>
                  <a:lnTo>
                    <a:pt x="1419" y="1359"/>
                  </a:lnTo>
                  <a:lnTo>
                    <a:pt x="1425" y="1329"/>
                  </a:lnTo>
                  <a:lnTo>
                    <a:pt x="1425" y="1307"/>
                  </a:lnTo>
                  <a:lnTo>
                    <a:pt x="1430" y="1304"/>
                  </a:lnTo>
                  <a:lnTo>
                    <a:pt x="1460" y="1323"/>
                  </a:lnTo>
                  <a:lnTo>
                    <a:pt x="1460" y="1359"/>
                  </a:lnTo>
                  <a:lnTo>
                    <a:pt x="1475" y="1348"/>
                  </a:lnTo>
                  <a:lnTo>
                    <a:pt x="1485" y="1323"/>
                  </a:lnTo>
                  <a:lnTo>
                    <a:pt x="1491" y="1298"/>
                  </a:lnTo>
                  <a:lnTo>
                    <a:pt x="1485" y="1298"/>
                  </a:lnTo>
                  <a:lnTo>
                    <a:pt x="1455" y="1252"/>
                  </a:lnTo>
                  <a:lnTo>
                    <a:pt x="1444" y="1231"/>
                  </a:lnTo>
                  <a:lnTo>
                    <a:pt x="1414" y="1211"/>
                  </a:lnTo>
                  <a:lnTo>
                    <a:pt x="1419" y="1179"/>
                  </a:lnTo>
                  <a:lnTo>
                    <a:pt x="1434" y="1160"/>
                  </a:lnTo>
                  <a:lnTo>
                    <a:pt x="1414" y="1138"/>
                  </a:lnTo>
                  <a:lnTo>
                    <a:pt x="1425" y="1113"/>
                  </a:lnTo>
                  <a:lnTo>
                    <a:pt x="1414" y="1083"/>
                  </a:lnTo>
                  <a:lnTo>
                    <a:pt x="1425" y="1067"/>
                  </a:lnTo>
                  <a:lnTo>
                    <a:pt x="1419" y="1051"/>
                  </a:lnTo>
                  <a:lnTo>
                    <a:pt x="1409" y="1037"/>
                  </a:lnTo>
                  <a:lnTo>
                    <a:pt x="1425" y="1010"/>
                  </a:lnTo>
                  <a:lnTo>
                    <a:pt x="1414" y="980"/>
                  </a:lnTo>
                  <a:lnTo>
                    <a:pt x="1425" y="950"/>
                  </a:lnTo>
                  <a:lnTo>
                    <a:pt x="1398" y="923"/>
                  </a:lnTo>
                  <a:lnTo>
                    <a:pt x="1373" y="914"/>
                  </a:lnTo>
                  <a:lnTo>
                    <a:pt x="1357" y="898"/>
                  </a:lnTo>
                  <a:lnTo>
                    <a:pt x="1347" y="857"/>
                  </a:lnTo>
                  <a:lnTo>
                    <a:pt x="1347" y="857"/>
                  </a:lnTo>
                  <a:lnTo>
                    <a:pt x="1332" y="841"/>
                  </a:lnTo>
                  <a:lnTo>
                    <a:pt x="1327" y="834"/>
                  </a:lnTo>
                  <a:lnTo>
                    <a:pt x="1322" y="827"/>
                  </a:lnTo>
                  <a:lnTo>
                    <a:pt x="1302" y="816"/>
                  </a:lnTo>
                  <a:lnTo>
                    <a:pt x="1281" y="786"/>
                  </a:lnTo>
                  <a:lnTo>
                    <a:pt x="1275" y="765"/>
                  </a:lnTo>
                  <a:lnTo>
                    <a:pt x="1256" y="759"/>
                  </a:lnTo>
                  <a:lnTo>
                    <a:pt x="1234" y="781"/>
                  </a:lnTo>
                  <a:lnTo>
                    <a:pt x="1229" y="781"/>
                  </a:lnTo>
                  <a:lnTo>
                    <a:pt x="1210" y="775"/>
                  </a:lnTo>
                  <a:lnTo>
                    <a:pt x="1188" y="775"/>
                  </a:lnTo>
                  <a:lnTo>
                    <a:pt x="1178" y="770"/>
                  </a:lnTo>
                  <a:lnTo>
                    <a:pt x="1194" y="754"/>
                  </a:lnTo>
                  <a:lnTo>
                    <a:pt x="1218" y="735"/>
                  </a:lnTo>
                  <a:lnTo>
                    <a:pt x="1215" y="740"/>
                  </a:lnTo>
                  <a:lnTo>
                    <a:pt x="1188" y="754"/>
                  </a:lnTo>
                  <a:lnTo>
                    <a:pt x="1153" y="765"/>
                  </a:lnTo>
                  <a:lnTo>
                    <a:pt x="1147" y="786"/>
                  </a:lnTo>
                  <a:lnTo>
                    <a:pt x="1122" y="791"/>
                  </a:lnTo>
                  <a:lnTo>
                    <a:pt x="1076" y="791"/>
                  </a:lnTo>
                  <a:lnTo>
                    <a:pt x="1060" y="800"/>
                  </a:lnTo>
                  <a:lnTo>
                    <a:pt x="1030" y="800"/>
                  </a:lnTo>
                  <a:lnTo>
                    <a:pt x="1014" y="811"/>
                  </a:lnTo>
                  <a:lnTo>
                    <a:pt x="994" y="811"/>
                  </a:lnTo>
                  <a:lnTo>
                    <a:pt x="989" y="800"/>
                  </a:lnTo>
                  <a:lnTo>
                    <a:pt x="932" y="800"/>
                  </a:lnTo>
                  <a:lnTo>
                    <a:pt x="913" y="791"/>
                  </a:lnTo>
                  <a:lnTo>
                    <a:pt x="918" y="786"/>
                  </a:lnTo>
                  <a:lnTo>
                    <a:pt x="959" y="786"/>
                  </a:lnTo>
                  <a:lnTo>
                    <a:pt x="978" y="781"/>
                  </a:lnTo>
                  <a:lnTo>
                    <a:pt x="994" y="791"/>
                  </a:lnTo>
                  <a:lnTo>
                    <a:pt x="1009" y="786"/>
                  </a:lnTo>
                  <a:lnTo>
                    <a:pt x="1041" y="781"/>
                  </a:lnTo>
                  <a:lnTo>
                    <a:pt x="1049" y="775"/>
                  </a:lnTo>
                  <a:lnTo>
                    <a:pt x="1071" y="770"/>
                  </a:lnTo>
                  <a:lnTo>
                    <a:pt x="1090" y="749"/>
                  </a:lnTo>
                  <a:lnTo>
                    <a:pt x="1112" y="740"/>
                  </a:lnTo>
                  <a:lnTo>
                    <a:pt x="1090" y="740"/>
                  </a:lnTo>
                  <a:lnTo>
                    <a:pt x="1090" y="735"/>
                  </a:lnTo>
                  <a:lnTo>
                    <a:pt x="1071" y="740"/>
                  </a:lnTo>
                  <a:lnTo>
                    <a:pt x="1082" y="718"/>
                  </a:lnTo>
                  <a:lnTo>
                    <a:pt x="1066" y="724"/>
                  </a:lnTo>
                  <a:lnTo>
                    <a:pt x="1076" y="708"/>
                  </a:lnTo>
                  <a:lnTo>
                    <a:pt x="1055" y="708"/>
                  </a:lnTo>
                  <a:lnTo>
                    <a:pt x="1049" y="704"/>
                  </a:lnTo>
                  <a:lnTo>
                    <a:pt x="1071" y="688"/>
                  </a:lnTo>
                  <a:lnTo>
                    <a:pt x="1087" y="678"/>
                  </a:lnTo>
                  <a:lnTo>
                    <a:pt x="1090" y="663"/>
                  </a:lnTo>
                  <a:lnTo>
                    <a:pt x="1076" y="667"/>
                  </a:lnTo>
                  <a:lnTo>
                    <a:pt x="1090" y="637"/>
                  </a:lnTo>
                  <a:lnTo>
                    <a:pt x="1112" y="621"/>
                  </a:lnTo>
                  <a:lnTo>
                    <a:pt x="1122" y="606"/>
                  </a:lnTo>
                  <a:lnTo>
                    <a:pt x="1142" y="596"/>
                  </a:lnTo>
                  <a:lnTo>
                    <a:pt x="1163" y="590"/>
                  </a:lnTo>
                  <a:lnTo>
                    <a:pt x="1183" y="580"/>
                  </a:lnTo>
                  <a:lnTo>
                    <a:pt x="1194" y="585"/>
                  </a:lnTo>
                  <a:lnTo>
                    <a:pt x="1194" y="596"/>
                  </a:lnTo>
                  <a:lnTo>
                    <a:pt x="1215" y="590"/>
                  </a:lnTo>
                  <a:lnTo>
                    <a:pt x="1210" y="596"/>
                  </a:lnTo>
                  <a:lnTo>
                    <a:pt x="1224" y="596"/>
                  </a:lnTo>
                  <a:lnTo>
                    <a:pt x="1240" y="585"/>
                  </a:lnTo>
                  <a:lnTo>
                    <a:pt x="1240" y="576"/>
                  </a:lnTo>
                  <a:lnTo>
                    <a:pt x="1259" y="571"/>
                  </a:lnTo>
                  <a:lnTo>
                    <a:pt x="1256" y="566"/>
                  </a:lnTo>
                  <a:lnTo>
                    <a:pt x="1240" y="560"/>
                  </a:lnTo>
                  <a:lnTo>
                    <a:pt x="1229" y="566"/>
                  </a:lnTo>
                  <a:lnTo>
                    <a:pt x="1215" y="555"/>
                  </a:lnTo>
                  <a:lnTo>
                    <a:pt x="1215" y="539"/>
                  </a:lnTo>
                  <a:lnTo>
                    <a:pt x="1224" y="530"/>
                  </a:lnTo>
                  <a:lnTo>
                    <a:pt x="1240" y="509"/>
                  </a:lnTo>
                  <a:lnTo>
                    <a:pt x="1259" y="509"/>
                  </a:lnTo>
                  <a:lnTo>
                    <a:pt x="1286" y="514"/>
                  </a:lnTo>
                  <a:lnTo>
                    <a:pt x="1291" y="519"/>
                  </a:lnTo>
                  <a:lnTo>
                    <a:pt x="1270" y="530"/>
                  </a:lnTo>
                  <a:lnTo>
                    <a:pt x="1286" y="544"/>
                  </a:lnTo>
                  <a:lnTo>
                    <a:pt x="1302" y="525"/>
                  </a:lnTo>
                  <a:lnTo>
                    <a:pt x="1306" y="509"/>
                  </a:lnTo>
                  <a:lnTo>
                    <a:pt x="1322" y="493"/>
                  </a:lnTo>
                  <a:lnTo>
                    <a:pt x="1332" y="478"/>
                  </a:lnTo>
                  <a:lnTo>
                    <a:pt x="1338" y="462"/>
                  </a:lnTo>
                  <a:lnTo>
                    <a:pt x="1357" y="457"/>
                  </a:lnTo>
                  <a:lnTo>
                    <a:pt x="1368" y="468"/>
                  </a:lnTo>
                  <a:lnTo>
                    <a:pt x="1387" y="468"/>
                  </a:lnTo>
                  <a:lnTo>
                    <a:pt x="1409" y="457"/>
                  </a:lnTo>
                  <a:lnTo>
                    <a:pt x="1430" y="452"/>
                  </a:lnTo>
                  <a:lnTo>
                    <a:pt x="1439" y="457"/>
                  </a:lnTo>
                  <a:lnTo>
                    <a:pt x="1466" y="462"/>
                  </a:lnTo>
                  <a:lnTo>
                    <a:pt x="1471" y="468"/>
                  </a:lnTo>
                  <a:lnTo>
                    <a:pt x="1485" y="468"/>
                  </a:lnTo>
                  <a:lnTo>
                    <a:pt x="1491" y="484"/>
                  </a:lnTo>
                  <a:lnTo>
                    <a:pt x="1480" y="498"/>
                  </a:lnTo>
                  <a:lnTo>
                    <a:pt x="1491" y="498"/>
                  </a:lnTo>
                  <a:lnTo>
                    <a:pt x="1507" y="509"/>
                  </a:lnTo>
                  <a:lnTo>
                    <a:pt x="1496" y="509"/>
                  </a:lnTo>
                  <a:lnTo>
                    <a:pt x="1507" y="525"/>
                  </a:lnTo>
                  <a:lnTo>
                    <a:pt x="1521" y="530"/>
                  </a:lnTo>
                  <a:lnTo>
                    <a:pt x="1532" y="550"/>
                  </a:lnTo>
                  <a:lnTo>
                    <a:pt x="1553" y="566"/>
                  </a:lnTo>
                  <a:lnTo>
                    <a:pt x="1558" y="576"/>
                  </a:lnTo>
                  <a:lnTo>
                    <a:pt x="1578" y="580"/>
                  </a:lnTo>
                  <a:lnTo>
                    <a:pt x="1588" y="596"/>
                  </a:lnTo>
                  <a:lnTo>
                    <a:pt x="1588" y="596"/>
                  </a:lnTo>
                  <a:lnTo>
                    <a:pt x="1603" y="608"/>
                  </a:lnTo>
                  <a:lnTo>
                    <a:pt x="1606" y="612"/>
                  </a:lnTo>
                  <a:lnTo>
                    <a:pt x="1608" y="617"/>
                  </a:lnTo>
                  <a:lnTo>
                    <a:pt x="1619" y="637"/>
                  </a:lnTo>
                  <a:lnTo>
                    <a:pt x="1629" y="647"/>
                  </a:lnTo>
                  <a:lnTo>
                    <a:pt x="1649" y="642"/>
                  </a:lnTo>
                  <a:lnTo>
                    <a:pt x="1670" y="642"/>
                  </a:lnTo>
                  <a:lnTo>
                    <a:pt x="1690" y="653"/>
                  </a:lnTo>
                  <a:lnTo>
                    <a:pt x="1722" y="647"/>
                  </a:lnTo>
                  <a:lnTo>
                    <a:pt x="1741" y="647"/>
                  </a:lnTo>
                  <a:lnTo>
                    <a:pt x="1741" y="663"/>
                  </a:lnTo>
                  <a:lnTo>
                    <a:pt x="1757" y="658"/>
                  </a:lnTo>
                  <a:lnTo>
                    <a:pt x="1772" y="647"/>
                  </a:lnTo>
                  <a:lnTo>
                    <a:pt x="1782" y="653"/>
                  </a:lnTo>
                  <a:lnTo>
                    <a:pt x="1788" y="678"/>
                  </a:lnTo>
                  <a:lnTo>
                    <a:pt x="1818" y="663"/>
                  </a:lnTo>
                  <a:lnTo>
                    <a:pt x="1804" y="683"/>
                  </a:lnTo>
                  <a:lnTo>
                    <a:pt x="1823" y="683"/>
                  </a:lnTo>
                  <a:lnTo>
                    <a:pt x="1834" y="678"/>
                  </a:lnTo>
                  <a:lnTo>
                    <a:pt x="1855" y="683"/>
                  </a:lnTo>
                  <a:lnTo>
                    <a:pt x="1875" y="704"/>
                  </a:lnTo>
                  <a:lnTo>
                    <a:pt x="1905" y="724"/>
                  </a:lnTo>
                  <a:lnTo>
                    <a:pt x="1926" y="735"/>
                  </a:lnTo>
                  <a:lnTo>
                    <a:pt x="1946" y="735"/>
                  </a:lnTo>
                  <a:lnTo>
                    <a:pt x="1967" y="754"/>
                  </a:lnTo>
                  <a:lnTo>
                    <a:pt x="1937" y="765"/>
                  </a:lnTo>
                  <a:lnTo>
                    <a:pt x="1962" y="781"/>
                  </a:lnTo>
                  <a:lnTo>
                    <a:pt x="2014" y="786"/>
                  </a:lnTo>
                  <a:lnTo>
                    <a:pt x="2033" y="781"/>
                  </a:lnTo>
                  <a:lnTo>
                    <a:pt x="2049" y="800"/>
                  </a:lnTo>
                  <a:lnTo>
                    <a:pt x="2074" y="791"/>
                  </a:lnTo>
                  <a:lnTo>
                    <a:pt x="2060" y="775"/>
                  </a:lnTo>
                  <a:lnTo>
                    <a:pt x="2074" y="765"/>
                  </a:lnTo>
                  <a:lnTo>
                    <a:pt x="2101" y="765"/>
                  </a:lnTo>
                  <a:lnTo>
                    <a:pt x="2115" y="775"/>
                  </a:lnTo>
                  <a:lnTo>
                    <a:pt x="2131" y="795"/>
                  </a:lnTo>
                  <a:lnTo>
                    <a:pt x="2152" y="795"/>
                  </a:lnTo>
                  <a:lnTo>
                    <a:pt x="2183" y="816"/>
                  </a:lnTo>
                  <a:lnTo>
                    <a:pt x="2213" y="816"/>
                  </a:lnTo>
                  <a:lnTo>
                    <a:pt x="2240" y="822"/>
                  </a:lnTo>
                  <a:lnTo>
                    <a:pt x="2240" y="800"/>
                  </a:lnTo>
                  <a:lnTo>
                    <a:pt x="2259" y="795"/>
                  </a:lnTo>
                  <a:lnTo>
                    <a:pt x="2284" y="811"/>
                  </a:lnTo>
                  <a:lnTo>
                    <a:pt x="2280" y="836"/>
                  </a:lnTo>
                  <a:lnTo>
                    <a:pt x="2295" y="816"/>
                  </a:lnTo>
                  <a:lnTo>
                    <a:pt x="2311" y="816"/>
                  </a:lnTo>
                  <a:lnTo>
                    <a:pt x="2327" y="791"/>
                  </a:lnTo>
                  <a:lnTo>
                    <a:pt x="2305" y="770"/>
                  </a:lnTo>
                  <a:lnTo>
                    <a:pt x="2284" y="754"/>
                  </a:lnTo>
                  <a:lnTo>
                    <a:pt x="2289" y="724"/>
                  </a:lnTo>
                  <a:lnTo>
                    <a:pt x="2311" y="704"/>
                  </a:lnTo>
                  <a:lnTo>
                    <a:pt x="2330" y="708"/>
                  </a:lnTo>
                  <a:lnTo>
                    <a:pt x="2352" y="724"/>
                  </a:lnTo>
                  <a:lnTo>
                    <a:pt x="2371" y="754"/>
                  </a:lnTo>
                  <a:lnTo>
                    <a:pt x="2352" y="770"/>
                  </a:lnTo>
                  <a:lnTo>
                    <a:pt x="2387" y="781"/>
                  </a:lnTo>
                  <a:lnTo>
                    <a:pt x="2387" y="806"/>
                  </a:lnTo>
                  <a:lnTo>
                    <a:pt x="2412" y="786"/>
                  </a:lnTo>
                  <a:lnTo>
                    <a:pt x="2433" y="806"/>
                  </a:lnTo>
                  <a:lnTo>
                    <a:pt x="2428" y="827"/>
                  </a:lnTo>
                  <a:lnTo>
                    <a:pt x="2449" y="847"/>
                  </a:lnTo>
                  <a:lnTo>
                    <a:pt x="2469" y="827"/>
                  </a:lnTo>
                  <a:lnTo>
                    <a:pt x="2485" y="806"/>
                  </a:lnTo>
                  <a:lnTo>
                    <a:pt x="2485" y="775"/>
                  </a:lnTo>
                  <a:lnTo>
                    <a:pt x="2485" y="775"/>
                  </a:lnTo>
                  <a:lnTo>
                    <a:pt x="2499" y="775"/>
                  </a:lnTo>
                  <a:lnTo>
                    <a:pt x="2513" y="777"/>
                  </a:lnTo>
                  <a:lnTo>
                    <a:pt x="2526" y="779"/>
                  </a:lnTo>
                  <a:lnTo>
                    <a:pt x="2540" y="781"/>
                  </a:lnTo>
                  <a:lnTo>
                    <a:pt x="2567" y="795"/>
                  </a:lnTo>
                  <a:lnTo>
                    <a:pt x="2572" y="811"/>
                  </a:lnTo>
                  <a:lnTo>
                    <a:pt x="2556" y="827"/>
                  </a:lnTo>
                  <a:lnTo>
                    <a:pt x="2567" y="836"/>
                  </a:lnTo>
                  <a:lnTo>
                    <a:pt x="2561" y="847"/>
                  </a:lnTo>
                  <a:lnTo>
                    <a:pt x="2537" y="852"/>
                  </a:lnTo>
                  <a:lnTo>
                    <a:pt x="2510" y="841"/>
                  </a:lnTo>
                  <a:lnTo>
                    <a:pt x="2505" y="857"/>
                  </a:lnTo>
                  <a:lnTo>
                    <a:pt x="2485" y="877"/>
                  </a:lnTo>
                  <a:lnTo>
                    <a:pt x="2480" y="893"/>
                  </a:lnTo>
                  <a:lnTo>
                    <a:pt x="2458" y="914"/>
                  </a:lnTo>
                  <a:lnTo>
                    <a:pt x="2428" y="914"/>
                  </a:lnTo>
                  <a:lnTo>
                    <a:pt x="2398" y="923"/>
                  </a:lnTo>
                  <a:lnTo>
                    <a:pt x="2398" y="944"/>
                  </a:lnTo>
                  <a:lnTo>
                    <a:pt x="2371" y="950"/>
                  </a:lnTo>
                  <a:lnTo>
                    <a:pt x="2341" y="969"/>
                  </a:lnTo>
                  <a:lnTo>
                    <a:pt x="2316" y="1001"/>
                  </a:lnTo>
                  <a:lnTo>
                    <a:pt x="2300" y="1026"/>
                  </a:lnTo>
                  <a:lnTo>
                    <a:pt x="2295" y="1062"/>
                  </a:lnTo>
                  <a:lnTo>
                    <a:pt x="2330" y="1072"/>
                  </a:lnTo>
                  <a:lnTo>
                    <a:pt x="2341" y="1103"/>
                  </a:lnTo>
                  <a:lnTo>
                    <a:pt x="2352" y="1124"/>
                  </a:lnTo>
                  <a:lnTo>
                    <a:pt x="2387" y="1119"/>
                  </a:lnTo>
                  <a:lnTo>
                    <a:pt x="2439" y="1133"/>
                  </a:lnTo>
                  <a:lnTo>
                    <a:pt x="2464" y="1149"/>
                  </a:lnTo>
                  <a:lnTo>
                    <a:pt x="2485" y="1165"/>
                  </a:lnTo>
                  <a:lnTo>
                    <a:pt x="2515" y="1176"/>
                  </a:lnTo>
                  <a:lnTo>
                    <a:pt x="2540" y="1190"/>
                  </a:lnTo>
                  <a:lnTo>
                    <a:pt x="2540" y="1190"/>
                  </a:lnTo>
                  <a:lnTo>
                    <a:pt x="2577" y="1192"/>
                  </a:lnTo>
                  <a:lnTo>
                    <a:pt x="2595" y="1192"/>
                  </a:lnTo>
                  <a:lnTo>
                    <a:pt x="2613" y="1195"/>
                  </a:lnTo>
                  <a:lnTo>
                    <a:pt x="2613" y="1220"/>
                  </a:lnTo>
                  <a:lnTo>
                    <a:pt x="2627" y="1252"/>
                  </a:lnTo>
                  <a:lnTo>
                    <a:pt x="2649" y="1288"/>
                  </a:lnTo>
                  <a:lnTo>
                    <a:pt x="2695" y="1318"/>
                  </a:lnTo>
                  <a:lnTo>
                    <a:pt x="2714" y="1304"/>
                  </a:lnTo>
                  <a:lnTo>
                    <a:pt x="2725" y="1266"/>
                  </a:lnTo>
                  <a:lnTo>
                    <a:pt x="2706" y="1216"/>
                  </a:lnTo>
                  <a:lnTo>
                    <a:pt x="2684" y="1195"/>
                  </a:lnTo>
                  <a:lnTo>
                    <a:pt x="2725" y="1176"/>
                  </a:lnTo>
                  <a:lnTo>
                    <a:pt x="2746" y="1154"/>
                  </a:lnTo>
                  <a:lnTo>
                    <a:pt x="2755" y="1133"/>
                  </a:lnTo>
                  <a:lnTo>
                    <a:pt x="2752" y="1113"/>
                  </a:lnTo>
                  <a:lnTo>
                    <a:pt x="2730" y="1088"/>
                  </a:lnTo>
                  <a:lnTo>
                    <a:pt x="2700" y="1067"/>
                  </a:lnTo>
                  <a:lnTo>
                    <a:pt x="2720" y="1037"/>
                  </a:lnTo>
                  <a:lnTo>
                    <a:pt x="2700" y="1010"/>
                  </a:lnTo>
                  <a:lnTo>
                    <a:pt x="2679" y="964"/>
                  </a:lnTo>
                  <a:lnTo>
                    <a:pt x="2695" y="955"/>
                  </a:lnTo>
                  <a:lnTo>
                    <a:pt x="2736" y="960"/>
                  </a:lnTo>
                  <a:lnTo>
                    <a:pt x="2755" y="960"/>
                  </a:lnTo>
                  <a:lnTo>
                    <a:pt x="2771" y="950"/>
                  </a:lnTo>
                  <a:lnTo>
                    <a:pt x="2793" y="960"/>
                  </a:lnTo>
                  <a:lnTo>
                    <a:pt x="2823" y="975"/>
                  </a:lnTo>
                  <a:lnTo>
                    <a:pt x="2834" y="985"/>
                  </a:lnTo>
                  <a:lnTo>
                    <a:pt x="2875" y="985"/>
                  </a:lnTo>
                  <a:lnTo>
                    <a:pt x="2883" y="1010"/>
                  </a:lnTo>
                  <a:lnTo>
                    <a:pt x="2905" y="1048"/>
                  </a:lnTo>
                  <a:lnTo>
                    <a:pt x="2924" y="1051"/>
                  </a:lnTo>
                  <a:lnTo>
                    <a:pt x="2946" y="1072"/>
                  </a:lnTo>
                  <a:lnTo>
                    <a:pt x="2971" y="1051"/>
                  </a:lnTo>
                  <a:lnTo>
                    <a:pt x="2981" y="1016"/>
                  </a:lnTo>
                  <a:lnTo>
                    <a:pt x="2992" y="996"/>
                  </a:lnTo>
                  <a:lnTo>
                    <a:pt x="2992" y="996"/>
                  </a:lnTo>
                  <a:lnTo>
                    <a:pt x="3047" y="1044"/>
                  </a:lnTo>
                  <a:lnTo>
                    <a:pt x="3074" y="1069"/>
                  </a:lnTo>
                  <a:lnTo>
                    <a:pt x="3104" y="1092"/>
                  </a:lnTo>
                  <a:lnTo>
                    <a:pt x="3104" y="1113"/>
                  </a:lnTo>
                  <a:lnTo>
                    <a:pt x="3140" y="1129"/>
                  </a:lnTo>
                  <a:lnTo>
                    <a:pt x="3166" y="1144"/>
                  </a:lnTo>
                  <a:lnTo>
                    <a:pt x="3202" y="1144"/>
                  </a:lnTo>
                  <a:lnTo>
                    <a:pt x="3223" y="1154"/>
                  </a:lnTo>
                  <a:lnTo>
                    <a:pt x="3243" y="1179"/>
                  </a:lnTo>
                  <a:lnTo>
                    <a:pt x="3264" y="1179"/>
                  </a:lnTo>
                  <a:lnTo>
                    <a:pt x="3278" y="1190"/>
                  </a:lnTo>
                  <a:lnTo>
                    <a:pt x="3300" y="1225"/>
                  </a:lnTo>
                  <a:lnTo>
                    <a:pt x="3300" y="1225"/>
                  </a:lnTo>
                  <a:lnTo>
                    <a:pt x="3289" y="1241"/>
                  </a:lnTo>
                  <a:lnTo>
                    <a:pt x="3278" y="1257"/>
                  </a:lnTo>
                  <a:lnTo>
                    <a:pt x="3248" y="1277"/>
                  </a:lnTo>
                  <a:lnTo>
                    <a:pt x="3227" y="1307"/>
                  </a:lnTo>
                  <a:lnTo>
                    <a:pt x="3191" y="1323"/>
                  </a:lnTo>
                  <a:lnTo>
                    <a:pt x="3136" y="1323"/>
                  </a:lnTo>
                  <a:lnTo>
                    <a:pt x="3099" y="1329"/>
                  </a:lnTo>
                  <a:lnTo>
                    <a:pt x="3074" y="1334"/>
                  </a:lnTo>
                  <a:lnTo>
                    <a:pt x="3058" y="1359"/>
                  </a:lnTo>
                  <a:lnTo>
                    <a:pt x="3033" y="1380"/>
                  </a:lnTo>
                  <a:lnTo>
                    <a:pt x="3008" y="1432"/>
                  </a:lnTo>
                  <a:lnTo>
                    <a:pt x="2987" y="1467"/>
                  </a:lnTo>
                  <a:lnTo>
                    <a:pt x="3008" y="1457"/>
                  </a:lnTo>
                  <a:lnTo>
                    <a:pt x="3038" y="1405"/>
                  </a:lnTo>
                  <a:lnTo>
                    <a:pt x="3084" y="1369"/>
                  </a:lnTo>
                  <a:lnTo>
                    <a:pt x="3120" y="1359"/>
                  </a:lnTo>
                  <a:lnTo>
                    <a:pt x="3145" y="1375"/>
                  </a:lnTo>
                  <a:lnTo>
                    <a:pt x="3125" y="1400"/>
                  </a:lnTo>
                  <a:lnTo>
                    <a:pt x="3145" y="1435"/>
                  </a:lnTo>
                  <a:lnTo>
                    <a:pt x="3166" y="1457"/>
                  </a:lnTo>
                  <a:lnTo>
                    <a:pt x="3207" y="1473"/>
                  </a:lnTo>
                  <a:lnTo>
                    <a:pt x="3248" y="1457"/>
                  </a:lnTo>
                  <a:lnTo>
                    <a:pt x="3264" y="1416"/>
                  </a:lnTo>
                  <a:lnTo>
                    <a:pt x="3273" y="1435"/>
                  </a:lnTo>
                  <a:lnTo>
                    <a:pt x="3294" y="1446"/>
                  </a:lnTo>
                  <a:lnTo>
                    <a:pt x="3273" y="1473"/>
                  </a:lnTo>
                  <a:lnTo>
                    <a:pt x="3223" y="1503"/>
                  </a:lnTo>
                  <a:lnTo>
                    <a:pt x="3202" y="1522"/>
                  </a:lnTo>
                  <a:lnTo>
                    <a:pt x="3181" y="1549"/>
                  </a:lnTo>
                  <a:lnTo>
                    <a:pt x="3161" y="1549"/>
                  </a:lnTo>
                  <a:lnTo>
                    <a:pt x="3150" y="1522"/>
                  </a:lnTo>
                  <a:lnTo>
                    <a:pt x="3191" y="1487"/>
                  </a:lnTo>
                  <a:lnTo>
                    <a:pt x="3131" y="1508"/>
                  </a:lnTo>
                  <a:lnTo>
                    <a:pt x="3104" y="1517"/>
                  </a:lnTo>
                  <a:lnTo>
                    <a:pt x="3115" y="1528"/>
                  </a:lnTo>
                  <a:lnTo>
                    <a:pt x="3090" y="1549"/>
                  </a:lnTo>
                  <a:lnTo>
                    <a:pt x="3038" y="1579"/>
                  </a:lnTo>
                  <a:lnTo>
                    <a:pt x="3022" y="1595"/>
                  </a:lnTo>
                  <a:lnTo>
                    <a:pt x="3017" y="1601"/>
                  </a:lnTo>
                  <a:lnTo>
                    <a:pt x="3022" y="1620"/>
                  </a:lnTo>
                  <a:lnTo>
                    <a:pt x="3038" y="1642"/>
                  </a:lnTo>
                  <a:lnTo>
                    <a:pt x="3052" y="1642"/>
                  </a:lnTo>
                  <a:lnTo>
                    <a:pt x="3049" y="1631"/>
                  </a:lnTo>
                  <a:lnTo>
                    <a:pt x="3058" y="1642"/>
                  </a:lnTo>
                  <a:lnTo>
                    <a:pt x="3038" y="1650"/>
                  </a:lnTo>
                  <a:lnTo>
                    <a:pt x="3022" y="1650"/>
                  </a:lnTo>
                  <a:lnTo>
                    <a:pt x="3003" y="1656"/>
                  </a:lnTo>
                  <a:lnTo>
                    <a:pt x="3003" y="1656"/>
                  </a:lnTo>
                  <a:lnTo>
                    <a:pt x="2994" y="1659"/>
                  </a:lnTo>
                  <a:lnTo>
                    <a:pt x="2987" y="1661"/>
                  </a:lnTo>
                  <a:lnTo>
                    <a:pt x="2971" y="1661"/>
                  </a:lnTo>
                  <a:lnTo>
                    <a:pt x="2951" y="1677"/>
                  </a:lnTo>
                  <a:lnTo>
                    <a:pt x="2997" y="1666"/>
                  </a:lnTo>
                  <a:lnTo>
                    <a:pt x="3008" y="1672"/>
                  </a:lnTo>
                  <a:lnTo>
                    <a:pt x="2967" y="1688"/>
                  </a:lnTo>
                  <a:lnTo>
                    <a:pt x="2946" y="1688"/>
                  </a:lnTo>
                  <a:lnTo>
                    <a:pt x="2946" y="1682"/>
                  </a:lnTo>
                  <a:lnTo>
                    <a:pt x="2935" y="1691"/>
                  </a:lnTo>
                  <a:lnTo>
                    <a:pt x="2946" y="1691"/>
                  </a:lnTo>
                  <a:lnTo>
                    <a:pt x="2940" y="1718"/>
                  </a:lnTo>
                  <a:lnTo>
                    <a:pt x="2921" y="1754"/>
                  </a:lnTo>
                  <a:lnTo>
                    <a:pt x="2910" y="1743"/>
                  </a:lnTo>
                  <a:lnTo>
                    <a:pt x="2899" y="1743"/>
                  </a:lnTo>
                  <a:lnTo>
                    <a:pt x="2883" y="1732"/>
                  </a:lnTo>
                  <a:lnTo>
                    <a:pt x="2894" y="1754"/>
                  </a:lnTo>
                  <a:lnTo>
                    <a:pt x="2905" y="1759"/>
                  </a:lnTo>
                  <a:lnTo>
                    <a:pt x="2910" y="1773"/>
                  </a:lnTo>
                  <a:lnTo>
                    <a:pt x="2905" y="1789"/>
                  </a:lnTo>
                  <a:lnTo>
                    <a:pt x="2889" y="1819"/>
                  </a:lnTo>
                  <a:lnTo>
                    <a:pt x="2883" y="1819"/>
                  </a:lnTo>
                  <a:lnTo>
                    <a:pt x="2894" y="1794"/>
                  </a:lnTo>
                  <a:lnTo>
                    <a:pt x="2875" y="1778"/>
                  </a:lnTo>
                  <a:lnTo>
                    <a:pt x="2869" y="1743"/>
                  </a:lnTo>
                  <a:lnTo>
                    <a:pt x="2864" y="1764"/>
                  </a:lnTo>
                  <a:lnTo>
                    <a:pt x="2875" y="1784"/>
                  </a:lnTo>
                  <a:lnTo>
                    <a:pt x="2853" y="1778"/>
                  </a:lnTo>
                  <a:lnTo>
                    <a:pt x="2875" y="1789"/>
                  </a:lnTo>
                  <a:lnTo>
                    <a:pt x="2880" y="1825"/>
                  </a:lnTo>
                  <a:lnTo>
                    <a:pt x="2889" y="1825"/>
                  </a:lnTo>
                  <a:lnTo>
                    <a:pt x="2894" y="1841"/>
                  </a:lnTo>
                  <a:lnTo>
                    <a:pt x="2905" y="1876"/>
                  </a:lnTo>
                  <a:lnTo>
                    <a:pt x="2883" y="1901"/>
                  </a:lnTo>
                  <a:lnTo>
                    <a:pt x="2853" y="1917"/>
                  </a:lnTo>
                  <a:lnTo>
                    <a:pt x="2834" y="1939"/>
                  </a:lnTo>
                  <a:lnTo>
                    <a:pt x="2812" y="1947"/>
                  </a:lnTo>
                  <a:lnTo>
                    <a:pt x="2793" y="1963"/>
                  </a:lnTo>
                  <a:lnTo>
                    <a:pt x="2787" y="1979"/>
                  </a:lnTo>
                  <a:lnTo>
                    <a:pt x="2752" y="2004"/>
                  </a:lnTo>
                  <a:lnTo>
                    <a:pt x="2730" y="2026"/>
                  </a:lnTo>
                  <a:lnTo>
                    <a:pt x="2714" y="2045"/>
                  </a:lnTo>
                  <a:lnTo>
                    <a:pt x="2714" y="2072"/>
                  </a:lnTo>
                  <a:lnTo>
                    <a:pt x="2725" y="2097"/>
                  </a:lnTo>
                  <a:lnTo>
                    <a:pt x="2741" y="2127"/>
                  </a:lnTo>
                  <a:lnTo>
                    <a:pt x="2761" y="2154"/>
                  </a:lnTo>
                  <a:lnTo>
                    <a:pt x="2761" y="2173"/>
                  </a:lnTo>
                  <a:lnTo>
                    <a:pt x="2782" y="2220"/>
                  </a:lnTo>
                  <a:lnTo>
                    <a:pt x="2782" y="2260"/>
                  </a:lnTo>
                  <a:lnTo>
                    <a:pt x="2766" y="2285"/>
                  </a:lnTo>
                  <a:lnTo>
                    <a:pt x="2755" y="2291"/>
                  </a:lnTo>
                  <a:lnTo>
                    <a:pt x="2736" y="2285"/>
                  </a:lnTo>
                  <a:lnTo>
                    <a:pt x="2730" y="2266"/>
                  </a:lnTo>
                  <a:lnTo>
                    <a:pt x="2714" y="2255"/>
                  </a:lnTo>
                  <a:lnTo>
                    <a:pt x="2714" y="2255"/>
                  </a:lnTo>
                  <a:lnTo>
                    <a:pt x="2704" y="2241"/>
                  </a:lnTo>
                  <a:lnTo>
                    <a:pt x="2695" y="2225"/>
                  </a:lnTo>
                  <a:lnTo>
                    <a:pt x="2679" y="2195"/>
                  </a:lnTo>
                  <a:lnTo>
                    <a:pt x="2674" y="2179"/>
                  </a:lnTo>
                  <a:lnTo>
                    <a:pt x="2684" y="2154"/>
                  </a:lnTo>
                  <a:lnTo>
                    <a:pt x="2674" y="2132"/>
                  </a:lnTo>
                  <a:lnTo>
                    <a:pt x="2649" y="2102"/>
                  </a:lnTo>
                  <a:lnTo>
                    <a:pt x="2638" y="2102"/>
                  </a:lnTo>
                  <a:lnTo>
                    <a:pt x="2583" y="2113"/>
                  </a:lnTo>
                  <a:lnTo>
                    <a:pt x="2577" y="2113"/>
                  </a:lnTo>
                  <a:lnTo>
                    <a:pt x="2561" y="2097"/>
                  </a:lnTo>
                  <a:lnTo>
                    <a:pt x="2540" y="2086"/>
                  </a:lnTo>
                  <a:lnTo>
                    <a:pt x="2496" y="2091"/>
                  </a:lnTo>
                  <a:lnTo>
                    <a:pt x="2458" y="2086"/>
                  </a:lnTo>
                  <a:lnTo>
                    <a:pt x="2433" y="2086"/>
                  </a:lnTo>
                  <a:lnTo>
                    <a:pt x="2412" y="2091"/>
                  </a:lnTo>
                  <a:lnTo>
                    <a:pt x="2423" y="2102"/>
                  </a:lnTo>
                  <a:lnTo>
                    <a:pt x="2423" y="2116"/>
                  </a:lnTo>
                  <a:lnTo>
                    <a:pt x="2433" y="2127"/>
                  </a:lnTo>
                  <a:lnTo>
                    <a:pt x="2423" y="2132"/>
                  </a:lnTo>
                  <a:lnTo>
                    <a:pt x="2409" y="2122"/>
                  </a:lnTo>
                  <a:lnTo>
                    <a:pt x="2392" y="2127"/>
                  </a:lnTo>
                  <a:lnTo>
                    <a:pt x="2368" y="2127"/>
                  </a:lnTo>
                  <a:lnTo>
                    <a:pt x="2336" y="2102"/>
                  </a:lnTo>
                  <a:lnTo>
                    <a:pt x="2305" y="2107"/>
                  </a:lnTo>
                  <a:lnTo>
                    <a:pt x="2280" y="2102"/>
                  </a:lnTo>
                  <a:lnTo>
                    <a:pt x="2254" y="2102"/>
                  </a:lnTo>
                  <a:lnTo>
                    <a:pt x="2224" y="2113"/>
                  </a:lnTo>
                  <a:lnTo>
                    <a:pt x="2188" y="2138"/>
                  </a:lnTo>
                  <a:lnTo>
                    <a:pt x="2152" y="2154"/>
                  </a:lnTo>
                  <a:lnTo>
                    <a:pt x="2126" y="2168"/>
                  </a:lnTo>
                  <a:lnTo>
                    <a:pt x="2115" y="2189"/>
                  </a:lnTo>
                  <a:lnTo>
                    <a:pt x="2111" y="2214"/>
                  </a:lnTo>
                  <a:lnTo>
                    <a:pt x="2111" y="2236"/>
                  </a:lnTo>
                  <a:lnTo>
                    <a:pt x="2115" y="2250"/>
                  </a:lnTo>
                  <a:lnTo>
                    <a:pt x="2095" y="2282"/>
                  </a:lnTo>
                  <a:lnTo>
                    <a:pt x="2085" y="2307"/>
                  </a:lnTo>
                  <a:lnTo>
                    <a:pt x="2085" y="2358"/>
                  </a:lnTo>
                  <a:lnTo>
                    <a:pt x="2074" y="2378"/>
                  </a:lnTo>
                  <a:lnTo>
                    <a:pt x="2079" y="2399"/>
                  </a:lnTo>
                  <a:lnTo>
                    <a:pt x="2090" y="2419"/>
                  </a:lnTo>
                  <a:lnTo>
                    <a:pt x="2095" y="2451"/>
                  </a:lnTo>
                  <a:lnTo>
                    <a:pt x="2115" y="2481"/>
                  </a:lnTo>
                  <a:lnTo>
                    <a:pt x="2126" y="2501"/>
                  </a:lnTo>
                  <a:lnTo>
                    <a:pt x="2142" y="2522"/>
                  </a:lnTo>
                  <a:lnTo>
                    <a:pt x="2183" y="2538"/>
                  </a:lnTo>
                  <a:lnTo>
                    <a:pt x="2199" y="2557"/>
                  </a:lnTo>
                  <a:lnTo>
                    <a:pt x="2234" y="2547"/>
                  </a:lnTo>
                  <a:lnTo>
                    <a:pt x="2264" y="2541"/>
                  </a:lnTo>
                  <a:lnTo>
                    <a:pt x="2264" y="2541"/>
                  </a:lnTo>
                  <a:lnTo>
                    <a:pt x="2293" y="2536"/>
                  </a:lnTo>
                  <a:lnTo>
                    <a:pt x="2305" y="2533"/>
                  </a:lnTo>
                  <a:lnTo>
                    <a:pt x="2321" y="2533"/>
                  </a:lnTo>
                  <a:lnTo>
                    <a:pt x="2346" y="2517"/>
                  </a:lnTo>
                  <a:lnTo>
                    <a:pt x="2357" y="2497"/>
                  </a:lnTo>
                  <a:lnTo>
                    <a:pt x="2362" y="2465"/>
                  </a:lnTo>
                  <a:lnTo>
                    <a:pt x="2371" y="2456"/>
                  </a:lnTo>
                  <a:lnTo>
                    <a:pt x="2398" y="2445"/>
                  </a:lnTo>
                  <a:lnTo>
                    <a:pt x="2439" y="2435"/>
                  </a:lnTo>
                  <a:lnTo>
                    <a:pt x="2474" y="2435"/>
                  </a:lnTo>
                  <a:lnTo>
                    <a:pt x="2496" y="2429"/>
                  </a:lnTo>
                  <a:lnTo>
                    <a:pt x="2505" y="2440"/>
                  </a:lnTo>
                  <a:lnTo>
                    <a:pt x="2505" y="2460"/>
                  </a:lnTo>
                  <a:lnTo>
                    <a:pt x="2485" y="2481"/>
                  </a:lnTo>
                  <a:lnTo>
                    <a:pt x="2474" y="2501"/>
                  </a:lnTo>
                  <a:lnTo>
                    <a:pt x="2485" y="2506"/>
                  </a:lnTo>
                  <a:lnTo>
                    <a:pt x="2485" y="2506"/>
                  </a:lnTo>
                  <a:lnTo>
                    <a:pt x="2480" y="2518"/>
                  </a:lnTo>
                  <a:lnTo>
                    <a:pt x="2474" y="2529"/>
                  </a:lnTo>
                  <a:lnTo>
                    <a:pt x="2469" y="2541"/>
                  </a:lnTo>
                  <a:lnTo>
                    <a:pt x="2464" y="2552"/>
                  </a:lnTo>
                  <a:lnTo>
                    <a:pt x="2458" y="2538"/>
                  </a:lnTo>
                  <a:lnTo>
                    <a:pt x="2449" y="2538"/>
                  </a:lnTo>
                  <a:lnTo>
                    <a:pt x="2449" y="2541"/>
                  </a:lnTo>
                  <a:lnTo>
                    <a:pt x="2458" y="2541"/>
                  </a:lnTo>
                  <a:lnTo>
                    <a:pt x="2458" y="2552"/>
                  </a:lnTo>
                  <a:lnTo>
                    <a:pt x="2449" y="2573"/>
                  </a:lnTo>
                  <a:lnTo>
                    <a:pt x="2455" y="2579"/>
                  </a:lnTo>
                  <a:lnTo>
                    <a:pt x="2449" y="2593"/>
                  </a:lnTo>
                  <a:lnTo>
                    <a:pt x="2455" y="2598"/>
                  </a:lnTo>
                  <a:lnTo>
                    <a:pt x="2449" y="2620"/>
                  </a:lnTo>
                  <a:lnTo>
                    <a:pt x="2439" y="2629"/>
                  </a:lnTo>
                  <a:lnTo>
                    <a:pt x="2428" y="2629"/>
                  </a:lnTo>
                  <a:lnTo>
                    <a:pt x="2417" y="2645"/>
                  </a:lnTo>
                  <a:lnTo>
                    <a:pt x="2433" y="2655"/>
                  </a:lnTo>
                  <a:lnTo>
                    <a:pt x="2439" y="2650"/>
                  </a:lnTo>
                  <a:lnTo>
                    <a:pt x="2439" y="2650"/>
                  </a:lnTo>
                  <a:lnTo>
                    <a:pt x="2442" y="2653"/>
                  </a:lnTo>
                  <a:lnTo>
                    <a:pt x="2446" y="2653"/>
                  </a:lnTo>
                  <a:lnTo>
                    <a:pt x="2455" y="2655"/>
                  </a:lnTo>
                  <a:lnTo>
                    <a:pt x="2464" y="2650"/>
                  </a:lnTo>
                  <a:lnTo>
                    <a:pt x="2480" y="2650"/>
                  </a:lnTo>
                  <a:lnTo>
                    <a:pt x="2485" y="2655"/>
                  </a:lnTo>
                  <a:lnTo>
                    <a:pt x="2490" y="2655"/>
                  </a:lnTo>
                  <a:lnTo>
                    <a:pt x="2510" y="2661"/>
                  </a:lnTo>
                  <a:lnTo>
                    <a:pt x="2531" y="2661"/>
                  </a:lnTo>
                  <a:lnTo>
                    <a:pt x="2545" y="2655"/>
                  </a:lnTo>
                  <a:lnTo>
                    <a:pt x="2551" y="2650"/>
                  </a:lnTo>
                  <a:lnTo>
                    <a:pt x="2561" y="2650"/>
                  </a:lnTo>
                  <a:lnTo>
                    <a:pt x="2572" y="2655"/>
                  </a:lnTo>
                  <a:lnTo>
                    <a:pt x="2583" y="2655"/>
                  </a:lnTo>
                  <a:lnTo>
                    <a:pt x="2592" y="2650"/>
                  </a:lnTo>
                  <a:lnTo>
                    <a:pt x="2613" y="2655"/>
                  </a:lnTo>
                  <a:lnTo>
                    <a:pt x="2618" y="2655"/>
                  </a:lnTo>
                  <a:lnTo>
                    <a:pt x="2633" y="2666"/>
                  </a:lnTo>
                  <a:lnTo>
                    <a:pt x="2643" y="2675"/>
                  </a:lnTo>
                  <a:lnTo>
                    <a:pt x="2659" y="2680"/>
                  </a:lnTo>
                  <a:lnTo>
                    <a:pt x="2668" y="2691"/>
                  </a:lnTo>
                  <a:lnTo>
                    <a:pt x="2665" y="2696"/>
                  </a:lnTo>
                  <a:lnTo>
                    <a:pt x="2665" y="2707"/>
                  </a:lnTo>
                  <a:lnTo>
                    <a:pt x="2668" y="2721"/>
                  </a:lnTo>
                  <a:lnTo>
                    <a:pt x="2649" y="2716"/>
                  </a:lnTo>
                  <a:lnTo>
                    <a:pt x="2643" y="2732"/>
                  </a:lnTo>
                  <a:lnTo>
                    <a:pt x="2643" y="2783"/>
                  </a:lnTo>
                  <a:lnTo>
                    <a:pt x="2638" y="2789"/>
                  </a:lnTo>
                  <a:lnTo>
                    <a:pt x="2633" y="2808"/>
                  </a:lnTo>
                  <a:lnTo>
                    <a:pt x="2638" y="2819"/>
                  </a:lnTo>
                  <a:lnTo>
                    <a:pt x="2627" y="2819"/>
                  </a:lnTo>
                  <a:lnTo>
                    <a:pt x="2627" y="2830"/>
                  </a:lnTo>
                  <a:lnTo>
                    <a:pt x="2633" y="2835"/>
                  </a:lnTo>
                  <a:lnTo>
                    <a:pt x="2643" y="2854"/>
                  </a:lnTo>
                  <a:lnTo>
                    <a:pt x="2643" y="2854"/>
                  </a:lnTo>
                  <a:lnTo>
                    <a:pt x="2666" y="2876"/>
                  </a:lnTo>
                  <a:lnTo>
                    <a:pt x="2679" y="2886"/>
                  </a:lnTo>
                  <a:lnTo>
                    <a:pt x="2690" y="2901"/>
                  </a:lnTo>
                  <a:lnTo>
                    <a:pt x="2690" y="2911"/>
                  </a:lnTo>
                  <a:lnTo>
                    <a:pt x="2706" y="2911"/>
                  </a:lnTo>
                  <a:lnTo>
                    <a:pt x="2711" y="2906"/>
                  </a:lnTo>
                  <a:lnTo>
                    <a:pt x="2720" y="2917"/>
                  </a:lnTo>
                  <a:lnTo>
                    <a:pt x="2741" y="2911"/>
                  </a:lnTo>
                  <a:lnTo>
                    <a:pt x="2761" y="2901"/>
                  </a:lnTo>
                  <a:lnTo>
                    <a:pt x="2782" y="2890"/>
                  </a:lnTo>
                  <a:lnTo>
                    <a:pt x="2796" y="2876"/>
                  </a:lnTo>
                  <a:lnTo>
                    <a:pt x="2818" y="2876"/>
                  </a:lnTo>
                  <a:lnTo>
                    <a:pt x="2818" y="2881"/>
                  </a:lnTo>
                  <a:lnTo>
                    <a:pt x="2839" y="2881"/>
                  </a:lnTo>
                  <a:lnTo>
                    <a:pt x="2859" y="2885"/>
                  </a:lnTo>
                  <a:lnTo>
                    <a:pt x="2875" y="2895"/>
                  </a:lnTo>
                  <a:lnTo>
                    <a:pt x="2889" y="2906"/>
                  </a:lnTo>
                  <a:lnTo>
                    <a:pt x="2910" y="2906"/>
                  </a:lnTo>
                  <a:lnTo>
                    <a:pt x="2935" y="2881"/>
                  </a:lnTo>
                  <a:lnTo>
                    <a:pt x="2956" y="2876"/>
                  </a:lnTo>
                  <a:lnTo>
                    <a:pt x="2956" y="2860"/>
                  </a:lnTo>
                  <a:lnTo>
                    <a:pt x="2967" y="2830"/>
                  </a:lnTo>
                  <a:lnTo>
                    <a:pt x="2987" y="2808"/>
                  </a:lnTo>
                  <a:lnTo>
                    <a:pt x="3008" y="2803"/>
                  </a:lnTo>
                  <a:lnTo>
                    <a:pt x="3012" y="2794"/>
                  </a:lnTo>
                  <a:lnTo>
                    <a:pt x="3038" y="2794"/>
                  </a:lnTo>
                  <a:lnTo>
                    <a:pt x="3038" y="2794"/>
                  </a:lnTo>
                  <a:lnTo>
                    <a:pt x="3060" y="2778"/>
                  </a:lnTo>
                  <a:lnTo>
                    <a:pt x="3070" y="2771"/>
                  </a:lnTo>
                  <a:lnTo>
                    <a:pt x="3084" y="2762"/>
                  </a:lnTo>
                  <a:lnTo>
                    <a:pt x="3104" y="2742"/>
                  </a:lnTo>
                  <a:lnTo>
                    <a:pt x="3120" y="2742"/>
                  </a:lnTo>
                  <a:lnTo>
                    <a:pt x="3131" y="2753"/>
                  </a:lnTo>
                  <a:lnTo>
                    <a:pt x="3115" y="2767"/>
                  </a:lnTo>
                  <a:lnTo>
                    <a:pt x="3115" y="2778"/>
                  </a:lnTo>
                  <a:lnTo>
                    <a:pt x="3095" y="2783"/>
                  </a:lnTo>
                  <a:lnTo>
                    <a:pt x="3109" y="2803"/>
                  </a:lnTo>
                  <a:lnTo>
                    <a:pt x="3109" y="2819"/>
                  </a:lnTo>
                  <a:lnTo>
                    <a:pt x="3095" y="2849"/>
                  </a:lnTo>
                  <a:lnTo>
                    <a:pt x="3109" y="2876"/>
                  </a:lnTo>
                  <a:lnTo>
                    <a:pt x="3131" y="2870"/>
                  </a:lnTo>
                  <a:lnTo>
                    <a:pt x="3140" y="2844"/>
                  </a:lnTo>
                  <a:lnTo>
                    <a:pt x="3131" y="2830"/>
                  </a:lnTo>
                  <a:lnTo>
                    <a:pt x="3131" y="2803"/>
                  </a:lnTo>
                  <a:lnTo>
                    <a:pt x="3177" y="2783"/>
                  </a:lnTo>
                  <a:lnTo>
                    <a:pt x="3161" y="2767"/>
                  </a:lnTo>
                  <a:lnTo>
                    <a:pt x="3177" y="2753"/>
                  </a:lnTo>
                  <a:lnTo>
                    <a:pt x="3191" y="2778"/>
                  </a:lnTo>
                  <a:lnTo>
                    <a:pt x="3218" y="2778"/>
                  </a:lnTo>
                  <a:lnTo>
                    <a:pt x="3237" y="2798"/>
                  </a:lnTo>
                  <a:lnTo>
                    <a:pt x="3237" y="2814"/>
                  </a:lnTo>
                  <a:lnTo>
                    <a:pt x="3268" y="2808"/>
                  </a:lnTo>
                  <a:lnTo>
                    <a:pt x="3305" y="2798"/>
                  </a:lnTo>
                  <a:lnTo>
                    <a:pt x="3325" y="2814"/>
                  </a:lnTo>
                  <a:lnTo>
                    <a:pt x="3351" y="2814"/>
                  </a:lnTo>
                  <a:lnTo>
                    <a:pt x="3371" y="2798"/>
                  </a:lnTo>
                  <a:lnTo>
                    <a:pt x="3371" y="2789"/>
                  </a:lnTo>
                  <a:lnTo>
                    <a:pt x="3371" y="2789"/>
                  </a:lnTo>
                  <a:lnTo>
                    <a:pt x="3453" y="2773"/>
                  </a:lnTo>
                  <a:lnTo>
                    <a:pt x="3433" y="2794"/>
                  </a:lnTo>
                  <a:lnTo>
                    <a:pt x="3447" y="2814"/>
                  </a:lnTo>
                  <a:lnTo>
                    <a:pt x="3474" y="2814"/>
                  </a:lnTo>
                  <a:lnTo>
                    <a:pt x="3499" y="2830"/>
                  </a:lnTo>
                  <a:lnTo>
                    <a:pt x="3504" y="2854"/>
                  </a:lnTo>
                  <a:lnTo>
                    <a:pt x="3524" y="2849"/>
                  </a:lnTo>
                  <a:lnTo>
                    <a:pt x="3524" y="2849"/>
                  </a:lnTo>
                  <a:lnTo>
                    <a:pt x="3540" y="2858"/>
                  </a:lnTo>
                  <a:lnTo>
                    <a:pt x="3561" y="2870"/>
                  </a:lnTo>
                  <a:lnTo>
                    <a:pt x="3581" y="2890"/>
                  </a:lnTo>
                  <a:lnTo>
                    <a:pt x="3581" y="2911"/>
                  </a:lnTo>
                  <a:lnTo>
                    <a:pt x="3597" y="2911"/>
                  </a:lnTo>
                  <a:lnTo>
                    <a:pt x="3622" y="2936"/>
                  </a:lnTo>
                  <a:lnTo>
                    <a:pt x="3657" y="2936"/>
                  </a:lnTo>
                  <a:lnTo>
                    <a:pt x="3663" y="2926"/>
                  </a:lnTo>
                  <a:lnTo>
                    <a:pt x="3689" y="2917"/>
                  </a:lnTo>
                  <a:lnTo>
                    <a:pt x="3719" y="2922"/>
                  </a:lnTo>
                  <a:lnTo>
                    <a:pt x="3719" y="2922"/>
                  </a:lnTo>
                  <a:lnTo>
                    <a:pt x="3727" y="2922"/>
                  </a:lnTo>
                  <a:lnTo>
                    <a:pt x="3735" y="2924"/>
                  </a:lnTo>
                  <a:lnTo>
                    <a:pt x="3743" y="2926"/>
                  </a:lnTo>
                  <a:lnTo>
                    <a:pt x="3750" y="2926"/>
                  </a:lnTo>
                  <a:lnTo>
                    <a:pt x="3780" y="2947"/>
                  </a:lnTo>
                  <a:lnTo>
                    <a:pt x="3785" y="2963"/>
                  </a:lnTo>
                  <a:lnTo>
                    <a:pt x="3796" y="2958"/>
                  </a:lnTo>
                  <a:lnTo>
                    <a:pt x="3801" y="2977"/>
                  </a:lnTo>
                  <a:lnTo>
                    <a:pt x="3817" y="3039"/>
                  </a:lnTo>
                  <a:lnTo>
                    <a:pt x="3832" y="3039"/>
                  </a:lnTo>
                  <a:lnTo>
                    <a:pt x="3832" y="3064"/>
                  </a:lnTo>
                  <a:lnTo>
                    <a:pt x="3812" y="3100"/>
                  </a:lnTo>
                  <a:lnTo>
                    <a:pt x="3821" y="3111"/>
                  </a:lnTo>
                  <a:lnTo>
                    <a:pt x="3872" y="3100"/>
                  </a:lnTo>
                  <a:lnTo>
                    <a:pt x="3864" y="3137"/>
                  </a:lnTo>
                  <a:lnTo>
                    <a:pt x="3883" y="3105"/>
                  </a:lnTo>
                  <a:lnTo>
                    <a:pt x="3913" y="3111"/>
                  </a:lnTo>
                  <a:lnTo>
                    <a:pt x="3954" y="3121"/>
                  </a:lnTo>
                  <a:lnTo>
                    <a:pt x="3965" y="3141"/>
                  </a:lnTo>
                  <a:lnTo>
                    <a:pt x="3965" y="3162"/>
                  </a:lnTo>
                  <a:lnTo>
                    <a:pt x="3995" y="3141"/>
                  </a:lnTo>
                  <a:lnTo>
                    <a:pt x="4041" y="3141"/>
                  </a:lnTo>
                  <a:lnTo>
                    <a:pt x="4077" y="3127"/>
                  </a:lnTo>
                  <a:lnTo>
                    <a:pt x="4109" y="3141"/>
                  </a:lnTo>
                  <a:lnTo>
                    <a:pt x="4129" y="3167"/>
                  </a:lnTo>
                  <a:lnTo>
                    <a:pt x="4145" y="3173"/>
                  </a:lnTo>
                  <a:lnTo>
                    <a:pt x="4164" y="3162"/>
                  </a:lnTo>
                  <a:lnTo>
                    <a:pt x="4170" y="3173"/>
                  </a:lnTo>
                  <a:lnTo>
                    <a:pt x="4170" y="3203"/>
                  </a:lnTo>
                  <a:lnTo>
                    <a:pt x="4175" y="3203"/>
                  </a:lnTo>
                  <a:lnTo>
                    <a:pt x="4175" y="3224"/>
                  </a:lnTo>
                  <a:lnTo>
                    <a:pt x="4175" y="3224"/>
                  </a:lnTo>
                  <a:close/>
                  <a:moveTo>
                    <a:pt x="3074" y="2533"/>
                  </a:moveTo>
                  <a:lnTo>
                    <a:pt x="3052" y="2538"/>
                  </a:lnTo>
                  <a:lnTo>
                    <a:pt x="3033" y="2538"/>
                  </a:lnTo>
                  <a:lnTo>
                    <a:pt x="3012" y="2547"/>
                  </a:lnTo>
                  <a:lnTo>
                    <a:pt x="2992" y="2533"/>
                  </a:lnTo>
                  <a:lnTo>
                    <a:pt x="2992" y="2517"/>
                  </a:lnTo>
                  <a:lnTo>
                    <a:pt x="2997" y="2517"/>
                  </a:lnTo>
                  <a:lnTo>
                    <a:pt x="2997" y="2517"/>
                  </a:lnTo>
                  <a:lnTo>
                    <a:pt x="3012" y="2518"/>
                  </a:lnTo>
                  <a:lnTo>
                    <a:pt x="3028" y="2520"/>
                  </a:lnTo>
                  <a:lnTo>
                    <a:pt x="3045" y="2522"/>
                  </a:lnTo>
                  <a:lnTo>
                    <a:pt x="3063" y="2522"/>
                  </a:lnTo>
                  <a:lnTo>
                    <a:pt x="3079" y="2511"/>
                  </a:lnTo>
                  <a:lnTo>
                    <a:pt x="3058" y="2497"/>
                  </a:lnTo>
                  <a:lnTo>
                    <a:pt x="3058" y="2481"/>
                  </a:lnTo>
                  <a:lnTo>
                    <a:pt x="3038" y="2476"/>
                  </a:lnTo>
                  <a:lnTo>
                    <a:pt x="3049" y="2465"/>
                  </a:lnTo>
                  <a:lnTo>
                    <a:pt x="3068" y="2465"/>
                  </a:lnTo>
                  <a:lnTo>
                    <a:pt x="3099" y="2470"/>
                  </a:lnTo>
                  <a:lnTo>
                    <a:pt x="3104" y="2465"/>
                  </a:lnTo>
                  <a:lnTo>
                    <a:pt x="3131" y="2460"/>
                  </a:lnTo>
                  <a:lnTo>
                    <a:pt x="3150" y="2470"/>
                  </a:lnTo>
                  <a:lnTo>
                    <a:pt x="3161" y="2470"/>
                  </a:lnTo>
                  <a:lnTo>
                    <a:pt x="3172" y="2486"/>
                  </a:lnTo>
                  <a:lnTo>
                    <a:pt x="3191" y="2481"/>
                  </a:lnTo>
                  <a:lnTo>
                    <a:pt x="3191" y="2497"/>
                  </a:lnTo>
                  <a:lnTo>
                    <a:pt x="3207" y="2497"/>
                  </a:lnTo>
                  <a:lnTo>
                    <a:pt x="3227" y="2511"/>
                  </a:lnTo>
                  <a:lnTo>
                    <a:pt x="3213" y="2533"/>
                  </a:lnTo>
                  <a:lnTo>
                    <a:pt x="3191" y="2527"/>
                  </a:lnTo>
                  <a:lnTo>
                    <a:pt x="3172" y="2533"/>
                  </a:lnTo>
                  <a:lnTo>
                    <a:pt x="3156" y="2533"/>
                  </a:lnTo>
                  <a:lnTo>
                    <a:pt x="3150" y="2541"/>
                  </a:lnTo>
                  <a:lnTo>
                    <a:pt x="3136" y="2547"/>
                  </a:lnTo>
                  <a:lnTo>
                    <a:pt x="3131" y="2522"/>
                  </a:lnTo>
                  <a:lnTo>
                    <a:pt x="3115" y="2527"/>
                  </a:lnTo>
                  <a:lnTo>
                    <a:pt x="3099" y="2552"/>
                  </a:lnTo>
                  <a:lnTo>
                    <a:pt x="3090" y="2547"/>
                  </a:lnTo>
                  <a:lnTo>
                    <a:pt x="3090" y="2538"/>
                  </a:lnTo>
                  <a:lnTo>
                    <a:pt x="3074" y="2533"/>
                  </a:lnTo>
                  <a:close/>
                  <a:moveTo>
                    <a:pt x="2880" y="2451"/>
                  </a:moveTo>
                  <a:lnTo>
                    <a:pt x="2859" y="2451"/>
                  </a:lnTo>
                  <a:lnTo>
                    <a:pt x="2843" y="2440"/>
                  </a:lnTo>
                  <a:lnTo>
                    <a:pt x="2834" y="2419"/>
                  </a:lnTo>
                  <a:lnTo>
                    <a:pt x="2812" y="2419"/>
                  </a:lnTo>
                  <a:lnTo>
                    <a:pt x="2771" y="2410"/>
                  </a:lnTo>
                  <a:lnTo>
                    <a:pt x="2755" y="2399"/>
                  </a:lnTo>
                  <a:lnTo>
                    <a:pt x="2711" y="2399"/>
                  </a:lnTo>
                  <a:lnTo>
                    <a:pt x="2695" y="2388"/>
                  </a:lnTo>
                  <a:lnTo>
                    <a:pt x="2711" y="2378"/>
                  </a:lnTo>
                  <a:lnTo>
                    <a:pt x="2674" y="2378"/>
                  </a:lnTo>
                  <a:lnTo>
                    <a:pt x="2649" y="2399"/>
                  </a:lnTo>
                  <a:lnTo>
                    <a:pt x="2627" y="2399"/>
                  </a:lnTo>
                  <a:lnTo>
                    <a:pt x="2624" y="2410"/>
                  </a:lnTo>
                  <a:lnTo>
                    <a:pt x="2602" y="2413"/>
                  </a:lnTo>
                  <a:lnTo>
                    <a:pt x="2586" y="2410"/>
                  </a:lnTo>
                  <a:lnTo>
                    <a:pt x="2608" y="2394"/>
                  </a:lnTo>
                  <a:lnTo>
                    <a:pt x="2618" y="2378"/>
                  </a:lnTo>
                  <a:lnTo>
                    <a:pt x="2659" y="2358"/>
                  </a:lnTo>
                  <a:lnTo>
                    <a:pt x="2684" y="2353"/>
                  </a:lnTo>
                  <a:lnTo>
                    <a:pt x="2695" y="2348"/>
                  </a:lnTo>
                  <a:lnTo>
                    <a:pt x="2761" y="2348"/>
                  </a:lnTo>
                  <a:lnTo>
                    <a:pt x="2796" y="2364"/>
                  </a:lnTo>
                  <a:lnTo>
                    <a:pt x="2812" y="2378"/>
                  </a:lnTo>
                  <a:lnTo>
                    <a:pt x="2848" y="2372"/>
                  </a:lnTo>
                  <a:lnTo>
                    <a:pt x="2848" y="2372"/>
                  </a:lnTo>
                  <a:lnTo>
                    <a:pt x="2882" y="2396"/>
                  </a:lnTo>
                  <a:lnTo>
                    <a:pt x="2915" y="2419"/>
                  </a:lnTo>
                  <a:lnTo>
                    <a:pt x="2930" y="2419"/>
                  </a:lnTo>
                  <a:lnTo>
                    <a:pt x="2951" y="2424"/>
                  </a:lnTo>
                  <a:lnTo>
                    <a:pt x="2951" y="2435"/>
                  </a:lnTo>
                  <a:lnTo>
                    <a:pt x="2976" y="2435"/>
                  </a:lnTo>
                  <a:lnTo>
                    <a:pt x="3003" y="2451"/>
                  </a:lnTo>
                  <a:lnTo>
                    <a:pt x="2997" y="2460"/>
                  </a:lnTo>
                  <a:lnTo>
                    <a:pt x="2976" y="2465"/>
                  </a:lnTo>
                  <a:lnTo>
                    <a:pt x="2956" y="2481"/>
                  </a:lnTo>
                  <a:lnTo>
                    <a:pt x="2869" y="2481"/>
                  </a:lnTo>
                  <a:lnTo>
                    <a:pt x="2889" y="2460"/>
                  </a:lnTo>
                  <a:lnTo>
                    <a:pt x="2880" y="2451"/>
                  </a:lnTo>
                  <a:close/>
                  <a:moveTo>
                    <a:pt x="1224" y="735"/>
                  </a:moveTo>
                  <a:lnTo>
                    <a:pt x="1224" y="735"/>
                  </a:lnTo>
                  <a:lnTo>
                    <a:pt x="1224" y="735"/>
                  </a:lnTo>
                  <a:lnTo>
                    <a:pt x="1224" y="735"/>
                  </a:lnTo>
                  <a:close/>
                  <a:moveTo>
                    <a:pt x="2746" y="4505"/>
                  </a:moveTo>
                  <a:lnTo>
                    <a:pt x="2725" y="4508"/>
                  </a:lnTo>
                  <a:lnTo>
                    <a:pt x="2711" y="4519"/>
                  </a:lnTo>
                  <a:lnTo>
                    <a:pt x="2690" y="4524"/>
                  </a:lnTo>
                  <a:lnTo>
                    <a:pt x="2668" y="4524"/>
                  </a:lnTo>
                  <a:lnTo>
                    <a:pt x="2649" y="4519"/>
                  </a:lnTo>
                  <a:lnTo>
                    <a:pt x="2627" y="4519"/>
                  </a:lnTo>
                  <a:lnTo>
                    <a:pt x="2643" y="4530"/>
                  </a:lnTo>
                  <a:lnTo>
                    <a:pt x="2665" y="4535"/>
                  </a:lnTo>
                  <a:lnTo>
                    <a:pt x="2695" y="4535"/>
                  </a:lnTo>
                  <a:lnTo>
                    <a:pt x="2711" y="4524"/>
                  </a:lnTo>
                  <a:lnTo>
                    <a:pt x="2711" y="4524"/>
                  </a:lnTo>
                  <a:lnTo>
                    <a:pt x="2746" y="4514"/>
                  </a:lnTo>
                  <a:lnTo>
                    <a:pt x="2746" y="4514"/>
                  </a:lnTo>
                  <a:lnTo>
                    <a:pt x="2750" y="4512"/>
                  </a:lnTo>
                  <a:lnTo>
                    <a:pt x="2754" y="4510"/>
                  </a:lnTo>
                  <a:lnTo>
                    <a:pt x="2761" y="4508"/>
                  </a:lnTo>
                  <a:lnTo>
                    <a:pt x="2761" y="4505"/>
                  </a:lnTo>
                  <a:lnTo>
                    <a:pt x="2746" y="4505"/>
                  </a:lnTo>
                  <a:close/>
                  <a:moveTo>
                    <a:pt x="4001" y="811"/>
                  </a:moveTo>
                  <a:lnTo>
                    <a:pt x="4001" y="811"/>
                  </a:lnTo>
                  <a:lnTo>
                    <a:pt x="4001" y="800"/>
                  </a:lnTo>
                  <a:lnTo>
                    <a:pt x="3986" y="781"/>
                  </a:lnTo>
                  <a:lnTo>
                    <a:pt x="3981" y="775"/>
                  </a:lnTo>
                  <a:lnTo>
                    <a:pt x="3986" y="786"/>
                  </a:lnTo>
                  <a:lnTo>
                    <a:pt x="3986" y="786"/>
                  </a:lnTo>
                  <a:lnTo>
                    <a:pt x="3993" y="797"/>
                  </a:lnTo>
                  <a:lnTo>
                    <a:pt x="4001" y="811"/>
                  </a:lnTo>
                  <a:lnTo>
                    <a:pt x="4001" y="811"/>
                  </a:lnTo>
                  <a:close/>
                  <a:moveTo>
                    <a:pt x="2464" y="498"/>
                  </a:moveTo>
                  <a:lnTo>
                    <a:pt x="2464" y="498"/>
                  </a:lnTo>
                  <a:lnTo>
                    <a:pt x="2449" y="489"/>
                  </a:lnTo>
                  <a:lnTo>
                    <a:pt x="2449" y="493"/>
                  </a:lnTo>
                  <a:lnTo>
                    <a:pt x="2464" y="498"/>
                  </a:lnTo>
                  <a:close/>
                  <a:moveTo>
                    <a:pt x="3602" y="397"/>
                  </a:moveTo>
                  <a:lnTo>
                    <a:pt x="3611" y="402"/>
                  </a:lnTo>
                  <a:lnTo>
                    <a:pt x="3611" y="402"/>
                  </a:lnTo>
                  <a:lnTo>
                    <a:pt x="3609" y="400"/>
                  </a:lnTo>
                  <a:lnTo>
                    <a:pt x="3607" y="398"/>
                  </a:lnTo>
                  <a:lnTo>
                    <a:pt x="3604" y="397"/>
                  </a:lnTo>
                  <a:lnTo>
                    <a:pt x="3602" y="397"/>
                  </a:lnTo>
                  <a:lnTo>
                    <a:pt x="3602" y="397"/>
                  </a:lnTo>
                  <a:close/>
                  <a:moveTo>
                    <a:pt x="4330" y="1304"/>
                  </a:moveTo>
                  <a:lnTo>
                    <a:pt x="4333" y="1298"/>
                  </a:lnTo>
                  <a:lnTo>
                    <a:pt x="4333" y="1293"/>
                  </a:lnTo>
                  <a:lnTo>
                    <a:pt x="4324" y="1266"/>
                  </a:lnTo>
                  <a:lnTo>
                    <a:pt x="4319" y="1247"/>
                  </a:lnTo>
                  <a:lnTo>
                    <a:pt x="4319" y="1247"/>
                  </a:lnTo>
                  <a:lnTo>
                    <a:pt x="4314" y="1236"/>
                  </a:lnTo>
                  <a:lnTo>
                    <a:pt x="4308" y="1225"/>
                  </a:lnTo>
                  <a:lnTo>
                    <a:pt x="4301" y="1202"/>
                  </a:lnTo>
                  <a:lnTo>
                    <a:pt x="4294" y="1177"/>
                  </a:lnTo>
                  <a:lnTo>
                    <a:pt x="4289" y="1154"/>
                  </a:lnTo>
                  <a:lnTo>
                    <a:pt x="4289" y="1154"/>
                  </a:lnTo>
                  <a:lnTo>
                    <a:pt x="4287" y="1149"/>
                  </a:lnTo>
                  <a:lnTo>
                    <a:pt x="4283" y="1144"/>
                  </a:lnTo>
                  <a:lnTo>
                    <a:pt x="4283" y="1144"/>
                  </a:lnTo>
                  <a:lnTo>
                    <a:pt x="4290" y="1160"/>
                  </a:lnTo>
                  <a:lnTo>
                    <a:pt x="4301" y="1176"/>
                  </a:lnTo>
                  <a:lnTo>
                    <a:pt x="4310" y="1190"/>
                  </a:lnTo>
                  <a:lnTo>
                    <a:pt x="4319" y="1206"/>
                  </a:lnTo>
                  <a:lnTo>
                    <a:pt x="4319" y="1206"/>
                  </a:lnTo>
                  <a:lnTo>
                    <a:pt x="4328" y="1220"/>
                  </a:lnTo>
                  <a:lnTo>
                    <a:pt x="4333" y="1229"/>
                  </a:lnTo>
                  <a:lnTo>
                    <a:pt x="4339" y="1236"/>
                  </a:lnTo>
                  <a:lnTo>
                    <a:pt x="4339" y="1236"/>
                  </a:lnTo>
                  <a:lnTo>
                    <a:pt x="4296" y="1158"/>
                  </a:lnTo>
                  <a:lnTo>
                    <a:pt x="4250" y="1081"/>
                  </a:lnTo>
                  <a:lnTo>
                    <a:pt x="4202" y="1007"/>
                  </a:lnTo>
                  <a:lnTo>
                    <a:pt x="4150" y="934"/>
                  </a:lnTo>
                  <a:lnTo>
                    <a:pt x="4150" y="934"/>
                  </a:lnTo>
                  <a:lnTo>
                    <a:pt x="4134" y="914"/>
                  </a:lnTo>
                  <a:lnTo>
                    <a:pt x="4114" y="893"/>
                  </a:lnTo>
                  <a:lnTo>
                    <a:pt x="4114" y="898"/>
                  </a:lnTo>
                  <a:lnTo>
                    <a:pt x="4109" y="898"/>
                  </a:lnTo>
                  <a:lnTo>
                    <a:pt x="4109" y="898"/>
                  </a:lnTo>
                  <a:lnTo>
                    <a:pt x="4113" y="905"/>
                  </a:lnTo>
                  <a:lnTo>
                    <a:pt x="4120" y="912"/>
                  </a:lnTo>
                  <a:lnTo>
                    <a:pt x="4129" y="923"/>
                  </a:lnTo>
                  <a:lnTo>
                    <a:pt x="4129" y="923"/>
                  </a:lnTo>
                  <a:lnTo>
                    <a:pt x="4139" y="939"/>
                  </a:lnTo>
                  <a:lnTo>
                    <a:pt x="4150" y="955"/>
                  </a:lnTo>
                  <a:lnTo>
                    <a:pt x="4150" y="975"/>
                  </a:lnTo>
                  <a:lnTo>
                    <a:pt x="4164" y="1001"/>
                  </a:lnTo>
                  <a:lnTo>
                    <a:pt x="4164" y="1001"/>
                  </a:lnTo>
                  <a:lnTo>
                    <a:pt x="4173" y="1010"/>
                  </a:lnTo>
                  <a:lnTo>
                    <a:pt x="4180" y="1017"/>
                  </a:lnTo>
                  <a:lnTo>
                    <a:pt x="4186" y="1024"/>
                  </a:lnTo>
                  <a:lnTo>
                    <a:pt x="4191" y="1032"/>
                  </a:lnTo>
                  <a:lnTo>
                    <a:pt x="4210" y="1062"/>
                  </a:lnTo>
                  <a:lnTo>
                    <a:pt x="4216" y="1083"/>
                  </a:lnTo>
                  <a:lnTo>
                    <a:pt x="4226" y="1092"/>
                  </a:lnTo>
                  <a:lnTo>
                    <a:pt x="4226" y="1092"/>
                  </a:lnTo>
                  <a:lnTo>
                    <a:pt x="4241" y="1120"/>
                  </a:lnTo>
                  <a:lnTo>
                    <a:pt x="4248" y="1133"/>
                  </a:lnTo>
                  <a:lnTo>
                    <a:pt x="4251" y="1144"/>
                  </a:lnTo>
                  <a:lnTo>
                    <a:pt x="4262" y="1160"/>
                  </a:lnTo>
                  <a:lnTo>
                    <a:pt x="4273" y="1179"/>
                  </a:lnTo>
                  <a:lnTo>
                    <a:pt x="4289" y="1200"/>
                  </a:lnTo>
                  <a:lnTo>
                    <a:pt x="4292" y="1216"/>
                  </a:lnTo>
                  <a:lnTo>
                    <a:pt x="4308" y="1247"/>
                  </a:lnTo>
                  <a:lnTo>
                    <a:pt x="4308" y="1272"/>
                  </a:lnTo>
                  <a:lnTo>
                    <a:pt x="4314" y="1293"/>
                  </a:lnTo>
                  <a:lnTo>
                    <a:pt x="4319" y="1313"/>
                  </a:lnTo>
                  <a:lnTo>
                    <a:pt x="4330" y="1318"/>
                  </a:lnTo>
                  <a:lnTo>
                    <a:pt x="4330" y="1304"/>
                  </a:lnTo>
                  <a:lnTo>
                    <a:pt x="4330" y="1304"/>
                  </a:lnTo>
                  <a:close/>
                  <a:moveTo>
                    <a:pt x="4251" y="1092"/>
                  </a:moveTo>
                  <a:lnTo>
                    <a:pt x="4251" y="1092"/>
                  </a:lnTo>
                  <a:lnTo>
                    <a:pt x="4251" y="1088"/>
                  </a:lnTo>
                  <a:lnTo>
                    <a:pt x="4250" y="1085"/>
                  </a:lnTo>
                  <a:lnTo>
                    <a:pt x="4248" y="1081"/>
                  </a:lnTo>
                  <a:lnTo>
                    <a:pt x="4248" y="1078"/>
                  </a:lnTo>
                  <a:lnTo>
                    <a:pt x="4257" y="1097"/>
                  </a:lnTo>
                  <a:lnTo>
                    <a:pt x="4251" y="1092"/>
                  </a:lnTo>
                  <a:close/>
                  <a:moveTo>
                    <a:pt x="4267" y="1119"/>
                  </a:moveTo>
                  <a:lnTo>
                    <a:pt x="4267" y="1119"/>
                  </a:lnTo>
                  <a:lnTo>
                    <a:pt x="4274" y="1129"/>
                  </a:lnTo>
                  <a:lnTo>
                    <a:pt x="4276" y="1135"/>
                  </a:lnTo>
                  <a:lnTo>
                    <a:pt x="4278" y="1138"/>
                  </a:lnTo>
                  <a:lnTo>
                    <a:pt x="4278" y="1138"/>
                  </a:lnTo>
                  <a:lnTo>
                    <a:pt x="4276" y="1135"/>
                  </a:lnTo>
                  <a:lnTo>
                    <a:pt x="4274" y="1131"/>
                  </a:lnTo>
                  <a:lnTo>
                    <a:pt x="4267" y="1119"/>
                  </a:lnTo>
                  <a:lnTo>
                    <a:pt x="4267" y="1119"/>
                  </a:lnTo>
                  <a:close/>
                </a:path>
              </a:pathLst>
            </a:custGeom>
            <a:solidFill>
              <a:srgbClr val="1F497D">
                <a:lumMod val="20000"/>
                <a:lumOff val="80000"/>
              </a:srgbClr>
            </a:solidFill>
            <a:ln>
              <a:noFill/>
            </a:ln>
          </p:spPr>
          <p:txBody>
            <a:bodyPr vert="horz" wrap="square" lIns="74613" tIns="37307" rIns="74613" bIns="37307" numCol="1" anchor="t" anchorCtr="0" compatLnSpc="1">
              <a:prstTxWarp prst="textNoShape">
                <a:avLst/>
              </a:prstTxWarp>
            </a:bodyPr>
            <a:lstStyle/>
            <a:p>
              <a:pPr defTabSz="746150">
                <a:defRPr/>
              </a:pPr>
              <a:endParaRPr lang="en-US" sz="1469" kern="0">
                <a:solidFill>
                  <a:srgbClr val="676767"/>
                </a:solidFill>
                <a:latin typeface="+mj-lt"/>
              </a:endParaRPr>
            </a:p>
          </p:txBody>
        </p:sp>
      </p:grpSp>
      <p:grpSp>
        <p:nvGrpSpPr>
          <p:cNvPr id="13" name="Group 251"/>
          <p:cNvGrpSpPr/>
          <p:nvPr/>
        </p:nvGrpSpPr>
        <p:grpSpPr>
          <a:xfrm>
            <a:off x="5867082" y="2414597"/>
            <a:ext cx="442630" cy="442630"/>
            <a:chOff x="5741788" y="7262255"/>
            <a:chExt cx="527846" cy="527846"/>
          </a:xfrm>
        </p:grpSpPr>
        <p:sp>
          <p:nvSpPr>
            <p:cNvPr id="14" name="Oval 252"/>
            <p:cNvSpPr/>
            <p:nvPr/>
          </p:nvSpPr>
          <p:spPr>
            <a:xfrm>
              <a:off x="5741788" y="7262255"/>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180"/>
            <p:cNvSpPr>
              <a:spLocks/>
            </p:cNvSpPr>
            <p:nvPr/>
          </p:nvSpPr>
          <p:spPr bwMode="auto">
            <a:xfrm>
              <a:off x="5873278" y="7357913"/>
              <a:ext cx="272142" cy="27637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254"/>
          <p:cNvGrpSpPr/>
          <p:nvPr/>
        </p:nvGrpSpPr>
        <p:grpSpPr>
          <a:xfrm>
            <a:off x="6552743" y="1776644"/>
            <a:ext cx="442630" cy="442630"/>
            <a:chOff x="5822061" y="8844472"/>
            <a:chExt cx="527846" cy="527846"/>
          </a:xfrm>
        </p:grpSpPr>
        <p:sp>
          <p:nvSpPr>
            <p:cNvPr id="17" name="Oval 255"/>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9" name="Group 257"/>
          <p:cNvGrpSpPr/>
          <p:nvPr/>
        </p:nvGrpSpPr>
        <p:grpSpPr>
          <a:xfrm>
            <a:off x="7254362" y="2362512"/>
            <a:ext cx="442630" cy="442630"/>
            <a:chOff x="5822061" y="8844472"/>
            <a:chExt cx="527846" cy="527846"/>
          </a:xfrm>
        </p:grpSpPr>
        <p:sp>
          <p:nvSpPr>
            <p:cNvPr id="20" name="Oval 286"/>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2" name="Group 288"/>
          <p:cNvGrpSpPr/>
          <p:nvPr/>
        </p:nvGrpSpPr>
        <p:grpSpPr>
          <a:xfrm>
            <a:off x="6522924" y="2904049"/>
            <a:ext cx="442630" cy="442630"/>
            <a:chOff x="5822061" y="8844472"/>
            <a:chExt cx="527846" cy="527846"/>
          </a:xfrm>
        </p:grpSpPr>
        <p:sp>
          <p:nvSpPr>
            <p:cNvPr id="23" name="Oval 289"/>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91"/>
          <p:cNvGrpSpPr/>
          <p:nvPr/>
        </p:nvGrpSpPr>
        <p:grpSpPr>
          <a:xfrm>
            <a:off x="7372629" y="3264076"/>
            <a:ext cx="442630" cy="442630"/>
            <a:chOff x="5822061" y="8844472"/>
            <a:chExt cx="527846" cy="527846"/>
          </a:xfrm>
        </p:grpSpPr>
        <p:sp>
          <p:nvSpPr>
            <p:cNvPr id="26" name="Oval 292"/>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8" name="TextBox 12"/>
          <p:cNvSpPr txBox="1"/>
          <p:nvPr/>
        </p:nvSpPr>
        <p:spPr>
          <a:xfrm>
            <a:off x="885702" y="1451264"/>
            <a:ext cx="1141568" cy="369332"/>
          </a:xfrm>
          <a:prstGeom prst="rect">
            <a:avLst/>
          </a:prstGeom>
          <a:noFill/>
        </p:spPr>
        <p:txBody>
          <a:bodyPr wrap="square" rtlCol="0">
            <a:spAutoFit/>
          </a:bodyPr>
          <a:lstStyle/>
          <a:p>
            <a:r>
              <a:rPr lang="en-US" b="1" dirty="0">
                <a:latin typeface="メイリオ"/>
                <a:ea typeface="メイリオ"/>
                <a:cs typeface="メイリオ"/>
              </a:rPr>
              <a:t>Policies</a:t>
            </a:r>
          </a:p>
        </p:txBody>
      </p:sp>
      <p:grpSp>
        <p:nvGrpSpPr>
          <p:cNvPr id="29" name="Group 13"/>
          <p:cNvGrpSpPr/>
          <p:nvPr/>
        </p:nvGrpSpPr>
        <p:grpSpPr>
          <a:xfrm>
            <a:off x="910316" y="1975100"/>
            <a:ext cx="1103378" cy="265814"/>
            <a:chOff x="4198190" y="2972104"/>
            <a:chExt cx="1103378" cy="265814"/>
          </a:xfrm>
        </p:grpSpPr>
        <p:grpSp>
          <p:nvGrpSpPr>
            <p:cNvPr id="30" name="Group 9"/>
            <p:cNvGrpSpPr/>
            <p:nvPr/>
          </p:nvGrpSpPr>
          <p:grpSpPr>
            <a:xfrm>
              <a:off x="4198190" y="2972104"/>
              <a:ext cx="257077" cy="265814"/>
              <a:chOff x="3798944" y="5187096"/>
              <a:chExt cx="393701" cy="407081"/>
            </a:xfrm>
          </p:grpSpPr>
          <p:sp>
            <p:nvSpPr>
              <p:cNvPr id="32"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33" name="Rectangle 6"/>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34"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35" name="Rectangle 130"/>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36" name="Rectangle 131"/>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37" name="Rectangle 124"/>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38" name="Rectangle 125"/>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39" name="Rectangle 126"/>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40" name="Rectangle 127"/>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41" name="Rectangle 188"/>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42" name="Rectangle 189"/>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sp>
          <p:nvSpPr>
            <p:cNvPr id="31" name="TextBox 295"/>
            <p:cNvSpPr txBox="1"/>
            <p:nvPr/>
          </p:nvSpPr>
          <p:spPr>
            <a:xfrm>
              <a:off x="4433965" y="2984833"/>
              <a:ext cx="867603" cy="230832"/>
            </a:xfrm>
            <a:prstGeom prst="rect">
              <a:avLst/>
            </a:prstGeom>
            <a:noFill/>
          </p:spPr>
          <p:txBody>
            <a:bodyPr wrap="square" rtlCol="0">
              <a:spAutoFit/>
            </a:bodyPr>
            <a:lstStyle/>
            <a:p>
              <a:r>
                <a:rPr lang="en-US" sz="900" b="1" dirty="0">
                  <a:latin typeface="メイリオ"/>
                  <a:ea typeface="メイリオ"/>
                  <a:cs typeface="メイリオ"/>
                </a:rPr>
                <a:t>Duplicate</a:t>
              </a:r>
            </a:p>
          </p:txBody>
        </p:sp>
      </p:grpSp>
      <p:grpSp>
        <p:nvGrpSpPr>
          <p:cNvPr id="43" name="Group 14"/>
          <p:cNvGrpSpPr/>
          <p:nvPr/>
        </p:nvGrpSpPr>
        <p:grpSpPr>
          <a:xfrm>
            <a:off x="899445" y="2466335"/>
            <a:ext cx="1185394" cy="265814"/>
            <a:chOff x="4187319" y="3463339"/>
            <a:chExt cx="1185394" cy="265814"/>
          </a:xfrm>
        </p:grpSpPr>
        <p:grpSp>
          <p:nvGrpSpPr>
            <p:cNvPr id="44" name="Group 10"/>
            <p:cNvGrpSpPr/>
            <p:nvPr/>
          </p:nvGrpSpPr>
          <p:grpSpPr>
            <a:xfrm>
              <a:off x="4187319" y="3463339"/>
              <a:ext cx="257077" cy="265814"/>
              <a:chOff x="4446645" y="5328269"/>
              <a:chExt cx="393701" cy="407081"/>
            </a:xfrm>
          </p:grpSpPr>
          <p:sp>
            <p:nvSpPr>
              <p:cNvPr id="46"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47" name="Rectangle 195"/>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48"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49" name="Rectangle 197"/>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50" name="Rectangle 198"/>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51" name="Rectangle 209"/>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52" name="Rectangle 210"/>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53" name="Rectangle 211"/>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54" name="Rectangle 232"/>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55" name="Rectangle 233"/>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56" name="Rectangle 234"/>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nvGrpSpPr>
              <p:cNvPr id="57" name="Group 235"/>
              <p:cNvGrpSpPr>
                <a:grpSpLocks noChangeAspect="1"/>
              </p:cNvGrpSpPr>
              <p:nvPr/>
            </p:nvGrpSpPr>
            <p:grpSpPr>
              <a:xfrm>
                <a:off x="4616915" y="5503457"/>
                <a:ext cx="168922" cy="155424"/>
                <a:chOff x="9231726" y="3248067"/>
                <a:chExt cx="1060101" cy="975395"/>
              </a:xfrm>
              <a:solidFill>
                <a:schemeClr val="accent6"/>
              </a:solidFill>
            </p:grpSpPr>
            <p:sp>
              <p:nvSpPr>
                <p:cNvPr id="58"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sp>
              <p:nvSpPr>
                <p:cNvPr id="59"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sp>
              <p:nvSpPr>
                <p:cNvPr id="60"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grpSp>
        </p:grpSp>
        <p:sp>
          <p:nvSpPr>
            <p:cNvPr id="45" name="TextBox 296"/>
            <p:cNvSpPr txBox="1"/>
            <p:nvPr/>
          </p:nvSpPr>
          <p:spPr>
            <a:xfrm>
              <a:off x="4426266" y="3467099"/>
              <a:ext cx="946447" cy="230832"/>
            </a:xfrm>
            <a:prstGeom prst="rect">
              <a:avLst/>
            </a:prstGeom>
            <a:noFill/>
          </p:spPr>
          <p:txBody>
            <a:bodyPr wrap="square" rtlCol="0">
              <a:spAutoFit/>
            </a:bodyPr>
            <a:lstStyle/>
            <a:p>
              <a:r>
                <a:rPr lang="en-US" sz="900" b="1" dirty="0">
                  <a:latin typeface="メイリオ"/>
                  <a:ea typeface="メイリオ"/>
                  <a:cs typeface="メイリオ"/>
                </a:rPr>
                <a:t>Inconsistent</a:t>
              </a:r>
            </a:p>
          </p:txBody>
        </p:sp>
      </p:grpSp>
      <p:grpSp>
        <p:nvGrpSpPr>
          <p:cNvPr id="61" name="Group 15"/>
          <p:cNvGrpSpPr/>
          <p:nvPr/>
        </p:nvGrpSpPr>
        <p:grpSpPr>
          <a:xfrm>
            <a:off x="909577" y="2939284"/>
            <a:ext cx="1197401" cy="272164"/>
            <a:chOff x="4197451" y="3936288"/>
            <a:chExt cx="1197401" cy="272164"/>
          </a:xfrm>
        </p:grpSpPr>
        <p:grpSp>
          <p:nvGrpSpPr>
            <p:cNvPr id="62" name="Group 11"/>
            <p:cNvGrpSpPr/>
            <p:nvPr/>
          </p:nvGrpSpPr>
          <p:grpSpPr>
            <a:xfrm>
              <a:off x="4197451" y="3942638"/>
              <a:ext cx="259696" cy="265814"/>
              <a:chOff x="5070378" y="5390637"/>
              <a:chExt cx="397712" cy="407081"/>
            </a:xfrm>
          </p:grpSpPr>
          <p:sp>
            <p:nvSpPr>
              <p:cNvPr id="64"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65" name="Rectangle 241"/>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66"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67" name="Rectangle 243"/>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68" name="Rectangle 244"/>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69" name="Rectangle 245"/>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70" name="Rectangle 246"/>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71" name="Rectangle 247"/>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72" name="Rectangle 248"/>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73" name="Rectangle 249"/>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74" name="Rectangle 250"/>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sp>
          <p:nvSpPr>
            <p:cNvPr id="63" name="TextBox 297"/>
            <p:cNvSpPr txBox="1"/>
            <p:nvPr/>
          </p:nvSpPr>
          <p:spPr>
            <a:xfrm>
              <a:off x="4448405" y="3936288"/>
              <a:ext cx="946447" cy="230832"/>
            </a:xfrm>
            <a:prstGeom prst="rect">
              <a:avLst/>
            </a:prstGeom>
            <a:noFill/>
          </p:spPr>
          <p:txBody>
            <a:bodyPr wrap="square" rtlCol="0">
              <a:spAutoFit/>
            </a:bodyPr>
            <a:lstStyle/>
            <a:p>
              <a:r>
                <a:rPr lang="en-US" sz="900" b="1" dirty="0">
                  <a:latin typeface="メイリオ"/>
                  <a:ea typeface="メイリオ"/>
                  <a:cs typeface="メイリオ"/>
                </a:rPr>
                <a:t>Unused</a:t>
              </a:r>
            </a:p>
          </p:txBody>
        </p:sp>
      </p:grpSp>
      <p:sp>
        <p:nvSpPr>
          <p:cNvPr id="75" name="TextBox 298"/>
          <p:cNvSpPr txBox="1"/>
          <p:nvPr/>
        </p:nvSpPr>
        <p:spPr>
          <a:xfrm>
            <a:off x="2102145" y="1442006"/>
            <a:ext cx="1707136" cy="400110"/>
          </a:xfrm>
          <a:prstGeom prst="rect">
            <a:avLst/>
          </a:prstGeom>
          <a:noFill/>
        </p:spPr>
        <p:txBody>
          <a:bodyPr wrap="square" rtlCol="0">
            <a:spAutoFit/>
          </a:bodyPr>
          <a:lstStyle/>
          <a:p>
            <a:r>
              <a:rPr lang="en-US" sz="1000" b="1" dirty="0">
                <a:solidFill>
                  <a:schemeClr val="accent1"/>
                </a:solidFill>
                <a:latin typeface="メイリオ"/>
                <a:ea typeface="メイリオ"/>
                <a:cs typeface="メイリオ"/>
              </a:rPr>
              <a:t>Quickly see </a:t>
            </a:r>
            <a:br>
              <a:rPr lang="en-US" sz="1000" b="1" dirty="0">
                <a:solidFill>
                  <a:schemeClr val="accent1"/>
                </a:solidFill>
                <a:latin typeface="メイリオ"/>
                <a:ea typeface="メイリオ"/>
                <a:cs typeface="メイリオ"/>
              </a:rPr>
            </a:br>
            <a:r>
              <a:rPr lang="en-US" sz="1000" b="1" dirty="0">
                <a:solidFill>
                  <a:schemeClr val="accent1"/>
                </a:solidFill>
                <a:latin typeface="メイリオ"/>
                <a:ea typeface="メイリオ"/>
                <a:cs typeface="メイリオ"/>
              </a:rPr>
              <a:t>Duplicate Objects</a:t>
            </a:r>
          </a:p>
        </p:txBody>
      </p:sp>
      <p:sp>
        <p:nvSpPr>
          <p:cNvPr id="76" name="Rectangle 20"/>
          <p:cNvSpPr/>
          <p:nvPr/>
        </p:nvSpPr>
        <p:spPr>
          <a:xfrm>
            <a:off x="853224" y="1878635"/>
            <a:ext cx="1200116" cy="46095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77" name="Rectangle 21"/>
          <p:cNvSpPr/>
          <p:nvPr/>
        </p:nvSpPr>
        <p:spPr>
          <a:xfrm>
            <a:off x="2106978" y="1909193"/>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Object 1</a:t>
            </a:r>
          </a:p>
        </p:txBody>
      </p:sp>
      <p:sp>
        <p:nvSpPr>
          <p:cNvPr id="78" name="Rectangle 301"/>
          <p:cNvSpPr/>
          <p:nvPr/>
        </p:nvSpPr>
        <p:spPr>
          <a:xfrm>
            <a:off x="2106978" y="2179953"/>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Object 1</a:t>
            </a:r>
          </a:p>
        </p:txBody>
      </p:sp>
      <p:sp>
        <p:nvSpPr>
          <p:cNvPr id="79" name="Rectangle 302"/>
          <p:cNvSpPr/>
          <p:nvPr/>
        </p:nvSpPr>
        <p:spPr>
          <a:xfrm>
            <a:off x="2108302" y="2450714"/>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Object 1</a:t>
            </a:r>
          </a:p>
        </p:txBody>
      </p:sp>
      <p:sp>
        <p:nvSpPr>
          <p:cNvPr id="80" name="Rounded Rectangle 282"/>
          <p:cNvSpPr/>
          <p:nvPr/>
        </p:nvSpPr>
        <p:spPr>
          <a:xfrm>
            <a:off x="3133629" y="2755242"/>
            <a:ext cx="640080"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latin typeface="メイリオ"/>
                <a:ea typeface="メイリオ"/>
                <a:cs typeface="メイリオ"/>
              </a:rPr>
              <a:t>Rename Policy</a:t>
            </a:r>
          </a:p>
        </p:txBody>
      </p:sp>
      <p:sp>
        <p:nvSpPr>
          <p:cNvPr id="81" name="Rounded Rectangle 283"/>
          <p:cNvSpPr/>
          <p:nvPr/>
        </p:nvSpPr>
        <p:spPr>
          <a:xfrm>
            <a:off x="3136663" y="3142768"/>
            <a:ext cx="640080"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latin typeface="メイリオ"/>
                <a:ea typeface="メイリオ"/>
                <a:cs typeface="メイリオ"/>
              </a:rPr>
              <a:t>Edit Policy</a:t>
            </a:r>
          </a:p>
        </p:txBody>
      </p:sp>
      <p:grpSp>
        <p:nvGrpSpPr>
          <p:cNvPr id="82" name="Group 24"/>
          <p:cNvGrpSpPr/>
          <p:nvPr/>
        </p:nvGrpSpPr>
        <p:grpSpPr>
          <a:xfrm>
            <a:off x="6799596" y="1710865"/>
            <a:ext cx="205631" cy="205631"/>
            <a:chOff x="10932162" y="1222129"/>
            <a:chExt cx="372126" cy="372128"/>
          </a:xfrm>
        </p:grpSpPr>
        <p:sp>
          <p:nvSpPr>
            <p:cNvPr id="83" name="Oval 22"/>
            <p:cNvSpPr/>
            <p:nvPr/>
          </p:nvSpPr>
          <p:spPr>
            <a:xfrm>
              <a:off x="10932162" y="1222129"/>
              <a:ext cx="372126" cy="37212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4" name="Group 303"/>
            <p:cNvGrpSpPr/>
            <p:nvPr/>
          </p:nvGrpSpPr>
          <p:grpSpPr>
            <a:xfrm>
              <a:off x="10989703" y="1268795"/>
              <a:ext cx="257076" cy="265814"/>
              <a:chOff x="3798944" y="5187096"/>
              <a:chExt cx="393701" cy="407081"/>
            </a:xfrm>
          </p:grpSpPr>
          <p:sp>
            <p:nvSpPr>
              <p:cNvPr id="85"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6" name="Rectangle 305"/>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88" name="Rectangle 307"/>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89" name="Rectangle 308"/>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90" name="Rectangle 309"/>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1" name="Rectangle 310"/>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2" name="Rectangle 311"/>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3" name="Rectangle 312"/>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4" name="Rectangle 313"/>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95" name="Rectangle 314"/>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96" name="Group 315"/>
          <p:cNvGrpSpPr/>
          <p:nvPr/>
        </p:nvGrpSpPr>
        <p:grpSpPr>
          <a:xfrm>
            <a:off x="7537075" y="2349569"/>
            <a:ext cx="205631" cy="205631"/>
            <a:chOff x="10932179" y="1222127"/>
            <a:chExt cx="372127" cy="372127"/>
          </a:xfrm>
        </p:grpSpPr>
        <p:sp>
          <p:nvSpPr>
            <p:cNvPr id="97" name="Oval 316"/>
            <p:cNvSpPr/>
            <p:nvPr/>
          </p:nvSpPr>
          <p:spPr>
            <a:xfrm>
              <a:off x="10932179" y="1222127"/>
              <a:ext cx="372127" cy="372127"/>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317"/>
            <p:cNvGrpSpPr/>
            <p:nvPr/>
          </p:nvGrpSpPr>
          <p:grpSpPr>
            <a:xfrm>
              <a:off x="10989704" y="1268796"/>
              <a:ext cx="257077" cy="265814"/>
              <a:chOff x="3798944" y="5187096"/>
              <a:chExt cx="393701" cy="407081"/>
            </a:xfrm>
          </p:grpSpPr>
          <p:sp>
            <p:nvSpPr>
              <p:cNvPr id="99"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100" name="Rectangle 319"/>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102" name="Rectangle 321"/>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103" name="Rectangle 322"/>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104" name="Rectangle 323"/>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05" name="Rectangle 324"/>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06" name="Rectangle 325"/>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07" name="Rectangle 326"/>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08" name="Rectangle 327"/>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09" name="Rectangle 328"/>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110" name="Group 329"/>
          <p:cNvGrpSpPr/>
          <p:nvPr/>
        </p:nvGrpSpPr>
        <p:grpSpPr>
          <a:xfrm>
            <a:off x="7696992" y="3268755"/>
            <a:ext cx="205631" cy="205631"/>
            <a:chOff x="10932179" y="1222127"/>
            <a:chExt cx="372127" cy="372127"/>
          </a:xfrm>
        </p:grpSpPr>
        <p:sp>
          <p:nvSpPr>
            <p:cNvPr id="111" name="Oval 330"/>
            <p:cNvSpPr/>
            <p:nvPr/>
          </p:nvSpPr>
          <p:spPr>
            <a:xfrm>
              <a:off x="10932179" y="1222127"/>
              <a:ext cx="372127" cy="372127"/>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2" name="Group 331"/>
            <p:cNvGrpSpPr/>
            <p:nvPr/>
          </p:nvGrpSpPr>
          <p:grpSpPr>
            <a:xfrm>
              <a:off x="10989704" y="1268796"/>
              <a:ext cx="257077" cy="265814"/>
              <a:chOff x="3798944" y="5187096"/>
              <a:chExt cx="393701" cy="407081"/>
            </a:xfrm>
          </p:grpSpPr>
          <p:sp>
            <p:nvSpPr>
              <p:cNvPr id="113"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114" name="Rectangle 333"/>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116" name="Rectangle 335"/>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117" name="Rectangle 336"/>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118" name="Rectangle 337"/>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19" name="Rectangle 338"/>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20" name="Rectangle 339"/>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21" name="Rectangle 340"/>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22" name="Rectangle 341"/>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123" name="Rectangle 342"/>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sp>
        <p:nvSpPr>
          <p:cNvPr id="124" name="Freeform 195"/>
          <p:cNvSpPr>
            <a:spLocks/>
          </p:cNvSpPr>
          <p:nvPr/>
        </p:nvSpPr>
        <p:spPr bwMode="auto">
          <a:xfrm>
            <a:off x="2958115" y="2514597"/>
            <a:ext cx="161678" cy="280019"/>
          </a:xfrm>
          <a:custGeom>
            <a:avLst/>
            <a:gdLst>
              <a:gd name="T0" fmla="*/ 12 w 194"/>
              <a:gd name="T1" fmla="*/ 0 h 336"/>
              <a:gd name="T2" fmla="*/ 22 w 194"/>
              <a:gd name="T3" fmla="*/ 8 h 336"/>
              <a:gd name="T4" fmla="*/ 30 w 194"/>
              <a:gd name="T5" fmla="*/ 18 h 336"/>
              <a:gd name="T6" fmla="*/ 64 w 194"/>
              <a:gd name="T7" fmla="*/ 58 h 336"/>
              <a:gd name="T8" fmla="*/ 96 w 194"/>
              <a:gd name="T9" fmla="*/ 96 h 336"/>
              <a:gd name="T10" fmla="*/ 126 w 194"/>
              <a:gd name="T11" fmla="*/ 132 h 336"/>
              <a:gd name="T12" fmla="*/ 160 w 194"/>
              <a:gd name="T13" fmla="*/ 172 h 336"/>
              <a:gd name="T14" fmla="*/ 190 w 194"/>
              <a:gd name="T15" fmla="*/ 210 h 336"/>
              <a:gd name="T16" fmla="*/ 194 w 194"/>
              <a:gd name="T17" fmla="*/ 220 h 336"/>
              <a:gd name="T18" fmla="*/ 194 w 194"/>
              <a:gd name="T19" fmla="*/ 224 h 336"/>
              <a:gd name="T20" fmla="*/ 188 w 194"/>
              <a:gd name="T21" fmla="*/ 228 h 336"/>
              <a:gd name="T22" fmla="*/ 184 w 194"/>
              <a:gd name="T23" fmla="*/ 228 h 336"/>
              <a:gd name="T24" fmla="*/ 174 w 194"/>
              <a:gd name="T25" fmla="*/ 228 h 336"/>
              <a:gd name="T26" fmla="*/ 112 w 194"/>
              <a:gd name="T27" fmla="*/ 216 h 336"/>
              <a:gd name="T28" fmla="*/ 110 w 194"/>
              <a:gd name="T29" fmla="*/ 214 h 336"/>
              <a:gd name="T30" fmla="*/ 114 w 194"/>
              <a:gd name="T31" fmla="*/ 228 h 336"/>
              <a:gd name="T32" fmla="*/ 126 w 194"/>
              <a:gd name="T33" fmla="*/ 266 h 336"/>
              <a:gd name="T34" fmla="*/ 138 w 194"/>
              <a:gd name="T35" fmla="*/ 296 h 336"/>
              <a:gd name="T36" fmla="*/ 142 w 194"/>
              <a:gd name="T37" fmla="*/ 310 h 336"/>
              <a:gd name="T38" fmla="*/ 138 w 194"/>
              <a:gd name="T39" fmla="*/ 326 h 336"/>
              <a:gd name="T40" fmla="*/ 124 w 194"/>
              <a:gd name="T41" fmla="*/ 336 h 336"/>
              <a:gd name="T42" fmla="*/ 122 w 194"/>
              <a:gd name="T43" fmla="*/ 336 h 336"/>
              <a:gd name="T44" fmla="*/ 116 w 194"/>
              <a:gd name="T45" fmla="*/ 336 h 336"/>
              <a:gd name="T46" fmla="*/ 116 w 194"/>
              <a:gd name="T47" fmla="*/ 336 h 336"/>
              <a:gd name="T48" fmla="*/ 110 w 194"/>
              <a:gd name="T49" fmla="*/ 334 h 336"/>
              <a:gd name="T50" fmla="*/ 100 w 194"/>
              <a:gd name="T51" fmla="*/ 326 h 336"/>
              <a:gd name="T52" fmla="*/ 98 w 194"/>
              <a:gd name="T53" fmla="*/ 320 h 336"/>
              <a:gd name="T54" fmla="*/ 86 w 194"/>
              <a:gd name="T55" fmla="*/ 286 h 336"/>
              <a:gd name="T56" fmla="*/ 68 w 194"/>
              <a:gd name="T57" fmla="*/ 238 h 336"/>
              <a:gd name="T58" fmla="*/ 66 w 194"/>
              <a:gd name="T59" fmla="*/ 228 h 336"/>
              <a:gd name="T60" fmla="*/ 64 w 194"/>
              <a:gd name="T61" fmla="*/ 230 h 336"/>
              <a:gd name="T62" fmla="*/ 36 w 194"/>
              <a:gd name="T63" fmla="*/ 268 h 336"/>
              <a:gd name="T64" fmla="*/ 18 w 194"/>
              <a:gd name="T65" fmla="*/ 292 h 336"/>
              <a:gd name="T66" fmla="*/ 12 w 194"/>
              <a:gd name="T67" fmla="*/ 296 h 336"/>
              <a:gd name="T68" fmla="*/ 4 w 194"/>
              <a:gd name="T69" fmla="*/ 294 h 336"/>
              <a:gd name="T70" fmla="*/ 0 w 194"/>
              <a:gd name="T71" fmla="*/ 288 h 336"/>
              <a:gd name="T72" fmla="*/ 0 w 194"/>
              <a:gd name="T73" fmla="*/ 282 h 336"/>
              <a:gd name="T74" fmla="*/ 0 w 194"/>
              <a:gd name="T75" fmla="*/ 14 h 336"/>
              <a:gd name="T76" fmla="*/ 2 w 194"/>
              <a:gd name="T77" fmla="*/ 6 h 336"/>
              <a:gd name="T78" fmla="*/ 8 w 194"/>
              <a:gd name="T79" fmla="*/ 0 h 336"/>
              <a:gd name="T80" fmla="*/ 12 w 194"/>
              <a:gd name="T8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36">
                <a:moveTo>
                  <a:pt x="12" y="0"/>
                </a:moveTo>
                <a:lnTo>
                  <a:pt x="12" y="0"/>
                </a:lnTo>
                <a:lnTo>
                  <a:pt x="18" y="4"/>
                </a:lnTo>
                <a:lnTo>
                  <a:pt x="22" y="8"/>
                </a:lnTo>
                <a:lnTo>
                  <a:pt x="30" y="18"/>
                </a:lnTo>
                <a:lnTo>
                  <a:pt x="30" y="18"/>
                </a:lnTo>
                <a:lnTo>
                  <a:pt x="64" y="58"/>
                </a:lnTo>
                <a:lnTo>
                  <a:pt x="64" y="58"/>
                </a:lnTo>
                <a:lnTo>
                  <a:pt x="96" y="96"/>
                </a:lnTo>
                <a:lnTo>
                  <a:pt x="96" y="96"/>
                </a:lnTo>
                <a:lnTo>
                  <a:pt x="126" y="132"/>
                </a:lnTo>
                <a:lnTo>
                  <a:pt x="126" y="132"/>
                </a:lnTo>
                <a:lnTo>
                  <a:pt x="160" y="172"/>
                </a:lnTo>
                <a:lnTo>
                  <a:pt x="160" y="172"/>
                </a:lnTo>
                <a:lnTo>
                  <a:pt x="190" y="210"/>
                </a:lnTo>
                <a:lnTo>
                  <a:pt x="190" y="210"/>
                </a:lnTo>
                <a:lnTo>
                  <a:pt x="194" y="214"/>
                </a:lnTo>
                <a:lnTo>
                  <a:pt x="194" y="220"/>
                </a:lnTo>
                <a:lnTo>
                  <a:pt x="194" y="220"/>
                </a:lnTo>
                <a:lnTo>
                  <a:pt x="194" y="224"/>
                </a:lnTo>
                <a:lnTo>
                  <a:pt x="192" y="226"/>
                </a:lnTo>
                <a:lnTo>
                  <a:pt x="188" y="228"/>
                </a:lnTo>
                <a:lnTo>
                  <a:pt x="184" y="228"/>
                </a:lnTo>
                <a:lnTo>
                  <a:pt x="184" y="228"/>
                </a:lnTo>
                <a:lnTo>
                  <a:pt x="174" y="228"/>
                </a:lnTo>
                <a:lnTo>
                  <a:pt x="174" y="228"/>
                </a:lnTo>
                <a:lnTo>
                  <a:pt x="112" y="216"/>
                </a:lnTo>
                <a:lnTo>
                  <a:pt x="112" y="216"/>
                </a:lnTo>
                <a:lnTo>
                  <a:pt x="110" y="214"/>
                </a:lnTo>
                <a:lnTo>
                  <a:pt x="110" y="214"/>
                </a:lnTo>
                <a:lnTo>
                  <a:pt x="114" y="228"/>
                </a:lnTo>
                <a:lnTo>
                  <a:pt x="114" y="228"/>
                </a:lnTo>
                <a:lnTo>
                  <a:pt x="126" y="266"/>
                </a:lnTo>
                <a:lnTo>
                  <a:pt x="126" y="266"/>
                </a:lnTo>
                <a:lnTo>
                  <a:pt x="138" y="296"/>
                </a:lnTo>
                <a:lnTo>
                  <a:pt x="138" y="296"/>
                </a:lnTo>
                <a:lnTo>
                  <a:pt x="142" y="310"/>
                </a:lnTo>
                <a:lnTo>
                  <a:pt x="142" y="310"/>
                </a:lnTo>
                <a:lnTo>
                  <a:pt x="142" y="318"/>
                </a:lnTo>
                <a:lnTo>
                  <a:pt x="138" y="326"/>
                </a:lnTo>
                <a:lnTo>
                  <a:pt x="132" y="332"/>
                </a:lnTo>
                <a:lnTo>
                  <a:pt x="124" y="336"/>
                </a:lnTo>
                <a:lnTo>
                  <a:pt x="124" y="336"/>
                </a:lnTo>
                <a:lnTo>
                  <a:pt x="122" y="336"/>
                </a:lnTo>
                <a:lnTo>
                  <a:pt x="122" y="336"/>
                </a:lnTo>
                <a:lnTo>
                  <a:pt x="116" y="336"/>
                </a:lnTo>
                <a:lnTo>
                  <a:pt x="116" y="336"/>
                </a:lnTo>
                <a:lnTo>
                  <a:pt x="116" y="336"/>
                </a:lnTo>
                <a:lnTo>
                  <a:pt x="116" y="336"/>
                </a:lnTo>
                <a:lnTo>
                  <a:pt x="110" y="334"/>
                </a:lnTo>
                <a:lnTo>
                  <a:pt x="104" y="330"/>
                </a:lnTo>
                <a:lnTo>
                  <a:pt x="100" y="326"/>
                </a:lnTo>
                <a:lnTo>
                  <a:pt x="98" y="320"/>
                </a:lnTo>
                <a:lnTo>
                  <a:pt x="98" y="320"/>
                </a:lnTo>
                <a:lnTo>
                  <a:pt x="86" y="286"/>
                </a:lnTo>
                <a:lnTo>
                  <a:pt x="86" y="286"/>
                </a:lnTo>
                <a:lnTo>
                  <a:pt x="68" y="238"/>
                </a:lnTo>
                <a:lnTo>
                  <a:pt x="68" y="238"/>
                </a:lnTo>
                <a:lnTo>
                  <a:pt x="66" y="228"/>
                </a:lnTo>
                <a:lnTo>
                  <a:pt x="66" y="228"/>
                </a:lnTo>
                <a:lnTo>
                  <a:pt x="64" y="230"/>
                </a:lnTo>
                <a:lnTo>
                  <a:pt x="64" y="230"/>
                </a:lnTo>
                <a:lnTo>
                  <a:pt x="36" y="268"/>
                </a:lnTo>
                <a:lnTo>
                  <a:pt x="36" y="268"/>
                </a:lnTo>
                <a:lnTo>
                  <a:pt x="18" y="292"/>
                </a:lnTo>
                <a:lnTo>
                  <a:pt x="18" y="292"/>
                </a:lnTo>
                <a:lnTo>
                  <a:pt x="16" y="294"/>
                </a:lnTo>
                <a:lnTo>
                  <a:pt x="12" y="296"/>
                </a:lnTo>
                <a:lnTo>
                  <a:pt x="8" y="296"/>
                </a:lnTo>
                <a:lnTo>
                  <a:pt x="4" y="294"/>
                </a:lnTo>
                <a:lnTo>
                  <a:pt x="4" y="294"/>
                </a:lnTo>
                <a:lnTo>
                  <a:pt x="0" y="288"/>
                </a:lnTo>
                <a:lnTo>
                  <a:pt x="0" y="282"/>
                </a:lnTo>
                <a:lnTo>
                  <a:pt x="0" y="282"/>
                </a:lnTo>
                <a:lnTo>
                  <a:pt x="0" y="14"/>
                </a:lnTo>
                <a:lnTo>
                  <a:pt x="0" y="14"/>
                </a:lnTo>
                <a:lnTo>
                  <a:pt x="0" y="8"/>
                </a:lnTo>
                <a:lnTo>
                  <a:pt x="2" y="6"/>
                </a:lnTo>
                <a:lnTo>
                  <a:pt x="4" y="2"/>
                </a:lnTo>
                <a:lnTo>
                  <a:pt x="8" y="0"/>
                </a:lnTo>
                <a:lnTo>
                  <a:pt x="8" y="0"/>
                </a:lnTo>
                <a:lnTo>
                  <a:pt x="12" y="0"/>
                </a:lnTo>
                <a:lnTo>
                  <a:pt x="12" y="0"/>
                </a:lnTo>
                <a:close/>
              </a:path>
            </a:pathLst>
          </a:custGeom>
          <a:solidFill>
            <a:schemeClr val="bg1"/>
          </a:solidFill>
          <a:ln w="19050">
            <a:solidFill>
              <a:schemeClr val="accent5"/>
            </a:solidFill>
          </a:ln>
        </p:spPr>
        <p:txBody>
          <a:bodyPr vert="horz" wrap="square" lIns="91440" tIns="45720" rIns="91440" bIns="45720" numCol="1" anchor="t" anchorCtr="0" compatLnSpc="1">
            <a:prstTxWarp prst="textNoShape">
              <a:avLst/>
            </a:prstTxWarp>
          </a:bodyPr>
          <a:lstStyle/>
          <a:p>
            <a:endParaRPr lang="en-US">
              <a:latin typeface="メイリオ"/>
              <a:ea typeface="メイリオ"/>
              <a:cs typeface="メイリオ"/>
            </a:endParaRPr>
          </a:p>
        </p:txBody>
      </p:sp>
      <p:pic>
        <p:nvPicPr>
          <p:cNvPr id="125"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0079" y="2748439"/>
            <a:ext cx="2283009" cy="2335159"/>
          </a:xfrm>
          <a:prstGeom prst="rect">
            <a:avLst/>
          </a:prstGeom>
        </p:spPr>
      </p:pic>
      <p:sp>
        <p:nvSpPr>
          <p:cNvPr id="126" name="Rectangle 150"/>
          <p:cNvSpPr/>
          <p:nvPr/>
        </p:nvSpPr>
        <p:spPr>
          <a:xfrm>
            <a:off x="452127" y="652189"/>
            <a:ext cx="7735333" cy="31394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latin typeface="メイリオ"/>
                <a:ea typeface="メイリオ"/>
                <a:cs typeface="メイリオ"/>
              </a:rPr>
              <a:t>重複を検知し修正してファイアウォールを最適化</a:t>
            </a:r>
            <a:endParaRPr lang="en-US" dirty="0">
              <a:latin typeface="メイリオ"/>
              <a:ea typeface="メイリオ"/>
              <a:cs typeface="メイリオ"/>
            </a:endParaRPr>
          </a:p>
        </p:txBody>
      </p:sp>
    </p:spTree>
    <p:extLst>
      <p:ext uri="{BB962C8B-B14F-4D97-AF65-F5344CB8AC3E}">
        <p14:creationId xmlns:p14="http://schemas.microsoft.com/office/powerpoint/2010/main" val="62791541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25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25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par>
                                <p:cTn id="20" presetID="10" presetClass="entr" presetSubtype="0" fill="hold" nodeType="withEffect">
                                  <p:stCondLst>
                                    <p:cond delay="25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10" presetClass="entr" presetSubtype="0" fill="hold" grpId="0" nodeType="withEffect">
                                  <p:stCondLst>
                                    <p:cond delay="250"/>
                                  </p:stCondLst>
                                  <p:childTnLst>
                                    <p:set>
                                      <p:cBhvr>
                                        <p:cTn id="24" dur="1" fill="hold">
                                          <p:stCondLst>
                                            <p:cond delay="0"/>
                                          </p:stCondLst>
                                        </p:cTn>
                                        <p:tgtEl>
                                          <p:spTgt spid="124"/>
                                        </p:tgtEl>
                                        <p:attrNameLst>
                                          <p:attrName>style.visibility</p:attrName>
                                        </p:attrNameLst>
                                      </p:cBhvr>
                                      <p:to>
                                        <p:strVal val="visible"/>
                                      </p:to>
                                    </p:set>
                                    <p:animEffect transition="in" filter="fade">
                                      <p:cBhvr>
                                        <p:cTn id="25" dur="500"/>
                                        <p:tgtEl>
                                          <p:spTgt spid="124"/>
                                        </p:tgtEl>
                                      </p:cBhvr>
                                    </p:animEffect>
                                  </p:childTnLst>
                                </p:cTn>
                              </p:par>
                              <p:par>
                                <p:cTn id="26" presetID="10" presetClass="entr" presetSubtype="0" fill="hold" nodeType="withEffect">
                                  <p:stCondLst>
                                    <p:cond delay="5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10" presetClass="entr" presetSubtype="0" fill="hold" nodeType="withEffect">
                                  <p:stCondLst>
                                    <p:cond delay="50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par>
                          <p:cTn id="32" fill="hold">
                            <p:stCondLst>
                              <p:cond delay="1000"/>
                            </p:stCondLst>
                            <p:childTnLst>
                              <p:par>
                                <p:cTn id="33" presetID="10" presetClass="entr" presetSubtype="0" fill="hold" nodeType="afterEffect">
                                  <p:stCondLst>
                                    <p:cond delay="25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par>
                          <p:cTn id="36" fill="hold">
                            <p:stCondLst>
                              <p:cond delay="1750"/>
                            </p:stCondLst>
                            <p:childTnLst>
                              <p:par>
                                <p:cTn id="37" presetID="10" presetClass="entr" presetSubtype="0" fill="hold" nodeType="afterEffect">
                                  <p:stCondLst>
                                    <p:cond delay="25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10" presetClass="entr" presetSubtype="0" fill="hold" nodeType="withEffect">
                                  <p:stCondLst>
                                    <p:cond delay="50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nodeType="withEffect">
                                  <p:stCondLst>
                                    <p:cond delay="75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1000"/>
                                  </p:stCondLst>
                                  <p:childTnLst>
                                    <p:set>
                                      <p:cBhvr>
                                        <p:cTn id="47" dur="1" fill="hold">
                                          <p:stCondLst>
                                            <p:cond delay="0"/>
                                          </p:stCondLst>
                                        </p:cTn>
                                        <p:tgtEl>
                                          <p:spTgt spid="25"/>
                                        </p:tgtEl>
                                        <p:attrNameLst>
                                          <p:attrName>style.visibility</p:attrName>
                                        </p:attrNameLst>
                                      </p:cBhvr>
                                      <p:to>
                                        <p:strVal val="visible"/>
                                      </p:to>
                                    </p:set>
                                    <p:animEffect transition="in" filter="fade">
                                      <p:cBhvr>
                                        <p:cTn id="48" dur="500"/>
                                        <p:tgtEl>
                                          <p:spTgt spid="25"/>
                                        </p:tgtEl>
                                      </p:cBhvr>
                                    </p:animEffect>
                                  </p:childTnLst>
                                </p:cTn>
                              </p:par>
                            </p:childTnLst>
                          </p:cTn>
                        </p:par>
                        <p:par>
                          <p:cTn id="49" fill="hold">
                            <p:stCondLst>
                              <p:cond delay="3250"/>
                            </p:stCondLst>
                            <p:childTnLst>
                              <p:par>
                                <p:cTn id="50" presetID="37" presetClass="path" presetSubtype="0" accel="50000" decel="50000" fill="hold" grpId="1" nodeType="afterEffect">
                                  <p:stCondLst>
                                    <p:cond delay="0"/>
                                  </p:stCondLst>
                                  <p:childTnLst>
                                    <p:animMotion origin="layout" path="M -1.66667E-6 2.59259E-6 L -0.01979 -0.04329 C -0.0237 -0.05232 -0.03112 -0.06111 -0.03958 -0.06783 C -0.04896 -0.07454 -0.05716 -0.07755 -0.06393 -0.07662 L -0.09518 -0.07222 " pathEditMode="relative" rAng="12180000" ptsTypes="AAAAA">
                                      <p:cBhvr>
                                        <p:cTn id="51" dur="1000" fill="hold"/>
                                        <p:tgtEl>
                                          <p:spTgt spid="124"/>
                                        </p:tgtEl>
                                        <p:attrNameLst>
                                          <p:attrName>ppt_x</p:attrName>
                                          <p:attrName>ppt_y</p:attrName>
                                        </p:attrNameLst>
                                      </p:cBhvr>
                                      <p:rCtr x="-4375" y="-5185"/>
                                    </p:animMotion>
                                  </p:childTnLst>
                                </p:cTn>
                              </p:par>
                            </p:childTnLst>
                          </p:cTn>
                        </p:par>
                        <p:par>
                          <p:cTn id="52" fill="hold">
                            <p:stCondLst>
                              <p:cond delay="4250"/>
                            </p:stCondLst>
                            <p:childTnLst>
                              <p:par>
                                <p:cTn id="53" presetID="1" presetClass="entr" presetSubtype="0" fill="hold" grpId="0" nodeType="afterEffect">
                                  <p:stCondLst>
                                    <p:cond delay="250"/>
                                  </p:stCondLst>
                                  <p:childTnLst>
                                    <p:set>
                                      <p:cBhvr>
                                        <p:cTn id="54" dur="1" fill="hold">
                                          <p:stCondLst>
                                            <p:cond delay="0"/>
                                          </p:stCondLst>
                                        </p:cTn>
                                        <p:tgtEl>
                                          <p:spTgt spid="76"/>
                                        </p:tgtEl>
                                        <p:attrNameLst>
                                          <p:attrName>style.visibility</p:attrName>
                                        </p:attrNameLst>
                                      </p:cBhvr>
                                      <p:to>
                                        <p:strVal val="visible"/>
                                      </p:to>
                                    </p:set>
                                  </p:childTnLst>
                                </p:cTn>
                              </p:par>
                              <p:par>
                                <p:cTn id="55" presetID="1" presetClass="entr" presetSubtype="0" fill="hold" grpId="0" nodeType="withEffect">
                                  <p:stCondLst>
                                    <p:cond delay="250"/>
                                  </p:stCondLst>
                                  <p:childTnLst>
                                    <p:set>
                                      <p:cBhvr>
                                        <p:cTn id="56" dur="1" fill="hold">
                                          <p:stCondLst>
                                            <p:cond delay="0"/>
                                          </p:stCondLst>
                                        </p:cTn>
                                        <p:tgtEl>
                                          <p:spTgt spid="75"/>
                                        </p:tgtEl>
                                        <p:attrNameLst>
                                          <p:attrName>style.visibility</p:attrName>
                                        </p:attrNameLst>
                                      </p:cBhvr>
                                      <p:to>
                                        <p:strVal val="visible"/>
                                      </p:to>
                                    </p:set>
                                  </p:childTnLst>
                                </p:cTn>
                              </p:par>
                            </p:childTnLst>
                          </p:cTn>
                        </p:par>
                        <p:par>
                          <p:cTn id="57" fill="hold">
                            <p:stCondLst>
                              <p:cond delay="4500"/>
                            </p:stCondLst>
                            <p:childTnLst>
                              <p:par>
                                <p:cTn id="58" presetID="1" presetClass="entr" presetSubtype="0" fill="hold" grpId="0" nodeType="afterEffect">
                                  <p:stCondLst>
                                    <p:cond delay="500"/>
                                  </p:stCondLst>
                                  <p:childTnLst>
                                    <p:set>
                                      <p:cBhvr>
                                        <p:cTn id="59" dur="1" fill="hold">
                                          <p:stCondLst>
                                            <p:cond delay="0"/>
                                          </p:stCondLst>
                                        </p:cTn>
                                        <p:tgtEl>
                                          <p:spTgt spid="77"/>
                                        </p:tgtEl>
                                        <p:attrNameLst>
                                          <p:attrName>style.visibility</p:attrName>
                                        </p:attrNameLst>
                                      </p:cBhvr>
                                      <p:to>
                                        <p:strVal val="visible"/>
                                      </p:to>
                                    </p:set>
                                  </p:childTnLst>
                                </p:cTn>
                              </p:par>
                              <p:par>
                                <p:cTn id="60" presetID="1" presetClass="entr" presetSubtype="0" fill="hold" nodeType="withEffect">
                                  <p:stCondLst>
                                    <p:cond delay="750"/>
                                  </p:stCondLst>
                                  <p:childTnLst>
                                    <p:set>
                                      <p:cBhvr>
                                        <p:cTn id="61" dur="1" fill="hold">
                                          <p:stCondLst>
                                            <p:cond delay="0"/>
                                          </p:stCondLst>
                                        </p:cTn>
                                        <p:tgtEl>
                                          <p:spTgt spid="82"/>
                                        </p:tgtEl>
                                        <p:attrNameLst>
                                          <p:attrName>style.visibility</p:attrName>
                                        </p:attrNameLst>
                                      </p:cBhvr>
                                      <p:to>
                                        <p:strVal val="visible"/>
                                      </p:to>
                                    </p:set>
                                  </p:childTnLst>
                                </p:cTn>
                              </p:par>
                              <p:par>
                                <p:cTn id="62" presetID="1" presetClass="entr" presetSubtype="0" fill="hold" grpId="0" nodeType="withEffect">
                                  <p:stCondLst>
                                    <p:cond delay="1250"/>
                                  </p:stCondLst>
                                  <p:childTnLst>
                                    <p:set>
                                      <p:cBhvr>
                                        <p:cTn id="63" dur="1" fill="hold">
                                          <p:stCondLst>
                                            <p:cond delay="0"/>
                                          </p:stCondLst>
                                        </p:cTn>
                                        <p:tgtEl>
                                          <p:spTgt spid="78"/>
                                        </p:tgtEl>
                                        <p:attrNameLst>
                                          <p:attrName>style.visibility</p:attrName>
                                        </p:attrNameLst>
                                      </p:cBhvr>
                                      <p:to>
                                        <p:strVal val="visible"/>
                                      </p:to>
                                    </p:set>
                                  </p:childTnLst>
                                </p:cTn>
                              </p:par>
                              <p:par>
                                <p:cTn id="64" presetID="1" presetClass="entr" presetSubtype="0" fill="hold" nodeType="withEffect">
                                  <p:stCondLst>
                                    <p:cond delay="1500"/>
                                  </p:stCondLst>
                                  <p:childTnLst>
                                    <p:set>
                                      <p:cBhvr>
                                        <p:cTn id="65" dur="1" fill="hold">
                                          <p:stCondLst>
                                            <p:cond delay="0"/>
                                          </p:stCondLst>
                                        </p:cTn>
                                        <p:tgtEl>
                                          <p:spTgt spid="96"/>
                                        </p:tgtEl>
                                        <p:attrNameLst>
                                          <p:attrName>style.visibility</p:attrName>
                                        </p:attrNameLst>
                                      </p:cBhvr>
                                      <p:to>
                                        <p:strVal val="visible"/>
                                      </p:to>
                                    </p:set>
                                  </p:childTnLst>
                                </p:cTn>
                              </p:par>
                              <p:par>
                                <p:cTn id="66" presetID="1" presetClass="entr" presetSubtype="0" fill="hold" grpId="0" nodeType="withEffect">
                                  <p:stCondLst>
                                    <p:cond delay="2000"/>
                                  </p:stCondLst>
                                  <p:childTnLst>
                                    <p:set>
                                      <p:cBhvr>
                                        <p:cTn id="67" dur="1" fill="hold">
                                          <p:stCondLst>
                                            <p:cond delay="0"/>
                                          </p:stCondLst>
                                        </p:cTn>
                                        <p:tgtEl>
                                          <p:spTgt spid="79"/>
                                        </p:tgtEl>
                                        <p:attrNameLst>
                                          <p:attrName>style.visibility</p:attrName>
                                        </p:attrNameLst>
                                      </p:cBhvr>
                                      <p:to>
                                        <p:strVal val="visible"/>
                                      </p:to>
                                    </p:set>
                                  </p:childTnLst>
                                </p:cTn>
                              </p:par>
                              <p:par>
                                <p:cTn id="68" presetID="1" presetClass="entr" presetSubtype="0" fill="hold" nodeType="withEffect">
                                  <p:stCondLst>
                                    <p:cond delay="2250"/>
                                  </p:stCondLst>
                                  <p:childTnLst>
                                    <p:set>
                                      <p:cBhvr>
                                        <p:cTn id="69" dur="1" fill="hold">
                                          <p:stCondLst>
                                            <p:cond delay="0"/>
                                          </p:stCondLst>
                                        </p:cTn>
                                        <p:tgtEl>
                                          <p:spTgt spid="110"/>
                                        </p:tgtEl>
                                        <p:attrNameLst>
                                          <p:attrName>style.visibility</p:attrName>
                                        </p:attrNameLst>
                                      </p:cBhvr>
                                      <p:to>
                                        <p:strVal val="visible"/>
                                      </p:to>
                                    </p:set>
                                  </p:childTnLst>
                                </p:cTn>
                              </p:par>
                              <p:par>
                                <p:cTn id="70" presetID="1" presetClass="entr" presetSubtype="0" fill="hold" grpId="0" nodeType="withEffect">
                                  <p:stCondLst>
                                    <p:cond delay="2750"/>
                                  </p:stCondLst>
                                  <p:childTnLst>
                                    <p:set>
                                      <p:cBhvr>
                                        <p:cTn id="71" dur="1" fill="hold">
                                          <p:stCondLst>
                                            <p:cond delay="0"/>
                                          </p:stCondLst>
                                        </p:cTn>
                                        <p:tgtEl>
                                          <p:spTgt spid="80"/>
                                        </p:tgtEl>
                                        <p:attrNameLst>
                                          <p:attrName>style.visibility</p:attrName>
                                        </p:attrNameLst>
                                      </p:cBhvr>
                                      <p:to>
                                        <p:strVal val="visible"/>
                                      </p:to>
                                    </p:set>
                                  </p:childTnLst>
                                </p:cTn>
                              </p:par>
                              <p:par>
                                <p:cTn id="72" presetID="1" presetClass="entr" presetSubtype="0" fill="hold" grpId="0" nodeType="withEffect">
                                  <p:stCondLst>
                                    <p:cond delay="2750"/>
                                  </p:stCondLst>
                                  <p:childTnLst>
                                    <p:set>
                                      <p:cBhvr>
                                        <p:cTn id="73"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28" grpId="0"/>
      <p:bldP spid="75" grpId="0"/>
      <p:bldP spid="76" grpId="0" animBg="1"/>
      <p:bldP spid="77" grpId="0" animBg="1"/>
      <p:bldP spid="78" grpId="0" animBg="1"/>
      <p:bldP spid="79" grpId="0" animBg="1"/>
      <p:bldP spid="80" grpId="0" animBg="1"/>
      <p:bldP spid="81" grpId="0" animBg="1"/>
      <p:bldP spid="124" grpId="0" animBg="1"/>
      <p:bldP spid="124"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277608" cy="443295"/>
          </a:xfrm>
        </p:spPr>
        <p:txBody>
          <a:bodyPr/>
          <a:lstStyle/>
          <a:p>
            <a:r>
              <a:rPr kumimoji="1" lang="ja-JP" altLang="en-US" dirty="0"/>
              <a:t>ポリシーやオブジェクトを効果的に分析</a:t>
            </a:r>
          </a:p>
        </p:txBody>
      </p:sp>
      <p:sp>
        <p:nvSpPr>
          <p:cNvPr id="127" name="Rectangle 41"/>
          <p:cNvSpPr/>
          <p:nvPr/>
        </p:nvSpPr>
        <p:spPr>
          <a:xfrm>
            <a:off x="869628" y="1562408"/>
            <a:ext cx="3125203" cy="2194671"/>
          </a:xfrm>
          <a:prstGeom prst="rect">
            <a:avLst/>
          </a:prstGeom>
          <a:solidFill>
            <a:srgbClr val="FFFFFF"/>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28" name="Rectangle 52"/>
          <p:cNvSpPr/>
          <p:nvPr/>
        </p:nvSpPr>
        <p:spPr>
          <a:xfrm>
            <a:off x="816061" y="1431526"/>
            <a:ext cx="1272932" cy="477478"/>
          </a:xfrm>
          <a:prstGeom prst="rect">
            <a:avLst/>
          </a:prstGeom>
          <a:solidFill>
            <a:srgbClr val="FFFFFF">
              <a:lumMod val="95000"/>
            </a:srgbClr>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32" name="Freeform 88"/>
          <p:cNvSpPr>
            <a:spLocks noEditPoints="1"/>
          </p:cNvSpPr>
          <p:nvPr/>
        </p:nvSpPr>
        <p:spPr bwMode="black">
          <a:xfrm>
            <a:off x="656882" y="1251378"/>
            <a:ext cx="3466450" cy="293953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133" name="Rectangle 51"/>
          <p:cNvSpPr/>
          <p:nvPr/>
        </p:nvSpPr>
        <p:spPr>
          <a:xfrm>
            <a:off x="2088993" y="1909080"/>
            <a:ext cx="1767088" cy="856736"/>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34" name="Rectangle 185"/>
          <p:cNvSpPr/>
          <p:nvPr/>
        </p:nvSpPr>
        <p:spPr>
          <a:xfrm>
            <a:off x="291300" y="653569"/>
            <a:ext cx="8058149"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roup 4"/>
          <p:cNvGrpSpPr/>
          <p:nvPr/>
        </p:nvGrpSpPr>
        <p:grpSpPr>
          <a:xfrm>
            <a:off x="4979411" y="1160425"/>
            <a:ext cx="3706139" cy="3706142"/>
            <a:chOff x="7695877" y="1819682"/>
            <a:chExt cx="4127270" cy="4127274"/>
          </a:xfrm>
        </p:grpSpPr>
        <p:sp>
          <p:nvSpPr>
            <p:cNvPr id="136" name="Oval 186"/>
            <p:cNvSpPr/>
            <p:nvPr/>
          </p:nvSpPr>
          <p:spPr>
            <a:xfrm>
              <a:off x="7695877" y="1819682"/>
              <a:ext cx="4127270" cy="4127274"/>
            </a:xfrm>
            <a:prstGeom prst="ellipse">
              <a:avLst/>
            </a:prstGeom>
            <a:solidFill>
              <a:srgbClr val="FFFFFF"/>
            </a:solidFill>
            <a:ln w="38100" cap="flat" cmpd="sng" algn="ctr">
              <a:solidFill>
                <a:sysClr val="window" lastClr="FFFFFF">
                  <a:lumMod val="65000"/>
                </a:sysClr>
              </a:solidFill>
              <a:prstDash val="solid"/>
            </a:ln>
            <a:effectLst/>
          </p:spPr>
          <p:txBody>
            <a:bodyPr rtlCol="0" anchor="ctr"/>
            <a:lstStyle/>
            <a:p>
              <a:pPr algn="ctr" defTabSz="746150">
                <a:defRPr/>
              </a:pPr>
              <a:endParaRPr lang="en-US" sz="1469" kern="0" dirty="0">
                <a:solidFill>
                  <a:srgbClr val="FFFFFF"/>
                </a:solidFill>
                <a:latin typeface="+mj-lt"/>
              </a:endParaRPr>
            </a:p>
          </p:txBody>
        </p:sp>
        <p:sp>
          <p:nvSpPr>
            <p:cNvPr id="137" name="Freeform 5"/>
            <p:cNvSpPr>
              <a:spLocks noEditPoints="1"/>
            </p:cNvSpPr>
            <p:nvPr/>
          </p:nvSpPr>
          <p:spPr bwMode="auto">
            <a:xfrm>
              <a:off x="7777374" y="1903894"/>
              <a:ext cx="3969017" cy="3975919"/>
            </a:xfrm>
            <a:custGeom>
              <a:avLst/>
              <a:gdLst>
                <a:gd name="T0" fmla="*/ 3483 w 4600"/>
                <a:gd name="T1" fmla="*/ 324 h 4608"/>
                <a:gd name="T2" fmla="*/ 1030 w 4600"/>
                <a:gd name="T3" fmla="*/ 391 h 4608"/>
                <a:gd name="T4" fmla="*/ 1224 w 4600"/>
                <a:gd name="T5" fmla="*/ 735 h 4608"/>
                <a:gd name="T6" fmla="*/ 4472 w 4600"/>
                <a:gd name="T7" fmla="*/ 2015 h 4608"/>
                <a:gd name="T8" fmla="*/ 4278 w 4600"/>
                <a:gd name="T9" fmla="*/ 1298 h 4608"/>
                <a:gd name="T10" fmla="*/ 4001 w 4600"/>
                <a:gd name="T11" fmla="*/ 836 h 4608"/>
                <a:gd name="T12" fmla="*/ 3970 w 4600"/>
                <a:gd name="T13" fmla="*/ 770 h 4608"/>
                <a:gd name="T14" fmla="*/ 3785 w 4600"/>
                <a:gd name="T15" fmla="*/ 539 h 4608"/>
                <a:gd name="T16" fmla="*/ 3551 w 4600"/>
                <a:gd name="T17" fmla="*/ 370 h 4608"/>
                <a:gd name="T18" fmla="*/ 3581 w 4600"/>
                <a:gd name="T19" fmla="*/ 432 h 4608"/>
                <a:gd name="T20" fmla="*/ 2328 w 4600"/>
                <a:gd name="T21" fmla="*/ 0 h 4608"/>
                <a:gd name="T22" fmla="*/ 1338 w 4600"/>
                <a:gd name="T23" fmla="*/ 309 h 4608"/>
                <a:gd name="T24" fmla="*/ 1071 w 4600"/>
                <a:gd name="T25" fmla="*/ 448 h 4608"/>
                <a:gd name="T26" fmla="*/ 137 w 4600"/>
                <a:gd name="T27" fmla="*/ 1519 h 4608"/>
                <a:gd name="T28" fmla="*/ 1048 w 4600"/>
                <a:gd name="T29" fmla="*/ 4231 h 4608"/>
                <a:gd name="T30" fmla="*/ 3629 w 4600"/>
                <a:gd name="T31" fmla="*/ 4183 h 4608"/>
                <a:gd name="T32" fmla="*/ 3904 w 4600"/>
                <a:gd name="T33" fmla="*/ 786 h 4608"/>
                <a:gd name="T34" fmla="*/ 3442 w 4600"/>
                <a:gd name="T35" fmla="*/ 1400 h 4608"/>
                <a:gd name="T36" fmla="*/ 2915 w 4600"/>
                <a:gd name="T37" fmla="*/ 84 h 4608"/>
                <a:gd name="T38" fmla="*/ 2930 w 4600"/>
                <a:gd name="T39" fmla="*/ 333 h 4608"/>
                <a:gd name="T40" fmla="*/ 3346 w 4600"/>
                <a:gd name="T41" fmla="*/ 544 h 4608"/>
                <a:gd name="T42" fmla="*/ 3063 w 4600"/>
                <a:gd name="T43" fmla="*/ 729 h 4608"/>
                <a:gd name="T44" fmla="*/ 2665 w 4600"/>
                <a:gd name="T45" fmla="*/ 498 h 4608"/>
                <a:gd name="T46" fmla="*/ 2752 w 4600"/>
                <a:gd name="T47" fmla="*/ 795 h 4608"/>
                <a:gd name="T48" fmla="*/ 2930 w 4600"/>
                <a:gd name="T49" fmla="*/ 816 h 4608"/>
                <a:gd name="T50" fmla="*/ 2412 w 4600"/>
                <a:gd name="T51" fmla="*/ 470 h 4608"/>
                <a:gd name="T52" fmla="*/ 2613 w 4600"/>
                <a:gd name="T53" fmla="*/ 489 h 4608"/>
                <a:gd name="T54" fmla="*/ 2449 w 4600"/>
                <a:gd name="T55" fmla="*/ 594 h 4608"/>
                <a:gd name="T56" fmla="*/ 2316 w 4600"/>
                <a:gd name="T57" fmla="*/ 631 h 4608"/>
                <a:gd name="T58" fmla="*/ 2234 w 4600"/>
                <a:gd name="T59" fmla="*/ 621 h 4608"/>
                <a:gd name="T60" fmla="*/ 1886 w 4600"/>
                <a:gd name="T61" fmla="*/ 566 h 4608"/>
                <a:gd name="T62" fmla="*/ 1967 w 4600"/>
                <a:gd name="T63" fmla="*/ 724 h 4608"/>
                <a:gd name="T64" fmla="*/ 4063 w 4600"/>
                <a:gd name="T65" fmla="*/ 3413 h 4608"/>
                <a:gd name="T66" fmla="*/ 3309 w 4600"/>
                <a:gd name="T67" fmla="*/ 4181 h 4608"/>
                <a:gd name="T68" fmla="*/ 2771 w 4600"/>
                <a:gd name="T69" fmla="*/ 4508 h 4608"/>
                <a:gd name="T70" fmla="*/ 2807 w 4600"/>
                <a:gd name="T71" fmla="*/ 4279 h 4608"/>
                <a:gd name="T72" fmla="*/ 2730 w 4600"/>
                <a:gd name="T73" fmla="*/ 3290 h 4608"/>
                <a:gd name="T74" fmla="*/ 2690 w 4600"/>
                <a:gd name="T75" fmla="*/ 2942 h 4608"/>
                <a:gd name="T76" fmla="*/ 2376 w 4600"/>
                <a:gd name="T77" fmla="*/ 2721 h 4608"/>
                <a:gd name="T78" fmla="*/ 1629 w 4600"/>
                <a:gd name="T79" fmla="*/ 2102 h 4608"/>
                <a:gd name="T80" fmla="*/ 1562 w 4600"/>
                <a:gd name="T81" fmla="*/ 2195 h 4608"/>
                <a:gd name="T82" fmla="*/ 1403 w 4600"/>
                <a:gd name="T83" fmla="*/ 1405 h 4608"/>
                <a:gd name="T84" fmla="*/ 1210 w 4600"/>
                <a:gd name="T85" fmla="*/ 775 h 4608"/>
                <a:gd name="T86" fmla="*/ 1076 w 4600"/>
                <a:gd name="T87" fmla="*/ 667 h 4608"/>
                <a:gd name="T88" fmla="*/ 1471 w 4600"/>
                <a:gd name="T89" fmla="*/ 468 h 4608"/>
                <a:gd name="T90" fmla="*/ 1967 w 4600"/>
                <a:gd name="T91" fmla="*/ 754 h 4608"/>
                <a:gd name="T92" fmla="*/ 2485 w 4600"/>
                <a:gd name="T93" fmla="*/ 775 h 4608"/>
                <a:gd name="T94" fmla="*/ 2627 w 4600"/>
                <a:gd name="T95" fmla="*/ 1252 h 4608"/>
                <a:gd name="T96" fmla="*/ 3223 w 4600"/>
                <a:gd name="T97" fmla="*/ 1154 h 4608"/>
                <a:gd name="T98" fmla="*/ 3104 w 4600"/>
                <a:gd name="T99" fmla="*/ 1517 h 4608"/>
                <a:gd name="T100" fmla="*/ 2869 w 4600"/>
                <a:gd name="T101" fmla="*/ 1743 h 4608"/>
                <a:gd name="T102" fmla="*/ 2583 w 4600"/>
                <a:gd name="T103" fmla="*/ 2113 h 4608"/>
                <a:gd name="T104" fmla="*/ 2234 w 4600"/>
                <a:gd name="T105" fmla="*/ 2547 h 4608"/>
                <a:gd name="T106" fmla="*/ 2439 w 4600"/>
                <a:gd name="T107" fmla="*/ 2650 h 4608"/>
                <a:gd name="T108" fmla="*/ 2690 w 4600"/>
                <a:gd name="T109" fmla="*/ 2911 h 4608"/>
                <a:gd name="T110" fmla="*/ 3131 w 4600"/>
                <a:gd name="T111" fmla="*/ 2830 h 4608"/>
                <a:gd name="T112" fmla="*/ 3780 w 4600"/>
                <a:gd name="T113" fmla="*/ 2947 h 4608"/>
                <a:gd name="T114" fmla="*/ 3063 w 4600"/>
                <a:gd name="T115" fmla="*/ 2522 h 4608"/>
                <a:gd name="T116" fmla="*/ 2674 w 4600"/>
                <a:gd name="T117" fmla="*/ 2378 h 4608"/>
                <a:gd name="T118" fmla="*/ 2627 w 4600"/>
                <a:gd name="T119" fmla="*/ 4519 h 4608"/>
                <a:gd name="T120" fmla="*/ 4324 w 4600"/>
                <a:gd name="T121" fmla="*/ 1266 h 4608"/>
                <a:gd name="T122" fmla="*/ 4164 w 4600"/>
                <a:gd name="T123" fmla="*/ 1001 h 4608"/>
                <a:gd name="T124" fmla="*/ 4267 w 4600"/>
                <a:gd name="T125" fmla="*/ 1119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0" h="4608">
                  <a:moveTo>
                    <a:pt x="1117" y="329"/>
                  </a:moveTo>
                  <a:lnTo>
                    <a:pt x="1101" y="345"/>
                  </a:lnTo>
                  <a:lnTo>
                    <a:pt x="1128" y="329"/>
                  </a:lnTo>
                  <a:lnTo>
                    <a:pt x="1131" y="329"/>
                  </a:lnTo>
                  <a:lnTo>
                    <a:pt x="1137" y="324"/>
                  </a:lnTo>
                  <a:lnTo>
                    <a:pt x="1117" y="329"/>
                  </a:lnTo>
                  <a:close/>
                  <a:moveTo>
                    <a:pt x="1055" y="375"/>
                  </a:moveTo>
                  <a:lnTo>
                    <a:pt x="1046" y="386"/>
                  </a:lnTo>
                  <a:lnTo>
                    <a:pt x="1066" y="381"/>
                  </a:lnTo>
                  <a:lnTo>
                    <a:pt x="1087" y="375"/>
                  </a:lnTo>
                  <a:lnTo>
                    <a:pt x="1101" y="375"/>
                  </a:lnTo>
                  <a:lnTo>
                    <a:pt x="1137" y="356"/>
                  </a:lnTo>
                  <a:lnTo>
                    <a:pt x="1142" y="345"/>
                  </a:lnTo>
                  <a:lnTo>
                    <a:pt x="1122" y="356"/>
                  </a:lnTo>
                  <a:lnTo>
                    <a:pt x="1106" y="356"/>
                  </a:lnTo>
                  <a:lnTo>
                    <a:pt x="1147" y="329"/>
                  </a:lnTo>
                  <a:lnTo>
                    <a:pt x="1163" y="320"/>
                  </a:lnTo>
                  <a:lnTo>
                    <a:pt x="1131" y="329"/>
                  </a:lnTo>
                  <a:lnTo>
                    <a:pt x="1131" y="329"/>
                  </a:lnTo>
                  <a:lnTo>
                    <a:pt x="1083" y="361"/>
                  </a:lnTo>
                  <a:lnTo>
                    <a:pt x="1035" y="391"/>
                  </a:lnTo>
                  <a:lnTo>
                    <a:pt x="1041" y="386"/>
                  </a:lnTo>
                  <a:lnTo>
                    <a:pt x="1055" y="375"/>
                  </a:lnTo>
                  <a:close/>
                  <a:moveTo>
                    <a:pt x="2787" y="4560"/>
                  </a:moveTo>
                  <a:lnTo>
                    <a:pt x="2782" y="4560"/>
                  </a:lnTo>
                  <a:lnTo>
                    <a:pt x="2777" y="4560"/>
                  </a:lnTo>
                  <a:lnTo>
                    <a:pt x="2777" y="4560"/>
                  </a:lnTo>
                  <a:lnTo>
                    <a:pt x="2750" y="4565"/>
                  </a:lnTo>
                  <a:lnTo>
                    <a:pt x="2725" y="4571"/>
                  </a:lnTo>
                  <a:lnTo>
                    <a:pt x="2700" y="4576"/>
                  </a:lnTo>
                  <a:lnTo>
                    <a:pt x="2674" y="4581"/>
                  </a:lnTo>
                  <a:lnTo>
                    <a:pt x="2674" y="4581"/>
                  </a:lnTo>
                  <a:lnTo>
                    <a:pt x="2732" y="4572"/>
                  </a:lnTo>
                  <a:lnTo>
                    <a:pt x="2761" y="4567"/>
                  </a:lnTo>
                  <a:lnTo>
                    <a:pt x="2787" y="4560"/>
                  </a:lnTo>
                  <a:lnTo>
                    <a:pt x="2787" y="4560"/>
                  </a:lnTo>
                  <a:close/>
                  <a:moveTo>
                    <a:pt x="3483" y="324"/>
                  </a:moveTo>
                  <a:lnTo>
                    <a:pt x="3483" y="324"/>
                  </a:lnTo>
                  <a:lnTo>
                    <a:pt x="3483" y="324"/>
                  </a:lnTo>
                  <a:lnTo>
                    <a:pt x="3488" y="327"/>
                  </a:lnTo>
                  <a:lnTo>
                    <a:pt x="3492" y="329"/>
                  </a:lnTo>
                  <a:lnTo>
                    <a:pt x="3504" y="334"/>
                  </a:lnTo>
                  <a:lnTo>
                    <a:pt x="3504" y="334"/>
                  </a:lnTo>
                  <a:lnTo>
                    <a:pt x="3497" y="334"/>
                  </a:lnTo>
                  <a:lnTo>
                    <a:pt x="3492" y="331"/>
                  </a:lnTo>
                  <a:lnTo>
                    <a:pt x="3483" y="324"/>
                  </a:lnTo>
                  <a:lnTo>
                    <a:pt x="3483" y="324"/>
                  </a:lnTo>
                  <a:close/>
                  <a:moveTo>
                    <a:pt x="1957" y="612"/>
                  </a:moveTo>
                  <a:lnTo>
                    <a:pt x="1978" y="606"/>
                  </a:lnTo>
                  <a:lnTo>
                    <a:pt x="1998" y="601"/>
                  </a:lnTo>
                  <a:lnTo>
                    <a:pt x="1998" y="601"/>
                  </a:lnTo>
                  <a:lnTo>
                    <a:pt x="1967" y="606"/>
                  </a:lnTo>
                  <a:lnTo>
                    <a:pt x="1957" y="612"/>
                  </a:lnTo>
                  <a:close/>
                  <a:moveTo>
                    <a:pt x="3300" y="228"/>
                  </a:moveTo>
                  <a:lnTo>
                    <a:pt x="3278" y="217"/>
                  </a:lnTo>
                  <a:lnTo>
                    <a:pt x="3278" y="217"/>
                  </a:lnTo>
                  <a:lnTo>
                    <a:pt x="3278" y="217"/>
                  </a:lnTo>
                  <a:lnTo>
                    <a:pt x="3284" y="221"/>
                  </a:lnTo>
                  <a:lnTo>
                    <a:pt x="3289" y="222"/>
                  </a:lnTo>
                  <a:lnTo>
                    <a:pt x="3294" y="224"/>
                  </a:lnTo>
                  <a:lnTo>
                    <a:pt x="3300" y="228"/>
                  </a:lnTo>
                  <a:lnTo>
                    <a:pt x="3300" y="228"/>
                  </a:lnTo>
                  <a:close/>
                  <a:moveTo>
                    <a:pt x="3551" y="365"/>
                  </a:moveTo>
                  <a:lnTo>
                    <a:pt x="3551" y="365"/>
                  </a:lnTo>
                  <a:lnTo>
                    <a:pt x="3554" y="368"/>
                  </a:lnTo>
                  <a:lnTo>
                    <a:pt x="3556" y="370"/>
                  </a:lnTo>
                  <a:lnTo>
                    <a:pt x="3561" y="370"/>
                  </a:lnTo>
                  <a:lnTo>
                    <a:pt x="3561" y="370"/>
                  </a:lnTo>
                  <a:lnTo>
                    <a:pt x="3558" y="370"/>
                  </a:lnTo>
                  <a:lnTo>
                    <a:pt x="3556" y="368"/>
                  </a:lnTo>
                  <a:lnTo>
                    <a:pt x="3554" y="366"/>
                  </a:lnTo>
                  <a:lnTo>
                    <a:pt x="3551" y="365"/>
                  </a:lnTo>
                  <a:lnTo>
                    <a:pt x="3551" y="365"/>
                  </a:lnTo>
                  <a:close/>
                  <a:moveTo>
                    <a:pt x="3561" y="370"/>
                  </a:moveTo>
                  <a:lnTo>
                    <a:pt x="3561" y="370"/>
                  </a:lnTo>
                  <a:lnTo>
                    <a:pt x="3561" y="370"/>
                  </a:lnTo>
                  <a:lnTo>
                    <a:pt x="3561" y="370"/>
                  </a:lnTo>
                  <a:close/>
                  <a:moveTo>
                    <a:pt x="1030" y="391"/>
                  </a:moveTo>
                  <a:lnTo>
                    <a:pt x="1030" y="391"/>
                  </a:lnTo>
                  <a:lnTo>
                    <a:pt x="1009" y="404"/>
                  </a:lnTo>
                  <a:lnTo>
                    <a:pt x="987" y="416"/>
                  </a:lnTo>
                  <a:lnTo>
                    <a:pt x="971" y="430"/>
                  </a:lnTo>
                  <a:lnTo>
                    <a:pt x="959" y="443"/>
                  </a:lnTo>
                  <a:lnTo>
                    <a:pt x="959" y="443"/>
                  </a:lnTo>
                  <a:lnTo>
                    <a:pt x="977" y="429"/>
                  </a:lnTo>
                  <a:lnTo>
                    <a:pt x="996" y="414"/>
                  </a:lnTo>
                  <a:lnTo>
                    <a:pt x="1030" y="391"/>
                  </a:lnTo>
                  <a:lnTo>
                    <a:pt x="1030" y="391"/>
                  </a:lnTo>
                  <a:close/>
                  <a:moveTo>
                    <a:pt x="3561" y="370"/>
                  </a:moveTo>
                  <a:lnTo>
                    <a:pt x="3570" y="381"/>
                  </a:lnTo>
                  <a:lnTo>
                    <a:pt x="3570" y="381"/>
                  </a:lnTo>
                  <a:lnTo>
                    <a:pt x="3570" y="377"/>
                  </a:lnTo>
                  <a:lnTo>
                    <a:pt x="3568" y="375"/>
                  </a:lnTo>
                  <a:lnTo>
                    <a:pt x="3561" y="370"/>
                  </a:lnTo>
                  <a:lnTo>
                    <a:pt x="3561" y="370"/>
                  </a:lnTo>
                  <a:close/>
                  <a:moveTo>
                    <a:pt x="3458" y="315"/>
                  </a:moveTo>
                  <a:lnTo>
                    <a:pt x="3458" y="315"/>
                  </a:lnTo>
                  <a:lnTo>
                    <a:pt x="3469" y="322"/>
                  </a:lnTo>
                  <a:lnTo>
                    <a:pt x="3479" y="329"/>
                  </a:lnTo>
                  <a:lnTo>
                    <a:pt x="3479" y="329"/>
                  </a:lnTo>
                  <a:lnTo>
                    <a:pt x="3474" y="324"/>
                  </a:lnTo>
                  <a:lnTo>
                    <a:pt x="3470" y="318"/>
                  </a:lnTo>
                  <a:lnTo>
                    <a:pt x="3465" y="315"/>
                  </a:lnTo>
                  <a:lnTo>
                    <a:pt x="3458" y="315"/>
                  </a:lnTo>
                  <a:lnTo>
                    <a:pt x="3458" y="315"/>
                  </a:lnTo>
                  <a:close/>
                  <a:moveTo>
                    <a:pt x="3832" y="580"/>
                  </a:moveTo>
                  <a:lnTo>
                    <a:pt x="3832" y="580"/>
                  </a:lnTo>
                  <a:lnTo>
                    <a:pt x="3817" y="567"/>
                  </a:lnTo>
                  <a:lnTo>
                    <a:pt x="3810" y="562"/>
                  </a:lnTo>
                  <a:lnTo>
                    <a:pt x="3807" y="555"/>
                  </a:lnTo>
                  <a:lnTo>
                    <a:pt x="3807" y="555"/>
                  </a:lnTo>
                  <a:lnTo>
                    <a:pt x="3814" y="560"/>
                  </a:lnTo>
                  <a:lnTo>
                    <a:pt x="3819" y="566"/>
                  </a:lnTo>
                  <a:lnTo>
                    <a:pt x="3832" y="580"/>
                  </a:lnTo>
                  <a:lnTo>
                    <a:pt x="3832" y="580"/>
                  </a:lnTo>
                  <a:close/>
                  <a:moveTo>
                    <a:pt x="1251" y="724"/>
                  </a:moveTo>
                  <a:lnTo>
                    <a:pt x="1224" y="735"/>
                  </a:lnTo>
                  <a:lnTo>
                    <a:pt x="1245" y="735"/>
                  </a:lnTo>
                  <a:lnTo>
                    <a:pt x="1251" y="724"/>
                  </a:lnTo>
                  <a:close/>
                  <a:moveTo>
                    <a:pt x="4600" y="2451"/>
                  </a:moveTo>
                  <a:lnTo>
                    <a:pt x="4600" y="2451"/>
                  </a:lnTo>
                  <a:lnTo>
                    <a:pt x="4600" y="2458"/>
                  </a:lnTo>
                  <a:lnTo>
                    <a:pt x="4598" y="2461"/>
                  </a:lnTo>
                  <a:lnTo>
                    <a:pt x="4595" y="2465"/>
                  </a:lnTo>
                  <a:lnTo>
                    <a:pt x="4595" y="2470"/>
                  </a:lnTo>
                  <a:lnTo>
                    <a:pt x="4589" y="2465"/>
                  </a:lnTo>
                  <a:lnTo>
                    <a:pt x="4586" y="2445"/>
                  </a:lnTo>
                  <a:lnTo>
                    <a:pt x="4580" y="2435"/>
                  </a:lnTo>
                  <a:lnTo>
                    <a:pt x="4575" y="2419"/>
                  </a:lnTo>
                  <a:lnTo>
                    <a:pt x="4559" y="2413"/>
                  </a:lnTo>
                  <a:lnTo>
                    <a:pt x="4559" y="2369"/>
                  </a:lnTo>
                  <a:lnTo>
                    <a:pt x="4548" y="2353"/>
                  </a:lnTo>
                  <a:lnTo>
                    <a:pt x="4545" y="2342"/>
                  </a:lnTo>
                  <a:lnTo>
                    <a:pt x="4540" y="2342"/>
                  </a:lnTo>
                  <a:lnTo>
                    <a:pt x="4534" y="2337"/>
                  </a:lnTo>
                  <a:lnTo>
                    <a:pt x="4534" y="2317"/>
                  </a:lnTo>
                  <a:lnTo>
                    <a:pt x="4529" y="2317"/>
                  </a:lnTo>
                  <a:lnTo>
                    <a:pt x="4524" y="2307"/>
                  </a:lnTo>
                  <a:lnTo>
                    <a:pt x="4518" y="2296"/>
                  </a:lnTo>
                  <a:lnTo>
                    <a:pt x="4518" y="2291"/>
                  </a:lnTo>
                  <a:lnTo>
                    <a:pt x="4513" y="2285"/>
                  </a:lnTo>
                  <a:lnTo>
                    <a:pt x="4513" y="2285"/>
                  </a:lnTo>
                  <a:lnTo>
                    <a:pt x="4511" y="2280"/>
                  </a:lnTo>
                  <a:lnTo>
                    <a:pt x="4509" y="2273"/>
                  </a:lnTo>
                  <a:lnTo>
                    <a:pt x="4508" y="2255"/>
                  </a:lnTo>
                  <a:lnTo>
                    <a:pt x="4508" y="2236"/>
                  </a:lnTo>
                  <a:lnTo>
                    <a:pt x="4499" y="2214"/>
                  </a:lnTo>
                  <a:lnTo>
                    <a:pt x="4493" y="2204"/>
                  </a:lnTo>
                  <a:lnTo>
                    <a:pt x="4499" y="2189"/>
                  </a:lnTo>
                  <a:lnTo>
                    <a:pt x="4499" y="2132"/>
                  </a:lnTo>
                  <a:lnTo>
                    <a:pt x="4493" y="2116"/>
                  </a:lnTo>
                  <a:lnTo>
                    <a:pt x="4493" y="2102"/>
                  </a:lnTo>
                  <a:lnTo>
                    <a:pt x="4488" y="2067"/>
                  </a:lnTo>
                  <a:lnTo>
                    <a:pt x="4488" y="2067"/>
                  </a:lnTo>
                  <a:lnTo>
                    <a:pt x="4481" y="2038"/>
                  </a:lnTo>
                  <a:lnTo>
                    <a:pt x="4472" y="2015"/>
                  </a:lnTo>
                  <a:lnTo>
                    <a:pt x="4467" y="1994"/>
                  </a:lnTo>
                  <a:lnTo>
                    <a:pt x="4461" y="1979"/>
                  </a:lnTo>
                  <a:lnTo>
                    <a:pt x="4452" y="1969"/>
                  </a:lnTo>
                  <a:lnTo>
                    <a:pt x="4452" y="1969"/>
                  </a:lnTo>
                  <a:lnTo>
                    <a:pt x="4449" y="1962"/>
                  </a:lnTo>
                  <a:lnTo>
                    <a:pt x="4447" y="1953"/>
                  </a:lnTo>
                  <a:lnTo>
                    <a:pt x="4445" y="1946"/>
                  </a:lnTo>
                  <a:lnTo>
                    <a:pt x="4442" y="1939"/>
                  </a:lnTo>
                  <a:lnTo>
                    <a:pt x="4442" y="1901"/>
                  </a:lnTo>
                  <a:lnTo>
                    <a:pt x="4436" y="1892"/>
                  </a:lnTo>
                  <a:lnTo>
                    <a:pt x="4431" y="1866"/>
                  </a:lnTo>
                  <a:lnTo>
                    <a:pt x="4431" y="1830"/>
                  </a:lnTo>
                  <a:lnTo>
                    <a:pt x="4426" y="1810"/>
                  </a:lnTo>
                  <a:lnTo>
                    <a:pt x="4420" y="1784"/>
                  </a:lnTo>
                  <a:lnTo>
                    <a:pt x="4417" y="1759"/>
                  </a:lnTo>
                  <a:lnTo>
                    <a:pt x="4417" y="1738"/>
                  </a:lnTo>
                  <a:lnTo>
                    <a:pt x="4406" y="1697"/>
                  </a:lnTo>
                  <a:lnTo>
                    <a:pt x="4406" y="1677"/>
                  </a:lnTo>
                  <a:lnTo>
                    <a:pt x="4411" y="1661"/>
                  </a:lnTo>
                  <a:lnTo>
                    <a:pt x="4406" y="1626"/>
                  </a:lnTo>
                  <a:lnTo>
                    <a:pt x="4406" y="1563"/>
                  </a:lnTo>
                  <a:lnTo>
                    <a:pt x="4385" y="1522"/>
                  </a:lnTo>
                  <a:lnTo>
                    <a:pt x="4385" y="1522"/>
                  </a:lnTo>
                  <a:lnTo>
                    <a:pt x="4381" y="1508"/>
                  </a:lnTo>
                  <a:lnTo>
                    <a:pt x="4376" y="1496"/>
                  </a:lnTo>
                  <a:lnTo>
                    <a:pt x="4365" y="1473"/>
                  </a:lnTo>
                  <a:lnTo>
                    <a:pt x="4355" y="1441"/>
                  </a:lnTo>
                  <a:lnTo>
                    <a:pt x="4355" y="1441"/>
                  </a:lnTo>
                  <a:lnTo>
                    <a:pt x="4355" y="1428"/>
                  </a:lnTo>
                  <a:lnTo>
                    <a:pt x="4351" y="1416"/>
                  </a:lnTo>
                  <a:lnTo>
                    <a:pt x="4344" y="1389"/>
                  </a:lnTo>
                  <a:lnTo>
                    <a:pt x="4344" y="1389"/>
                  </a:lnTo>
                  <a:lnTo>
                    <a:pt x="4330" y="1359"/>
                  </a:lnTo>
                  <a:lnTo>
                    <a:pt x="4323" y="1341"/>
                  </a:lnTo>
                  <a:lnTo>
                    <a:pt x="4319" y="1323"/>
                  </a:lnTo>
                  <a:lnTo>
                    <a:pt x="4319" y="1313"/>
                  </a:lnTo>
                  <a:lnTo>
                    <a:pt x="4303" y="1318"/>
                  </a:lnTo>
                  <a:lnTo>
                    <a:pt x="4292" y="1313"/>
                  </a:lnTo>
                  <a:lnTo>
                    <a:pt x="4278" y="1298"/>
                  </a:lnTo>
                  <a:lnTo>
                    <a:pt x="4273" y="1304"/>
                  </a:lnTo>
                  <a:lnTo>
                    <a:pt x="4278" y="1318"/>
                  </a:lnTo>
                  <a:lnTo>
                    <a:pt x="4273" y="1318"/>
                  </a:lnTo>
                  <a:lnTo>
                    <a:pt x="4273" y="1329"/>
                  </a:lnTo>
                  <a:lnTo>
                    <a:pt x="4257" y="1304"/>
                  </a:lnTo>
                  <a:lnTo>
                    <a:pt x="4242" y="1282"/>
                  </a:lnTo>
                  <a:lnTo>
                    <a:pt x="4232" y="1272"/>
                  </a:lnTo>
                  <a:lnTo>
                    <a:pt x="4242" y="1252"/>
                  </a:lnTo>
                  <a:lnTo>
                    <a:pt x="4237" y="1236"/>
                  </a:lnTo>
                  <a:lnTo>
                    <a:pt x="4237" y="1236"/>
                  </a:lnTo>
                  <a:lnTo>
                    <a:pt x="4226" y="1220"/>
                  </a:lnTo>
                  <a:lnTo>
                    <a:pt x="4216" y="1206"/>
                  </a:lnTo>
                  <a:lnTo>
                    <a:pt x="4205" y="1190"/>
                  </a:lnTo>
                  <a:lnTo>
                    <a:pt x="4202" y="1184"/>
                  </a:lnTo>
                  <a:lnTo>
                    <a:pt x="4202" y="1184"/>
                  </a:lnTo>
                  <a:lnTo>
                    <a:pt x="4194" y="1177"/>
                  </a:lnTo>
                  <a:lnTo>
                    <a:pt x="4189" y="1170"/>
                  </a:lnTo>
                  <a:lnTo>
                    <a:pt x="4180" y="1154"/>
                  </a:lnTo>
                  <a:lnTo>
                    <a:pt x="4170" y="1144"/>
                  </a:lnTo>
                  <a:lnTo>
                    <a:pt x="4161" y="1108"/>
                  </a:lnTo>
                  <a:lnTo>
                    <a:pt x="4170" y="1097"/>
                  </a:lnTo>
                  <a:lnTo>
                    <a:pt x="4175" y="1083"/>
                  </a:lnTo>
                  <a:lnTo>
                    <a:pt x="4180" y="1078"/>
                  </a:lnTo>
                  <a:lnTo>
                    <a:pt x="4180" y="1048"/>
                  </a:lnTo>
                  <a:lnTo>
                    <a:pt x="4164" y="1026"/>
                  </a:lnTo>
                  <a:lnTo>
                    <a:pt x="4120" y="964"/>
                  </a:lnTo>
                  <a:lnTo>
                    <a:pt x="4098" y="944"/>
                  </a:lnTo>
                  <a:lnTo>
                    <a:pt x="4082" y="939"/>
                  </a:lnTo>
                  <a:lnTo>
                    <a:pt x="4073" y="944"/>
                  </a:lnTo>
                  <a:lnTo>
                    <a:pt x="4052" y="923"/>
                  </a:lnTo>
                  <a:lnTo>
                    <a:pt x="4047" y="914"/>
                  </a:lnTo>
                  <a:lnTo>
                    <a:pt x="4057" y="903"/>
                  </a:lnTo>
                  <a:lnTo>
                    <a:pt x="4033" y="877"/>
                  </a:lnTo>
                  <a:lnTo>
                    <a:pt x="4041" y="877"/>
                  </a:lnTo>
                  <a:lnTo>
                    <a:pt x="4022" y="832"/>
                  </a:lnTo>
                  <a:lnTo>
                    <a:pt x="4001" y="811"/>
                  </a:lnTo>
                  <a:lnTo>
                    <a:pt x="4001" y="816"/>
                  </a:lnTo>
                  <a:lnTo>
                    <a:pt x="4006" y="836"/>
                  </a:lnTo>
                  <a:lnTo>
                    <a:pt x="4001" y="836"/>
                  </a:lnTo>
                  <a:lnTo>
                    <a:pt x="4011" y="857"/>
                  </a:lnTo>
                  <a:lnTo>
                    <a:pt x="4006" y="863"/>
                  </a:lnTo>
                  <a:lnTo>
                    <a:pt x="4017" y="882"/>
                  </a:lnTo>
                  <a:lnTo>
                    <a:pt x="4011" y="882"/>
                  </a:lnTo>
                  <a:lnTo>
                    <a:pt x="3992" y="841"/>
                  </a:lnTo>
                  <a:lnTo>
                    <a:pt x="3986" y="827"/>
                  </a:lnTo>
                  <a:lnTo>
                    <a:pt x="3981" y="836"/>
                  </a:lnTo>
                  <a:lnTo>
                    <a:pt x="3965" y="827"/>
                  </a:lnTo>
                  <a:lnTo>
                    <a:pt x="3960" y="806"/>
                  </a:lnTo>
                  <a:lnTo>
                    <a:pt x="3945" y="816"/>
                  </a:lnTo>
                  <a:lnTo>
                    <a:pt x="3924" y="795"/>
                  </a:lnTo>
                  <a:lnTo>
                    <a:pt x="3929" y="781"/>
                  </a:lnTo>
                  <a:lnTo>
                    <a:pt x="3919" y="770"/>
                  </a:lnTo>
                  <a:lnTo>
                    <a:pt x="3899" y="759"/>
                  </a:lnTo>
                  <a:lnTo>
                    <a:pt x="3899" y="770"/>
                  </a:lnTo>
                  <a:lnTo>
                    <a:pt x="3888" y="765"/>
                  </a:lnTo>
                  <a:lnTo>
                    <a:pt x="3872" y="749"/>
                  </a:lnTo>
                  <a:lnTo>
                    <a:pt x="3864" y="745"/>
                  </a:lnTo>
                  <a:lnTo>
                    <a:pt x="3878" y="765"/>
                  </a:lnTo>
                  <a:lnTo>
                    <a:pt x="3853" y="745"/>
                  </a:lnTo>
                  <a:lnTo>
                    <a:pt x="3837" y="735"/>
                  </a:lnTo>
                  <a:lnTo>
                    <a:pt x="3812" y="708"/>
                  </a:lnTo>
                  <a:lnTo>
                    <a:pt x="3785" y="672"/>
                  </a:lnTo>
                  <a:lnTo>
                    <a:pt x="3785" y="658"/>
                  </a:lnTo>
                  <a:lnTo>
                    <a:pt x="3812" y="694"/>
                  </a:lnTo>
                  <a:lnTo>
                    <a:pt x="3807" y="678"/>
                  </a:lnTo>
                  <a:lnTo>
                    <a:pt x="3807" y="667"/>
                  </a:lnTo>
                  <a:lnTo>
                    <a:pt x="3826" y="688"/>
                  </a:lnTo>
                  <a:lnTo>
                    <a:pt x="3848" y="713"/>
                  </a:lnTo>
                  <a:lnTo>
                    <a:pt x="3853" y="704"/>
                  </a:lnTo>
                  <a:lnTo>
                    <a:pt x="3888" y="724"/>
                  </a:lnTo>
                  <a:lnTo>
                    <a:pt x="3894" y="718"/>
                  </a:lnTo>
                  <a:lnTo>
                    <a:pt x="3894" y="718"/>
                  </a:lnTo>
                  <a:lnTo>
                    <a:pt x="3913" y="733"/>
                  </a:lnTo>
                  <a:lnTo>
                    <a:pt x="3924" y="740"/>
                  </a:lnTo>
                  <a:lnTo>
                    <a:pt x="3935" y="745"/>
                  </a:lnTo>
                  <a:lnTo>
                    <a:pt x="3940" y="735"/>
                  </a:lnTo>
                  <a:lnTo>
                    <a:pt x="3960" y="754"/>
                  </a:lnTo>
                  <a:lnTo>
                    <a:pt x="3970" y="770"/>
                  </a:lnTo>
                  <a:lnTo>
                    <a:pt x="3981" y="775"/>
                  </a:lnTo>
                  <a:lnTo>
                    <a:pt x="3976" y="770"/>
                  </a:lnTo>
                  <a:lnTo>
                    <a:pt x="3929" y="718"/>
                  </a:lnTo>
                  <a:lnTo>
                    <a:pt x="3913" y="699"/>
                  </a:lnTo>
                  <a:lnTo>
                    <a:pt x="3908" y="688"/>
                  </a:lnTo>
                  <a:lnTo>
                    <a:pt x="3904" y="683"/>
                  </a:lnTo>
                  <a:lnTo>
                    <a:pt x="3899" y="672"/>
                  </a:lnTo>
                  <a:lnTo>
                    <a:pt x="3883" y="658"/>
                  </a:lnTo>
                  <a:lnTo>
                    <a:pt x="3883" y="658"/>
                  </a:lnTo>
                  <a:lnTo>
                    <a:pt x="3876" y="653"/>
                  </a:lnTo>
                  <a:lnTo>
                    <a:pt x="3869" y="647"/>
                  </a:lnTo>
                  <a:lnTo>
                    <a:pt x="3865" y="642"/>
                  </a:lnTo>
                  <a:lnTo>
                    <a:pt x="3864" y="637"/>
                  </a:lnTo>
                  <a:lnTo>
                    <a:pt x="3848" y="626"/>
                  </a:lnTo>
                  <a:lnTo>
                    <a:pt x="3848" y="626"/>
                  </a:lnTo>
                  <a:lnTo>
                    <a:pt x="3835" y="617"/>
                  </a:lnTo>
                  <a:lnTo>
                    <a:pt x="3824" y="608"/>
                  </a:lnTo>
                  <a:lnTo>
                    <a:pt x="3812" y="601"/>
                  </a:lnTo>
                  <a:lnTo>
                    <a:pt x="3801" y="590"/>
                  </a:lnTo>
                  <a:lnTo>
                    <a:pt x="3796" y="580"/>
                  </a:lnTo>
                  <a:lnTo>
                    <a:pt x="3796" y="580"/>
                  </a:lnTo>
                  <a:lnTo>
                    <a:pt x="3776" y="560"/>
                  </a:lnTo>
                  <a:lnTo>
                    <a:pt x="3791" y="571"/>
                  </a:lnTo>
                  <a:lnTo>
                    <a:pt x="3801" y="580"/>
                  </a:lnTo>
                  <a:lnTo>
                    <a:pt x="3812" y="585"/>
                  </a:lnTo>
                  <a:lnTo>
                    <a:pt x="3826" y="596"/>
                  </a:lnTo>
                  <a:lnTo>
                    <a:pt x="3848" y="617"/>
                  </a:lnTo>
                  <a:lnTo>
                    <a:pt x="3864" y="626"/>
                  </a:lnTo>
                  <a:lnTo>
                    <a:pt x="3872" y="637"/>
                  </a:lnTo>
                  <a:lnTo>
                    <a:pt x="3872" y="631"/>
                  </a:lnTo>
                  <a:lnTo>
                    <a:pt x="3883" y="642"/>
                  </a:lnTo>
                  <a:lnTo>
                    <a:pt x="3872" y="626"/>
                  </a:lnTo>
                  <a:lnTo>
                    <a:pt x="3864" y="617"/>
                  </a:lnTo>
                  <a:lnTo>
                    <a:pt x="3867" y="617"/>
                  </a:lnTo>
                  <a:lnTo>
                    <a:pt x="3832" y="585"/>
                  </a:lnTo>
                  <a:lnTo>
                    <a:pt x="3832" y="580"/>
                  </a:lnTo>
                  <a:lnTo>
                    <a:pt x="3807" y="555"/>
                  </a:lnTo>
                  <a:lnTo>
                    <a:pt x="3801" y="550"/>
                  </a:lnTo>
                  <a:lnTo>
                    <a:pt x="3785" y="539"/>
                  </a:lnTo>
                  <a:lnTo>
                    <a:pt x="3785" y="539"/>
                  </a:lnTo>
                  <a:lnTo>
                    <a:pt x="3784" y="539"/>
                  </a:lnTo>
                  <a:lnTo>
                    <a:pt x="3780" y="537"/>
                  </a:lnTo>
                  <a:lnTo>
                    <a:pt x="3778" y="535"/>
                  </a:lnTo>
                  <a:lnTo>
                    <a:pt x="3776" y="535"/>
                  </a:lnTo>
                  <a:lnTo>
                    <a:pt x="3760" y="519"/>
                  </a:lnTo>
                  <a:lnTo>
                    <a:pt x="3760" y="519"/>
                  </a:lnTo>
                  <a:lnTo>
                    <a:pt x="3743" y="503"/>
                  </a:lnTo>
                  <a:lnTo>
                    <a:pt x="3725" y="489"/>
                  </a:lnTo>
                  <a:lnTo>
                    <a:pt x="3725" y="489"/>
                  </a:lnTo>
                  <a:lnTo>
                    <a:pt x="3743" y="503"/>
                  </a:lnTo>
                  <a:lnTo>
                    <a:pt x="3760" y="519"/>
                  </a:lnTo>
                  <a:lnTo>
                    <a:pt x="3760" y="519"/>
                  </a:lnTo>
                  <a:lnTo>
                    <a:pt x="3764" y="521"/>
                  </a:lnTo>
                  <a:lnTo>
                    <a:pt x="3768" y="525"/>
                  </a:lnTo>
                  <a:lnTo>
                    <a:pt x="3776" y="535"/>
                  </a:lnTo>
                  <a:lnTo>
                    <a:pt x="3776" y="535"/>
                  </a:lnTo>
                  <a:lnTo>
                    <a:pt x="3780" y="535"/>
                  </a:lnTo>
                  <a:lnTo>
                    <a:pt x="3785" y="539"/>
                  </a:lnTo>
                  <a:lnTo>
                    <a:pt x="3785" y="539"/>
                  </a:lnTo>
                  <a:lnTo>
                    <a:pt x="3789" y="541"/>
                  </a:lnTo>
                  <a:lnTo>
                    <a:pt x="3794" y="542"/>
                  </a:lnTo>
                  <a:lnTo>
                    <a:pt x="3801" y="550"/>
                  </a:lnTo>
                  <a:lnTo>
                    <a:pt x="3807" y="550"/>
                  </a:lnTo>
                  <a:lnTo>
                    <a:pt x="3807" y="550"/>
                  </a:lnTo>
                  <a:lnTo>
                    <a:pt x="3780" y="526"/>
                  </a:lnTo>
                  <a:lnTo>
                    <a:pt x="3752" y="503"/>
                  </a:lnTo>
                  <a:lnTo>
                    <a:pt x="3695" y="459"/>
                  </a:lnTo>
                  <a:lnTo>
                    <a:pt x="3636" y="418"/>
                  </a:lnTo>
                  <a:lnTo>
                    <a:pt x="3575" y="375"/>
                  </a:lnTo>
                  <a:lnTo>
                    <a:pt x="3575" y="375"/>
                  </a:lnTo>
                  <a:lnTo>
                    <a:pt x="3602" y="393"/>
                  </a:lnTo>
                  <a:lnTo>
                    <a:pt x="3627" y="411"/>
                  </a:lnTo>
                  <a:lnTo>
                    <a:pt x="3616" y="411"/>
                  </a:lnTo>
                  <a:lnTo>
                    <a:pt x="3611" y="407"/>
                  </a:lnTo>
                  <a:lnTo>
                    <a:pt x="3616" y="411"/>
                  </a:lnTo>
                  <a:lnTo>
                    <a:pt x="3616" y="411"/>
                  </a:lnTo>
                  <a:lnTo>
                    <a:pt x="3616" y="411"/>
                  </a:lnTo>
                  <a:lnTo>
                    <a:pt x="3551" y="370"/>
                  </a:lnTo>
                  <a:lnTo>
                    <a:pt x="3517" y="347"/>
                  </a:lnTo>
                  <a:lnTo>
                    <a:pt x="3483" y="324"/>
                  </a:lnTo>
                  <a:lnTo>
                    <a:pt x="3483" y="324"/>
                  </a:lnTo>
                  <a:lnTo>
                    <a:pt x="3474" y="317"/>
                  </a:lnTo>
                  <a:lnTo>
                    <a:pt x="3463" y="309"/>
                  </a:lnTo>
                  <a:lnTo>
                    <a:pt x="3458" y="315"/>
                  </a:lnTo>
                  <a:lnTo>
                    <a:pt x="3458" y="315"/>
                  </a:lnTo>
                  <a:lnTo>
                    <a:pt x="3485" y="331"/>
                  </a:lnTo>
                  <a:lnTo>
                    <a:pt x="3499" y="340"/>
                  </a:lnTo>
                  <a:lnTo>
                    <a:pt x="3515" y="350"/>
                  </a:lnTo>
                  <a:lnTo>
                    <a:pt x="3515" y="350"/>
                  </a:lnTo>
                  <a:lnTo>
                    <a:pt x="3545" y="370"/>
                  </a:lnTo>
                  <a:lnTo>
                    <a:pt x="3574" y="391"/>
                  </a:lnTo>
                  <a:lnTo>
                    <a:pt x="3602" y="413"/>
                  </a:lnTo>
                  <a:lnTo>
                    <a:pt x="3632" y="432"/>
                  </a:lnTo>
                  <a:lnTo>
                    <a:pt x="3648" y="443"/>
                  </a:lnTo>
                  <a:lnTo>
                    <a:pt x="3657" y="448"/>
                  </a:lnTo>
                  <a:lnTo>
                    <a:pt x="3693" y="473"/>
                  </a:lnTo>
                  <a:lnTo>
                    <a:pt x="3709" y="489"/>
                  </a:lnTo>
                  <a:lnTo>
                    <a:pt x="3709" y="489"/>
                  </a:lnTo>
                  <a:lnTo>
                    <a:pt x="3785" y="550"/>
                  </a:lnTo>
                  <a:lnTo>
                    <a:pt x="3791" y="560"/>
                  </a:lnTo>
                  <a:lnTo>
                    <a:pt x="3801" y="571"/>
                  </a:lnTo>
                  <a:lnTo>
                    <a:pt x="3801" y="571"/>
                  </a:lnTo>
                  <a:lnTo>
                    <a:pt x="3785" y="560"/>
                  </a:lnTo>
                  <a:lnTo>
                    <a:pt x="3771" y="551"/>
                  </a:lnTo>
                  <a:lnTo>
                    <a:pt x="3739" y="535"/>
                  </a:lnTo>
                  <a:lnTo>
                    <a:pt x="3725" y="530"/>
                  </a:lnTo>
                  <a:lnTo>
                    <a:pt x="3766" y="571"/>
                  </a:lnTo>
                  <a:lnTo>
                    <a:pt x="3780" y="590"/>
                  </a:lnTo>
                  <a:lnTo>
                    <a:pt x="3771" y="590"/>
                  </a:lnTo>
                  <a:lnTo>
                    <a:pt x="3771" y="590"/>
                  </a:lnTo>
                  <a:lnTo>
                    <a:pt x="3721" y="560"/>
                  </a:lnTo>
                  <a:lnTo>
                    <a:pt x="3696" y="542"/>
                  </a:lnTo>
                  <a:lnTo>
                    <a:pt x="3673" y="525"/>
                  </a:lnTo>
                  <a:lnTo>
                    <a:pt x="3652" y="503"/>
                  </a:lnTo>
                  <a:lnTo>
                    <a:pt x="3622" y="462"/>
                  </a:lnTo>
                  <a:lnTo>
                    <a:pt x="3581" y="432"/>
                  </a:lnTo>
                  <a:lnTo>
                    <a:pt x="3581" y="432"/>
                  </a:lnTo>
                  <a:lnTo>
                    <a:pt x="3554" y="411"/>
                  </a:lnTo>
                  <a:lnTo>
                    <a:pt x="3524" y="391"/>
                  </a:lnTo>
                  <a:lnTo>
                    <a:pt x="3465" y="350"/>
                  </a:lnTo>
                  <a:lnTo>
                    <a:pt x="3341" y="274"/>
                  </a:lnTo>
                  <a:lnTo>
                    <a:pt x="3330" y="258"/>
                  </a:lnTo>
                  <a:lnTo>
                    <a:pt x="3294" y="237"/>
                  </a:lnTo>
                  <a:lnTo>
                    <a:pt x="3278" y="233"/>
                  </a:lnTo>
                  <a:lnTo>
                    <a:pt x="3259" y="217"/>
                  </a:lnTo>
                  <a:lnTo>
                    <a:pt x="3248" y="206"/>
                  </a:lnTo>
                  <a:lnTo>
                    <a:pt x="3268" y="217"/>
                  </a:lnTo>
                  <a:lnTo>
                    <a:pt x="3278" y="217"/>
                  </a:lnTo>
                  <a:lnTo>
                    <a:pt x="3278" y="217"/>
                  </a:lnTo>
                  <a:lnTo>
                    <a:pt x="3252" y="206"/>
                  </a:lnTo>
                  <a:lnTo>
                    <a:pt x="3223" y="192"/>
                  </a:lnTo>
                  <a:lnTo>
                    <a:pt x="3278" y="217"/>
                  </a:lnTo>
                  <a:lnTo>
                    <a:pt x="3278" y="217"/>
                  </a:lnTo>
                  <a:lnTo>
                    <a:pt x="3259" y="206"/>
                  </a:lnTo>
                  <a:lnTo>
                    <a:pt x="3259" y="206"/>
                  </a:lnTo>
                  <a:lnTo>
                    <a:pt x="3248" y="203"/>
                  </a:lnTo>
                  <a:lnTo>
                    <a:pt x="3241" y="196"/>
                  </a:lnTo>
                  <a:lnTo>
                    <a:pt x="3232" y="190"/>
                  </a:lnTo>
                  <a:lnTo>
                    <a:pt x="3223" y="187"/>
                  </a:lnTo>
                  <a:lnTo>
                    <a:pt x="3223" y="187"/>
                  </a:lnTo>
                  <a:lnTo>
                    <a:pt x="3145" y="153"/>
                  </a:lnTo>
                  <a:lnTo>
                    <a:pt x="3068" y="124"/>
                  </a:lnTo>
                  <a:lnTo>
                    <a:pt x="2990" y="98"/>
                  </a:lnTo>
                  <a:lnTo>
                    <a:pt x="2910" y="73"/>
                  </a:lnTo>
                  <a:lnTo>
                    <a:pt x="2910" y="73"/>
                  </a:lnTo>
                  <a:lnTo>
                    <a:pt x="2860" y="60"/>
                  </a:lnTo>
                  <a:lnTo>
                    <a:pt x="2809" y="48"/>
                  </a:lnTo>
                  <a:lnTo>
                    <a:pt x="2706" y="27"/>
                  </a:lnTo>
                  <a:lnTo>
                    <a:pt x="2706" y="27"/>
                  </a:lnTo>
                  <a:lnTo>
                    <a:pt x="2652" y="20"/>
                  </a:lnTo>
                  <a:lnTo>
                    <a:pt x="2599" y="14"/>
                  </a:lnTo>
                  <a:lnTo>
                    <a:pt x="2545" y="9"/>
                  </a:lnTo>
                  <a:lnTo>
                    <a:pt x="2490" y="5"/>
                  </a:lnTo>
                  <a:lnTo>
                    <a:pt x="2437" y="2"/>
                  </a:lnTo>
                  <a:lnTo>
                    <a:pt x="2384" y="2"/>
                  </a:lnTo>
                  <a:lnTo>
                    <a:pt x="2328" y="0"/>
                  </a:lnTo>
                  <a:lnTo>
                    <a:pt x="2275" y="2"/>
                  </a:lnTo>
                  <a:lnTo>
                    <a:pt x="2220" y="4"/>
                  </a:lnTo>
                  <a:lnTo>
                    <a:pt x="2167" y="5"/>
                  </a:lnTo>
                  <a:lnTo>
                    <a:pt x="2111" y="11"/>
                  </a:lnTo>
                  <a:lnTo>
                    <a:pt x="2058" y="16"/>
                  </a:lnTo>
                  <a:lnTo>
                    <a:pt x="2005" y="21"/>
                  </a:lnTo>
                  <a:lnTo>
                    <a:pt x="1951" y="28"/>
                  </a:lnTo>
                  <a:lnTo>
                    <a:pt x="1898" y="37"/>
                  </a:lnTo>
                  <a:lnTo>
                    <a:pt x="1845" y="48"/>
                  </a:lnTo>
                  <a:lnTo>
                    <a:pt x="1845" y="48"/>
                  </a:lnTo>
                  <a:lnTo>
                    <a:pt x="1770" y="64"/>
                  </a:lnTo>
                  <a:lnTo>
                    <a:pt x="1733" y="73"/>
                  </a:lnTo>
                  <a:lnTo>
                    <a:pt x="1695" y="84"/>
                  </a:lnTo>
                  <a:lnTo>
                    <a:pt x="1706" y="84"/>
                  </a:lnTo>
                  <a:lnTo>
                    <a:pt x="1676" y="94"/>
                  </a:lnTo>
                  <a:lnTo>
                    <a:pt x="1676" y="94"/>
                  </a:lnTo>
                  <a:lnTo>
                    <a:pt x="1667" y="94"/>
                  </a:lnTo>
                  <a:lnTo>
                    <a:pt x="1660" y="96"/>
                  </a:lnTo>
                  <a:lnTo>
                    <a:pt x="1653" y="98"/>
                  </a:lnTo>
                  <a:lnTo>
                    <a:pt x="1644" y="100"/>
                  </a:lnTo>
                  <a:lnTo>
                    <a:pt x="1644" y="114"/>
                  </a:lnTo>
                  <a:lnTo>
                    <a:pt x="1558" y="146"/>
                  </a:lnTo>
                  <a:lnTo>
                    <a:pt x="1558" y="146"/>
                  </a:lnTo>
                  <a:lnTo>
                    <a:pt x="1521" y="160"/>
                  </a:lnTo>
                  <a:lnTo>
                    <a:pt x="1475" y="181"/>
                  </a:lnTo>
                  <a:lnTo>
                    <a:pt x="1450" y="206"/>
                  </a:lnTo>
                  <a:lnTo>
                    <a:pt x="1430" y="217"/>
                  </a:lnTo>
                  <a:lnTo>
                    <a:pt x="1409" y="228"/>
                  </a:lnTo>
                  <a:lnTo>
                    <a:pt x="1387" y="237"/>
                  </a:lnTo>
                  <a:lnTo>
                    <a:pt x="1368" y="247"/>
                  </a:lnTo>
                  <a:lnTo>
                    <a:pt x="1368" y="253"/>
                  </a:lnTo>
                  <a:lnTo>
                    <a:pt x="1357" y="263"/>
                  </a:lnTo>
                  <a:lnTo>
                    <a:pt x="1343" y="279"/>
                  </a:lnTo>
                  <a:lnTo>
                    <a:pt x="1343" y="293"/>
                  </a:lnTo>
                  <a:lnTo>
                    <a:pt x="1306" y="315"/>
                  </a:lnTo>
                  <a:lnTo>
                    <a:pt x="1316" y="320"/>
                  </a:lnTo>
                  <a:lnTo>
                    <a:pt x="1338" y="304"/>
                  </a:lnTo>
                  <a:lnTo>
                    <a:pt x="1352" y="299"/>
                  </a:lnTo>
                  <a:lnTo>
                    <a:pt x="1338" y="309"/>
                  </a:lnTo>
                  <a:lnTo>
                    <a:pt x="1338" y="324"/>
                  </a:lnTo>
                  <a:lnTo>
                    <a:pt x="1316" y="350"/>
                  </a:lnTo>
                  <a:lnTo>
                    <a:pt x="1302" y="365"/>
                  </a:lnTo>
                  <a:lnTo>
                    <a:pt x="1302" y="365"/>
                  </a:lnTo>
                  <a:lnTo>
                    <a:pt x="1288" y="381"/>
                  </a:lnTo>
                  <a:lnTo>
                    <a:pt x="1275" y="397"/>
                  </a:lnTo>
                  <a:lnTo>
                    <a:pt x="1263" y="414"/>
                  </a:lnTo>
                  <a:lnTo>
                    <a:pt x="1251" y="432"/>
                  </a:lnTo>
                  <a:lnTo>
                    <a:pt x="1229" y="443"/>
                  </a:lnTo>
                  <a:lnTo>
                    <a:pt x="1224" y="452"/>
                  </a:lnTo>
                  <a:lnTo>
                    <a:pt x="1245" y="438"/>
                  </a:lnTo>
                  <a:lnTo>
                    <a:pt x="1251" y="457"/>
                  </a:lnTo>
                  <a:lnTo>
                    <a:pt x="1229" y="489"/>
                  </a:lnTo>
                  <a:lnTo>
                    <a:pt x="1210" y="489"/>
                  </a:lnTo>
                  <a:lnTo>
                    <a:pt x="1194" y="478"/>
                  </a:lnTo>
                  <a:lnTo>
                    <a:pt x="1163" y="498"/>
                  </a:lnTo>
                  <a:lnTo>
                    <a:pt x="1153" y="498"/>
                  </a:lnTo>
                  <a:lnTo>
                    <a:pt x="1153" y="489"/>
                  </a:lnTo>
                  <a:lnTo>
                    <a:pt x="1163" y="473"/>
                  </a:lnTo>
                  <a:lnTo>
                    <a:pt x="1169" y="457"/>
                  </a:lnTo>
                  <a:lnTo>
                    <a:pt x="1183" y="448"/>
                  </a:lnTo>
                  <a:lnTo>
                    <a:pt x="1188" y="438"/>
                  </a:lnTo>
                  <a:lnTo>
                    <a:pt x="1183" y="432"/>
                  </a:lnTo>
                  <a:lnTo>
                    <a:pt x="1199" y="416"/>
                  </a:lnTo>
                  <a:lnTo>
                    <a:pt x="1215" y="411"/>
                  </a:lnTo>
                  <a:lnTo>
                    <a:pt x="1199" y="407"/>
                  </a:lnTo>
                  <a:lnTo>
                    <a:pt x="1183" y="421"/>
                  </a:lnTo>
                  <a:lnTo>
                    <a:pt x="1169" y="427"/>
                  </a:lnTo>
                  <a:lnTo>
                    <a:pt x="1169" y="427"/>
                  </a:lnTo>
                  <a:lnTo>
                    <a:pt x="1163" y="427"/>
                  </a:lnTo>
                  <a:lnTo>
                    <a:pt x="1147" y="427"/>
                  </a:lnTo>
                  <a:lnTo>
                    <a:pt x="1153" y="416"/>
                  </a:lnTo>
                  <a:lnTo>
                    <a:pt x="1131" y="438"/>
                  </a:lnTo>
                  <a:lnTo>
                    <a:pt x="1112" y="462"/>
                  </a:lnTo>
                  <a:lnTo>
                    <a:pt x="1106" y="462"/>
                  </a:lnTo>
                  <a:lnTo>
                    <a:pt x="1090" y="473"/>
                  </a:lnTo>
                  <a:lnTo>
                    <a:pt x="1082" y="478"/>
                  </a:lnTo>
                  <a:lnTo>
                    <a:pt x="1090" y="457"/>
                  </a:lnTo>
                  <a:lnTo>
                    <a:pt x="1071" y="448"/>
                  </a:lnTo>
                  <a:lnTo>
                    <a:pt x="1071" y="443"/>
                  </a:lnTo>
                  <a:lnTo>
                    <a:pt x="1041" y="443"/>
                  </a:lnTo>
                  <a:lnTo>
                    <a:pt x="1025" y="448"/>
                  </a:lnTo>
                  <a:lnTo>
                    <a:pt x="1049" y="427"/>
                  </a:lnTo>
                  <a:lnTo>
                    <a:pt x="1035" y="416"/>
                  </a:lnTo>
                  <a:lnTo>
                    <a:pt x="1049" y="407"/>
                  </a:lnTo>
                  <a:lnTo>
                    <a:pt x="1041" y="407"/>
                  </a:lnTo>
                  <a:lnTo>
                    <a:pt x="1055" y="391"/>
                  </a:lnTo>
                  <a:lnTo>
                    <a:pt x="1035" y="402"/>
                  </a:lnTo>
                  <a:lnTo>
                    <a:pt x="1014" y="411"/>
                  </a:lnTo>
                  <a:lnTo>
                    <a:pt x="1000" y="421"/>
                  </a:lnTo>
                  <a:lnTo>
                    <a:pt x="984" y="438"/>
                  </a:lnTo>
                  <a:lnTo>
                    <a:pt x="948" y="462"/>
                  </a:lnTo>
                  <a:lnTo>
                    <a:pt x="953" y="452"/>
                  </a:lnTo>
                  <a:lnTo>
                    <a:pt x="932" y="462"/>
                  </a:lnTo>
                  <a:lnTo>
                    <a:pt x="918" y="478"/>
                  </a:lnTo>
                  <a:lnTo>
                    <a:pt x="918" y="473"/>
                  </a:lnTo>
                  <a:lnTo>
                    <a:pt x="891" y="493"/>
                  </a:lnTo>
                  <a:lnTo>
                    <a:pt x="902" y="484"/>
                  </a:lnTo>
                  <a:lnTo>
                    <a:pt x="902" y="484"/>
                  </a:lnTo>
                  <a:lnTo>
                    <a:pt x="895" y="487"/>
                  </a:lnTo>
                  <a:lnTo>
                    <a:pt x="888" y="493"/>
                  </a:lnTo>
                  <a:lnTo>
                    <a:pt x="882" y="500"/>
                  </a:lnTo>
                  <a:lnTo>
                    <a:pt x="881" y="503"/>
                  </a:lnTo>
                  <a:lnTo>
                    <a:pt x="881" y="503"/>
                  </a:lnTo>
                  <a:lnTo>
                    <a:pt x="809" y="562"/>
                  </a:lnTo>
                  <a:lnTo>
                    <a:pt x="740" y="622"/>
                  </a:lnTo>
                  <a:lnTo>
                    <a:pt x="674" y="686"/>
                  </a:lnTo>
                  <a:lnTo>
                    <a:pt x="610" y="751"/>
                  </a:lnTo>
                  <a:lnTo>
                    <a:pt x="550" y="820"/>
                  </a:lnTo>
                  <a:lnTo>
                    <a:pt x="491" y="889"/>
                  </a:lnTo>
                  <a:lnTo>
                    <a:pt x="436" y="962"/>
                  </a:lnTo>
                  <a:lnTo>
                    <a:pt x="384" y="1037"/>
                  </a:lnTo>
                  <a:lnTo>
                    <a:pt x="334" y="1113"/>
                  </a:lnTo>
                  <a:lnTo>
                    <a:pt x="288" y="1192"/>
                  </a:lnTo>
                  <a:lnTo>
                    <a:pt x="245" y="1272"/>
                  </a:lnTo>
                  <a:lnTo>
                    <a:pt x="206" y="1352"/>
                  </a:lnTo>
                  <a:lnTo>
                    <a:pt x="171" y="1435"/>
                  </a:lnTo>
                  <a:lnTo>
                    <a:pt x="137" y="1519"/>
                  </a:lnTo>
                  <a:lnTo>
                    <a:pt x="109" y="1606"/>
                  </a:lnTo>
                  <a:lnTo>
                    <a:pt x="82" y="1691"/>
                  </a:lnTo>
                  <a:lnTo>
                    <a:pt x="82" y="1691"/>
                  </a:lnTo>
                  <a:lnTo>
                    <a:pt x="60" y="1777"/>
                  </a:lnTo>
                  <a:lnTo>
                    <a:pt x="43" y="1862"/>
                  </a:lnTo>
                  <a:lnTo>
                    <a:pt x="27" y="1949"/>
                  </a:lnTo>
                  <a:lnTo>
                    <a:pt x="16" y="2036"/>
                  </a:lnTo>
                  <a:lnTo>
                    <a:pt x="7" y="2122"/>
                  </a:lnTo>
                  <a:lnTo>
                    <a:pt x="2" y="2211"/>
                  </a:lnTo>
                  <a:lnTo>
                    <a:pt x="0" y="2298"/>
                  </a:lnTo>
                  <a:lnTo>
                    <a:pt x="2" y="2385"/>
                  </a:lnTo>
                  <a:lnTo>
                    <a:pt x="5" y="2472"/>
                  </a:lnTo>
                  <a:lnTo>
                    <a:pt x="14" y="2559"/>
                  </a:lnTo>
                  <a:lnTo>
                    <a:pt x="25" y="2646"/>
                  </a:lnTo>
                  <a:lnTo>
                    <a:pt x="39" y="2732"/>
                  </a:lnTo>
                  <a:lnTo>
                    <a:pt x="57" y="2817"/>
                  </a:lnTo>
                  <a:lnTo>
                    <a:pt x="76" y="2902"/>
                  </a:lnTo>
                  <a:lnTo>
                    <a:pt x="101" y="2986"/>
                  </a:lnTo>
                  <a:lnTo>
                    <a:pt x="128" y="3070"/>
                  </a:lnTo>
                  <a:lnTo>
                    <a:pt x="128" y="3070"/>
                  </a:lnTo>
                  <a:lnTo>
                    <a:pt x="157" y="3144"/>
                  </a:lnTo>
                  <a:lnTo>
                    <a:pt x="187" y="3219"/>
                  </a:lnTo>
                  <a:lnTo>
                    <a:pt x="221" y="3292"/>
                  </a:lnTo>
                  <a:lnTo>
                    <a:pt x="256" y="3363"/>
                  </a:lnTo>
                  <a:lnTo>
                    <a:pt x="295" y="3432"/>
                  </a:lnTo>
                  <a:lnTo>
                    <a:pt x="334" y="3502"/>
                  </a:lnTo>
                  <a:lnTo>
                    <a:pt x="379" y="3568"/>
                  </a:lnTo>
                  <a:lnTo>
                    <a:pt x="423" y="3633"/>
                  </a:lnTo>
                  <a:lnTo>
                    <a:pt x="471" y="3697"/>
                  </a:lnTo>
                  <a:lnTo>
                    <a:pt x="519" y="3758"/>
                  </a:lnTo>
                  <a:lnTo>
                    <a:pt x="571" y="3818"/>
                  </a:lnTo>
                  <a:lnTo>
                    <a:pt x="624" y="3877"/>
                  </a:lnTo>
                  <a:lnTo>
                    <a:pt x="680" y="3934"/>
                  </a:lnTo>
                  <a:lnTo>
                    <a:pt x="736" y="3989"/>
                  </a:lnTo>
                  <a:lnTo>
                    <a:pt x="797" y="4041"/>
                  </a:lnTo>
                  <a:lnTo>
                    <a:pt x="857" y="4092"/>
                  </a:lnTo>
                  <a:lnTo>
                    <a:pt x="920" y="4140"/>
                  </a:lnTo>
                  <a:lnTo>
                    <a:pt x="984" y="4187"/>
                  </a:lnTo>
                  <a:lnTo>
                    <a:pt x="1048" y="4231"/>
                  </a:lnTo>
                  <a:lnTo>
                    <a:pt x="1115" y="4274"/>
                  </a:lnTo>
                  <a:lnTo>
                    <a:pt x="1183" y="4313"/>
                  </a:lnTo>
                  <a:lnTo>
                    <a:pt x="1252" y="4352"/>
                  </a:lnTo>
                  <a:lnTo>
                    <a:pt x="1323" y="4387"/>
                  </a:lnTo>
                  <a:lnTo>
                    <a:pt x="1396" y="4419"/>
                  </a:lnTo>
                  <a:lnTo>
                    <a:pt x="1469" y="4450"/>
                  </a:lnTo>
                  <a:lnTo>
                    <a:pt x="1544" y="4478"/>
                  </a:lnTo>
                  <a:lnTo>
                    <a:pt x="1619" y="4503"/>
                  </a:lnTo>
                  <a:lnTo>
                    <a:pt x="1695" y="4526"/>
                  </a:lnTo>
                  <a:lnTo>
                    <a:pt x="1772" y="4548"/>
                  </a:lnTo>
                  <a:lnTo>
                    <a:pt x="1850" y="4564"/>
                  </a:lnTo>
                  <a:lnTo>
                    <a:pt x="1928" y="4580"/>
                  </a:lnTo>
                  <a:lnTo>
                    <a:pt x="2008" y="4590"/>
                  </a:lnTo>
                  <a:lnTo>
                    <a:pt x="2008" y="4590"/>
                  </a:lnTo>
                  <a:lnTo>
                    <a:pt x="2085" y="4599"/>
                  </a:lnTo>
                  <a:lnTo>
                    <a:pt x="2163" y="4604"/>
                  </a:lnTo>
                  <a:lnTo>
                    <a:pt x="2241" y="4608"/>
                  </a:lnTo>
                  <a:lnTo>
                    <a:pt x="2321" y="4608"/>
                  </a:lnTo>
                  <a:lnTo>
                    <a:pt x="2400" y="4606"/>
                  </a:lnTo>
                  <a:lnTo>
                    <a:pt x="2478" y="4601"/>
                  </a:lnTo>
                  <a:lnTo>
                    <a:pt x="2556" y="4594"/>
                  </a:lnTo>
                  <a:lnTo>
                    <a:pt x="2633" y="4587"/>
                  </a:lnTo>
                  <a:lnTo>
                    <a:pt x="2633" y="4587"/>
                  </a:lnTo>
                  <a:lnTo>
                    <a:pt x="2707" y="4571"/>
                  </a:lnTo>
                  <a:lnTo>
                    <a:pt x="2741" y="4565"/>
                  </a:lnTo>
                  <a:lnTo>
                    <a:pt x="2777" y="4560"/>
                  </a:lnTo>
                  <a:lnTo>
                    <a:pt x="2777" y="4560"/>
                  </a:lnTo>
                  <a:lnTo>
                    <a:pt x="2853" y="4542"/>
                  </a:lnTo>
                  <a:lnTo>
                    <a:pt x="2930" y="4523"/>
                  </a:lnTo>
                  <a:lnTo>
                    <a:pt x="3004" y="4500"/>
                  </a:lnTo>
                  <a:lnTo>
                    <a:pt x="3079" y="4475"/>
                  </a:lnTo>
                  <a:lnTo>
                    <a:pt x="3152" y="4446"/>
                  </a:lnTo>
                  <a:lnTo>
                    <a:pt x="3223" y="4416"/>
                  </a:lnTo>
                  <a:lnTo>
                    <a:pt x="3294" y="4382"/>
                  </a:lnTo>
                  <a:lnTo>
                    <a:pt x="3364" y="4347"/>
                  </a:lnTo>
                  <a:lnTo>
                    <a:pt x="3433" y="4309"/>
                  </a:lnTo>
                  <a:lnTo>
                    <a:pt x="3499" y="4270"/>
                  </a:lnTo>
                  <a:lnTo>
                    <a:pt x="3565" y="4227"/>
                  </a:lnTo>
                  <a:lnTo>
                    <a:pt x="3629" y="4183"/>
                  </a:lnTo>
                  <a:lnTo>
                    <a:pt x="3693" y="4137"/>
                  </a:lnTo>
                  <a:lnTo>
                    <a:pt x="3753" y="4089"/>
                  </a:lnTo>
                  <a:lnTo>
                    <a:pt x="3812" y="4039"/>
                  </a:lnTo>
                  <a:lnTo>
                    <a:pt x="3871" y="3987"/>
                  </a:lnTo>
                  <a:lnTo>
                    <a:pt x="3926" y="3932"/>
                  </a:lnTo>
                  <a:lnTo>
                    <a:pt x="3981" y="3877"/>
                  </a:lnTo>
                  <a:lnTo>
                    <a:pt x="4033" y="3820"/>
                  </a:lnTo>
                  <a:lnTo>
                    <a:pt x="4084" y="3760"/>
                  </a:lnTo>
                  <a:lnTo>
                    <a:pt x="4132" y="3699"/>
                  </a:lnTo>
                  <a:lnTo>
                    <a:pt x="4178" y="3637"/>
                  </a:lnTo>
                  <a:lnTo>
                    <a:pt x="4223" y="3573"/>
                  </a:lnTo>
                  <a:lnTo>
                    <a:pt x="4266" y="3507"/>
                  </a:lnTo>
                  <a:lnTo>
                    <a:pt x="4305" y="3440"/>
                  </a:lnTo>
                  <a:lnTo>
                    <a:pt x="4342" y="3372"/>
                  </a:lnTo>
                  <a:lnTo>
                    <a:pt x="4378" y="3303"/>
                  </a:lnTo>
                  <a:lnTo>
                    <a:pt x="4411" y="3231"/>
                  </a:lnTo>
                  <a:lnTo>
                    <a:pt x="4442" y="3160"/>
                  </a:lnTo>
                  <a:lnTo>
                    <a:pt x="4470" y="3086"/>
                  </a:lnTo>
                  <a:lnTo>
                    <a:pt x="4495" y="3013"/>
                  </a:lnTo>
                  <a:lnTo>
                    <a:pt x="4518" y="2936"/>
                  </a:lnTo>
                  <a:lnTo>
                    <a:pt x="4518" y="2936"/>
                  </a:lnTo>
                  <a:lnTo>
                    <a:pt x="4534" y="2881"/>
                  </a:lnTo>
                  <a:lnTo>
                    <a:pt x="4548" y="2824"/>
                  </a:lnTo>
                  <a:lnTo>
                    <a:pt x="4563" y="2767"/>
                  </a:lnTo>
                  <a:lnTo>
                    <a:pt x="4573" y="2710"/>
                  </a:lnTo>
                  <a:lnTo>
                    <a:pt x="4582" y="2652"/>
                  </a:lnTo>
                  <a:lnTo>
                    <a:pt x="4589" y="2593"/>
                  </a:lnTo>
                  <a:lnTo>
                    <a:pt x="4596" y="2534"/>
                  </a:lnTo>
                  <a:lnTo>
                    <a:pt x="4600" y="2476"/>
                  </a:lnTo>
                  <a:lnTo>
                    <a:pt x="4600" y="2451"/>
                  </a:lnTo>
                  <a:close/>
                  <a:moveTo>
                    <a:pt x="3684" y="457"/>
                  </a:moveTo>
                  <a:lnTo>
                    <a:pt x="3684" y="457"/>
                  </a:lnTo>
                  <a:lnTo>
                    <a:pt x="3684" y="457"/>
                  </a:lnTo>
                  <a:lnTo>
                    <a:pt x="3687" y="461"/>
                  </a:lnTo>
                  <a:lnTo>
                    <a:pt x="3689" y="462"/>
                  </a:lnTo>
                  <a:lnTo>
                    <a:pt x="3693" y="462"/>
                  </a:lnTo>
                  <a:lnTo>
                    <a:pt x="3684" y="457"/>
                  </a:lnTo>
                  <a:close/>
                  <a:moveTo>
                    <a:pt x="3883" y="781"/>
                  </a:moveTo>
                  <a:lnTo>
                    <a:pt x="3904" y="786"/>
                  </a:lnTo>
                  <a:lnTo>
                    <a:pt x="3945" y="827"/>
                  </a:lnTo>
                  <a:lnTo>
                    <a:pt x="3965" y="857"/>
                  </a:lnTo>
                  <a:lnTo>
                    <a:pt x="3965" y="887"/>
                  </a:lnTo>
                  <a:lnTo>
                    <a:pt x="3954" y="898"/>
                  </a:lnTo>
                  <a:lnTo>
                    <a:pt x="3935" y="863"/>
                  </a:lnTo>
                  <a:lnTo>
                    <a:pt x="3908" y="841"/>
                  </a:lnTo>
                  <a:lnTo>
                    <a:pt x="3908" y="841"/>
                  </a:lnTo>
                  <a:lnTo>
                    <a:pt x="3894" y="815"/>
                  </a:lnTo>
                  <a:lnTo>
                    <a:pt x="3888" y="802"/>
                  </a:lnTo>
                  <a:lnTo>
                    <a:pt x="3883" y="791"/>
                  </a:lnTo>
                  <a:lnTo>
                    <a:pt x="3883" y="781"/>
                  </a:lnTo>
                  <a:lnTo>
                    <a:pt x="3883" y="781"/>
                  </a:lnTo>
                  <a:close/>
                  <a:moveTo>
                    <a:pt x="3474" y="626"/>
                  </a:moveTo>
                  <a:lnTo>
                    <a:pt x="3504" y="631"/>
                  </a:lnTo>
                  <a:lnTo>
                    <a:pt x="3499" y="612"/>
                  </a:lnTo>
                  <a:lnTo>
                    <a:pt x="3520" y="612"/>
                  </a:lnTo>
                  <a:lnTo>
                    <a:pt x="3504" y="590"/>
                  </a:lnTo>
                  <a:lnTo>
                    <a:pt x="3515" y="580"/>
                  </a:lnTo>
                  <a:lnTo>
                    <a:pt x="3534" y="596"/>
                  </a:lnTo>
                  <a:lnTo>
                    <a:pt x="3561" y="606"/>
                  </a:lnTo>
                  <a:lnTo>
                    <a:pt x="3581" y="631"/>
                  </a:lnTo>
                  <a:lnTo>
                    <a:pt x="3586" y="667"/>
                  </a:lnTo>
                  <a:lnTo>
                    <a:pt x="3586" y="678"/>
                  </a:lnTo>
                  <a:lnTo>
                    <a:pt x="3586" y="678"/>
                  </a:lnTo>
                  <a:lnTo>
                    <a:pt x="3565" y="686"/>
                  </a:lnTo>
                  <a:lnTo>
                    <a:pt x="3545" y="699"/>
                  </a:lnTo>
                  <a:lnTo>
                    <a:pt x="3534" y="672"/>
                  </a:lnTo>
                  <a:lnTo>
                    <a:pt x="3504" y="678"/>
                  </a:lnTo>
                  <a:lnTo>
                    <a:pt x="3515" y="663"/>
                  </a:lnTo>
                  <a:lnTo>
                    <a:pt x="3504" y="658"/>
                  </a:lnTo>
                  <a:lnTo>
                    <a:pt x="3483" y="667"/>
                  </a:lnTo>
                  <a:lnTo>
                    <a:pt x="3469" y="647"/>
                  </a:lnTo>
                  <a:lnTo>
                    <a:pt x="3474" y="626"/>
                  </a:lnTo>
                  <a:close/>
                  <a:moveTo>
                    <a:pt x="3401" y="1334"/>
                  </a:moveTo>
                  <a:lnTo>
                    <a:pt x="3417" y="1323"/>
                  </a:lnTo>
                  <a:lnTo>
                    <a:pt x="3428" y="1345"/>
                  </a:lnTo>
                  <a:lnTo>
                    <a:pt x="3447" y="1364"/>
                  </a:lnTo>
                  <a:lnTo>
                    <a:pt x="3453" y="1394"/>
                  </a:lnTo>
                  <a:lnTo>
                    <a:pt x="3442" y="1400"/>
                  </a:lnTo>
                  <a:lnTo>
                    <a:pt x="3422" y="1394"/>
                  </a:lnTo>
                  <a:lnTo>
                    <a:pt x="3412" y="1369"/>
                  </a:lnTo>
                  <a:lnTo>
                    <a:pt x="3401" y="1364"/>
                  </a:lnTo>
                  <a:lnTo>
                    <a:pt x="3387" y="1400"/>
                  </a:lnTo>
                  <a:lnTo>
                    <a:pt x="3371" y="1400"/>
                  </a:lnTo>
                  <a:lnTo>
                    <a:pt x="3382" y="1380"/>
                  </a:lnTo>
                  <a:lnTo>
                    <a:pt x="3355" y="1375"/>
                  </a:lnTo>
                  <a:lnTo>
                    <a:pt x="3335" y="1385"/>
                  </a:lnTo>
                  <a:lnTo>
                    <a:pt x="3289" y="1394"/>
                  </a:lnTo>
                  <a:lnTo>
                    <a:pt x="3278" y="1385"/>
                  </a:lnTo>
                  <a:lnTo>
                    <a:pt x="3289" y="1369"/>
                  </a:lnTo>
                  <a:lnTo>
                    <a:pt x="3273" y="1359"/>
                  </a:lnTo>
                  <a:lnTo>
                    <a:pt x="3289" y="1339"/>
                  </a:lnTo>
                  <a:lnTo>
                    <a:pt x="3294" y="1277"/>
                  </a:lnTo>
                  <a:lnTo>
                    <a:pt x="3300" y="1257"/>
                  </a:lnTo>
                  <a:lnTo>
                    <a:pt x="3314" y="1241"/>
                  </a:lnTo>
                  <a:lnTo>
                    <a:pt x="3325" y="1241"/>
                  </a:lnTo>
                  <a:lnTo>
                    <a:pt x="3325" y="1252"/>
                  </a:lnTo>
                  <a:lnTo>
                    <a:pt x="3325" y="1252"/>
                  </a:lnTo>
                  <a:lnTo>
                    <a:pt x="3325" y="1266"/>
                  </a:lnTo>
                  <a:lnTo>
                    <a:pt x="3323" y="1280"/>
                  </a:lnTo>
                  <a:lnTo>
                    <a:pt x="3321" y="1293"/>
                  </a:lnTo>
                  <a:lnTo>
                    <a:pt x="3319" y="1307"/>
                  </a:lnTo>
                  <a:lnTo>
                    <a:pt x="3330" y="1293"/>
                  </a:lnTo>
                  <a:lnTo>
                    <a:pt x="3351" y="1298"/>
                  </a:lnTo>
                  <a:lnTo>
                    <a:pt x="3346" y="1313"/>
                  </a:lnTo>
                  <a:lnTo>
                    <a:pt x="3366" y="1318"/>
                  </a:lnTo>
                  <a:lnTo>
                    <a:pt x="3371" y="1307"/>
                  </a:lnTo>
                  <a:lnTo>
                    <a:pt x="3396" y="1313"/>
                  </a:lnTo>
                  <a:lnTo>
                    <a:pt x="3401" y="1334"/>
                  </a:lnTo>
                  <a:close/>
                  <a:moveTo>
                    <a:pt x="2921" y="84"/>
                  </a:moveTo>
                  <a:lnTo>
                    <a:pt x="2921" y="84"/>
                  </a:lnTo>
                  <a:lnTo>
                    <a:pt x="2912" y="84"/>
                  </a:lnTo>
                  <a:lnTo>
                    <a:pt x="2908" y="82"/>
                  </a:lnTo>
                  <a:lnTo>
                    <a:pt x="2905" y="78"/>
                  </a:lnTo>
                  <a:lnTo>
                    <a:pt x="2905" y="78"/>
                  </a:lnTo>
                  <a:lnTo>
                    <a:pt x="2908" y="80"/>
                  </a:lnTo>
                  <a:lnTo>
                    <a:pt x="2912" y="82"/>
                  </a:lnTo>
                  <a:lnTo>
                    <a:pt x="2915" y="84"/>
                  </a:lnTo>
                  <a:lnTo>
                    <a:pt x="2921" y="84"/>
                  </a:lnTo>
                  <a:lnTo>
                    <a:pt x="2921" y="84"/>
                  </a:lnTo>
                  <a:close/>
                  <a:moveTo>
                    <a:pt x="2859" y="68"/>
                  </a:moveTo>
                  <a:lnTo>
                    <a:pt x="2859" y="68"/>
                  </a:lnTo>
                  <a:lnTo>
                    <a:pt x="2848" y="68"/>
                  </a:lnTo>
                  <a:lnTo>
                    <a:pt x="2839" y="66"/>
                  </a:lnTo>
                  <a:lnTo>
                    <a:pt x="2818" y="59"/>
                  </a:lnTo>
                  <a:lnTo>
                    <a:pt x="2818" y="59"/>
                  </a:lnTo>
                  <a:lnTo>
                    <a:pt x="2839" y="64"/>
                  </a:lnTo>
                  <a:lnTo>
                    <a:pt x="2859" y="68"/>
                  </a:lnTo>
                  <a:lnTo>
                    <a:pt x="2859" y="68"/>
                  </a:lnTo>
                  <a:close/>
                  <a:moveTo>
                    <a:pt x="2720" y="416"/>
                  </a:moveTo>
                  <a:lnTo>
                    <a:pt x="2741" y="407"/>
                  </a:lnTo>
                  <a:lnTo>
                    <a:pt x="2766" y="402"/>
                  </a:lnTo>
                  <a:lnTo>
                    <a:pt x="2787" y="407"/>
                  </a:lnTo>
                  <a:lnTo>
                    <a:pt x="2796" y="386"/>
                  </a:lnTo>
                  <a:lnTo>
                    <a:pt x="2823" y="391"/>
                  </a:lnTo>
                  <a:lnTo>
                    <a:pt x="2859" y="391"/>
                  </a:lnTo>
                  <a:lnTo>
                    <a:pt x="2828" y="386"/>
                  </a:lnTo>
                  <a:lnTo>
                    <a:pt x="2812" y="370"/>
                  </a:lnTo>
                  <a:lnTo>
                    <a:pt x="2823" y="350"/>
                  </a:lnTo>
                  <a:lnTo>
                    <a:pt x="2843" y="340"/>
                  </a:lnTo>
                  <a:lnTo>
                    <a:pt x="2839" y="329"/>
                  </a:lnTo>
                  <a:lnTo>
                    <a:pt x="2859" y="320"/>
                  </a:lnTo>
                  <a:lnTo>
                    <a:pt x="2859" y="320"/>
                  </a:lnTo>
                  <a:lnTo>
                    <a:pt x="2869" y="315"/>
                  </a:lnTo>
                  <a:lnTo>
                    <a:pt x="2880" y="309"/>
                  </a:lnTo>
                  <a:lnTo>
                    <a:pt x="2889" y="304"/>
                  </a:lnTo>
                  <a:lnTo>
                    <a:pt x="2899" y="299"/>
                  </a:lnTo>
                  <a:lnTo>
                    <a:pt x="2899" y="299"/>
                  </a:lnTo>
                  <a:lnTo>
                    <a:pt x="2912" y="299"/>
                  </a:lnTo>
                  <a:lnTo>
                    <a:pt x="2924" y="297"/>
                  </a:lnTo>
                  <a:lnTo>
                    <a:pt x="2939" y="295"/>
                  </a:lnTo>
                  <a:lnTo>
                    <a:pt x="2951" y="293"/>
                  </a:lnTo>
                  <a:lnTo>
                    <a:pt x="2956" y="309"/>
                  </a:lnTo>
                  <a:lnTo>
                    <a:pt x="2956" y="309"/>
                  </a:lnTo>
                  <a:lnTo>
                    <a:pt x="2946" y="317"/>
                  </a:lnTo>
                  <a:lnTo>
                    <a:pt x="2939" y="324"/>
                  </a:lnTo>
                  <a:lnTo>
                    <a:pt x="2930" y="333"/>
                  </a:lnTo>
                  <a:lnTo>
                    <a:pt x="2921" y="340"/>
                  </a:lnTo>
                  <a:lnTo>
                    <a:pt x="2930" y="340"/>
                  </a:lnTo>
                  <a:lnTo>
                    <a:pt x="2946" y="324"/>
                  </a:lnTo>
                  <a:lnTo>
                    <a:pt x="2967" y="320"/>
                  </a:lnTo>
                  <a:lnTo>
                    <a:pt x="2962" y="309"/>
                  </a:lnTo>
                  <a:lnTo>
                    <a:pt x="2981" y="309"/>
                  </a:lnTo>
                  <a:lnTo>
                    <a:pt x="2997" y="324"/>
                  </a:lnTo>
                  <a:lnTo>
                    <a:pt x="2997" y="288"/>
                  </a:lnTo>
                  <a:lnTo>
                    <a:pt x="3012" y="279"/>
                  </a:lnTo>
                  <a:lnTo>
                    <a:pt x="3033" y="283"/>
                  </a:lnTo>
                  <a:lnTo>
                    <a:pt x="3049" y="309"/>
                  </a:lnTo>
                  <a:lnTo>
                    <a:pt x="3052" y="315"/>
                  </a:lnTo>
                  <a:lnTo>
                    <a:pt x="3049" y="329"/>
                  </a:lnTo>
                  <a:lnTo>
                    <a:pt x="3058" y="320"/>
                  </a:lnTo>
                  <a:lnTo>
                    <a:pt x="3058" y="320"/>
                  </a:lnTo>
                  <a:lnTo>
                    <a:pt x="3079" y="334"/>
                  </a:lnTo>
                  <a:lnTo>
                    <a:pt x="3099" y="350"/>
                  </a:lnTo>
                  <a:lnTo>
                    <a:pt x="3136" y="370"/>
                  </a:lnTo>
                  <a:lnTo>
                    <a:pt x="3161" y="375"/>
                  </a:lnTo>
                  <a:lnTo>
                    <a:pt x="3156" y="386"/>
                  </a:lnTo>
                  <a:lnTo>
                    <a:pt x="3161" y="402"/>
                  </a:lnTo>
                  <a:lnTo>
                    <a:pt x="3186" y="402"/>
                  </a:lnTo>
                  <a:lnTo>
                    <a:pt x="3213" y="416"/>
                  </a:lnTo>
                  <a:lnTo>
                    <a:pt x="3213" y="421"/>
                  </a:lnTo>
                  <a:lnTo>
                    <a:pt x="3248" y="432"/>
                  </a:lnTo>
                  <a:lnTo>
                    <a:pt x="3237" y="448"/>
                  </a:lnTo>
                  <a:lnTo>
                    <a:pt x="3259" y="448"/>
                  </a:lnTo>
                  <a:lnTo>
                    <a:pt x="3268" y="457"/>
                  </a:lnTo>
                  <a:lnTo>
                    <a:pt x="3264" y="468"/>
                  </a:lnTo>
                  <a:lnTo>
                    <a:pt x="3253" y="478"/>
                  </a:lnTo>
                  <a:lnTo>
                    <a:pt x="3278" y="489"/>
                  </a:lnTo>
                  <a:lnTo>
                    <a:pt x="3294" y="498"/>
                  </a:lnTo>
                  <a:lnTo>
                    <a:pt x="3268" y="498"/>
                  </a:lnTo>
                  <a:lnTo>
                    <a:pt x="3278" y="509"/>
                  </a:lnTo>
                  <a:lnTo>
                    <a:pt x="3300" y="509"/>
                  </a:lnTo>
                  <a:lnTo>
                    <a:pt x="3325" y="514"/>
                  </a:lnTo>
                  <a:lnTo>
                    <a:pt x="3351" y="530"/>
                  </a:lnTo>
                  <a:lnTo>
                    <a:pt x="3346" y="544"/>
                  </a:lnTo>
                  <a:lnTo>
                    <a:pt x="3346" y="544"/>
                  </a:lnTo>
                  <a:lnTo>
                    <a:pt x="3325" y="537"/>
                  </a:lnTo>
                  <a:lnTo>
                    <a:pt x="3316" y="535"/>
                  </a:lnTo>
                  <a:lnTo>
                    <a:pt x="3305" y="535"/>
                  </a:lnTo>
                  <a:lnTo>
                    <a:pt x="3325" y="550"/>
                  </a:lnTo>
                  <a:lnTo>
                    <a:pt x="3335" y="571"/>
                  </a:lnTo>
                  <a:lnTo>
                    <a:pt x="3335" y="571"/>
                  </a:lnTo>
                  <a:lnTo>
                    <a:pt x="3351" y="560"/>
                  </a:lnTo>
                  <a:lnTo>
                    <a:pt x="3366" y="550"/>
                  </a:lnTo>
                  <a:lnTo>
                    <a:pt x="3376" y="580"/>
                  </a:lnTo>
                  <a:lnTo>
                    <a:pt x="3376" y="612"/>
                  </a:lnTo>
                  <a:lnTo>
                    <a:pt x="3355" y="631"/>
                  </a:lnTo>
                  <a:lnTo>
                    <a:pt x="3346" y="637"/>
                  </a:lnTo>
                  <a:lnTo>
                    <a:pt x="3346" y="653"/>
                  </a:lnTo>
                  <a:lnTo>
                    <a:pt x="3360" y="683"/>
                  </a:lnTo>
                  <a:lnTo>
                    <a:pt x="3355" y="708"/>
                  </a:lnTo>
                  <a:lnTo>
                    <a:pt x="3346" y="718"/>
                  </a:lnTo>
                  <a:lnTo>
                    <a:pt x="3335" y="735"/>
                  </a:lnTo>
                  <a:lnTo>
                    <a:pt x="3314" y="754"/>
                  </a:lnTo>
                  <a:lnTo>
                    <a:pt x="3319" y="775"/>
                  </a:lnTo>
                  <a:lnTo>
                    <a:pt x="3341" y="795"/>
                  </a:lnTo>
                  <a:lnTo>
                    <a:pt x="3351" y="816"/>
                  </a:lnTo>
                  <a:lnTo>
                    <a:pt x="3346" y="847"/>
                  </a:lnTo>
                  <a:lnTo>
                    <a:pt x="3366" y="868"/>
                  </a:lnTo>
                  <a:lnTo>
                    <a:pt x="3366" y="868"/>
                  </a:lnTo>
                  <a:lnTo>
                    <a:pt x="3380" y="896"/>
                  </a:lnTo>
                  <a:lnTo>
                    <a:pt x="3387" y="909"/>
                  </a:lnTo>
                  <a:lnTo>
                    <a:pt x="3392" y="923"/>
                  </a:lnTo>
                  <a:lnTo>
                    <a:pt x="3376" y="923"/>
                  </a:lnTo>
                  <a:lnTo>
                    <a:pt x="3335" y="903"/>
                  </a:lnTo>
                  <a:lnTo>
                    <a:pt x="3305" y="914"/>
                  </a:lnTo>
                  <a:lnTo>
                    <a:pt x="3278" y="903"/>
                  </a:lnTo>
                  <a:lnTo>
                    <a:pt x="3248" y="882"/>
                  </a:lnTo>
                  <a:lnTo>
                    <a:pt x="3191" y="857"/>
                  </a:lnTo>
                  <a:lnTo>
                    <a:pt x="3172" y="836"/>
                  </a:lnTo>
                  <a:lnTo>
                    <a:pt x="3150" y="816"/>
                  </a:lnTo>
                  <a:lnTo>
                    <a:pt x="3109" y="795"/>
                  </a:lnTo>
                  <a:lnTo>
                    <a:pt x="3095" y="770"/>
                  </a:lnTo>
                  <a:lnTo>
                    <a:pt x="3074" y="765"/>
                  </a:lnTo>
                  <a:lnTo>
                    <a:pt x="3063" y="729"/>
                  </a:lnTo>
                  <a:lnTo>
                    <a:pt x="3079" y="713"/>
                  </a:lnTo>
                  <a:lnTo>
                    <a:pt x="3074" y="699"/>
                  </a:lnTo>
                  <a:lnTo>
                    <a:pt x="3058" y="678"/>
                  </a:lnTo>
                  <a:lnTo>
                    <a:pt x="3058" y="699"/>
                  </a:lnTo>
                  <a:lnTo>
                    <a:pt x="3052" y="704"/>
                  </a:lnTo>
                  <a:lnTo>
                    <a:pt x="3044" y="708"/>
                  </a:lnTo>
                  <a:lnTo>
                    <a:pt x="3022" y="699"/>
                  </a:lnTo>
                  <a:lnTo>
                    <a:pt x="3008" y="678"/>
                  </a:lnTo>
                  <a:lnTo>
                    <a:pt x="3008" y="667"/>
                  </a:lnTo>
                  <a:lnTo>
                    <a:pt x="3022" y="663"/>
                  </a:lnTo>
                  <a:lnTo>
                    <a:pt x="3052" y="663"/>
                  </a:lnTo>
                  <a:lnTo>
                    <a:pt x="3052" y="663"/>
                  </a:lnTo>
                  <a:lnTo>
                    <a:pt x="3026" y="654"/>
                  </a:lnTo>
                  <a:lnTo>
                    <a:pt x="2997" y="642"/>
                  </a:lnTo>
                  <a:lnTo>
                    <a:pt x="2987" y="647"/>
                  </a:lnTo>
                  <a:lnTo>
                    <a:pt x="2971" y="642"/>
                  </a:lnTo>
                  <a:lnTo>
                    <a:pt x="2967" y="617"/>
                  </a:lnTo>
                  <a:lnTo>
                    <a:pt x="2951" y="606"/>
                  </a:lnTo>
                  <a:lnTo>
                    <a:pt x="2951" y="606"/>
                  </a:lnTo>
                  <a:lnTo>
                    <a:pt x="2935" y="596"/>
                  </a:lnTo>
                  <a:lnTo>
                    <a:pt x="2921" y="587"/>
                  </a:lnTo>
                  <a:lnTo>
                    <a:pt x="2889" y="571"/>
                  </a:lnTo>
                  <a:lnTo>
                    <a:pt x="2869" y="566"/>
                  </a:lnTo>
                  <a:lnTo>
                    <a:pt x="2859" y="560"/>
                  </a:lnTo>
                  <a:lnTo>
                    <a:pt x="2812" y="550"/>
                  </a:lnTo>
                  <a:lnTo>
                    <a:pt x="2787" y="555"/>
                  </a:lnTo>
                  <a:lnTo>
                    <a:pt x="2787" y="555"/>
                  </a:lnTo>
                  <a:lnTo>
                    <a:pt x="2755" y="562"/>
                  </a:lnTo>
                  <a:lnTo>
                    <a:pt x="2739" y="564"/>
                  </a:lnTo>
                  <a:lnTo>
                    <a:pt x="2720" y="566"/>
                  </a:lnTo>
                  <a:lnTo>
                    <a:pt x="2700" y="560"/>
                  </a:lnTo>
                  <a:lnTo>
                    <a:pt x="2668" y="544"/>
                  </a:lnTo>
                  <a:lnTo>
                    <a:pt x="2695" y="535"/>
                  </a:lnTo>
                  <a:lnTo>
                    <a:pt x="2714" y="530"/>
                  </a:lnTo>
                  <a:lnTo>
                    <a:pt x="2665" y="530"/>
                  </a:lnTo>
                  <a:lnTo>
                    <a:pt x="2633" y="519"/>
                  </a:lnTo>
                  <a:lnTo>
                    <a:pt x="2627" y="514"/>
                  </a:lnTo>
                  <a:lnTo>
                    <a:pt x="2627" y="514"/>
                  </a:lnTo>
                  <a:lnTo>
                    <a:pt x="2665" y="498"/>
                  </a:lnTo>
                  <a:lnTo>
                    <a:pt x="2700" y="484"/>
                  </a:lnTo>
                  <a:lnTo>
                    <a:pt x="2700" y="473"/>
                  </a:lnTo>
                  <a:lnTo>
                    <a:pt x="2665" y="468"/>
                  </a:lnTo>
                  <a:lnTo>
                    <a:pt x="2674" y="457"/>
                  </a:lnTo>
                  <a:lnTo>
                    <a:pt x="2695" y="438"/>
                  </a:lnTo>
                  <a:lnTo>
                    <a:pt x="2711" y="432"/>
                  </a:lnTo>
                  <a:lnTo>
                    <a:pt x="2700" y="427"/>
                  </a:lnTo>
                  <a:lnTo>
                    <a:pt x="2720" y="416"/>
                  </a:lnTo>
                  <a:close/>
                  <a:moveTo>
                    <a:pt x="2889" y="863"/>
                  </a:moveTo>
                  <a:lnTo>
                    <a:pt x="2921" y="873"/>
                  </a:lnTo>
                  <a:lnTo>
                    <a:pt x="2930" y="877"/>
                  </a:lnTo>
                  <a:lnTo>
                    <a:pt x="2956" y="903"/>
                  </a:lnTo>
                  <a:lnTo>
                    <a:pt x="2962" y="923"/>
                  </a:lnTo>
                  <a:lnTo>
                    <a:pt x="2930" y="923"/>
                  </a:lnTo>
                  <a:lnTo>
                    <a:pt x="2869" y="903"/>
                  </a:lnTo>
                  <a:lnTo>
                    <a:pt x="2869" y="903"/>
                  </a:lnTo>
                  <a:lnTo>
                    <a:pt x="2885" y="914"/>
                  </a:lnTo>
                  <a:lnTo>
                    <a:pt x="2903" y="923"/>
                  </a:lnTo>
                  <a:lnTo>
                    <a:pt x="2935" y="939"/>
                  </a:lnTo>
                  <a:lnTo>
                    <a:pt x="2946" y="950"/>
                  </a:lnTo>
                  <a:lnTo>
                    <a:pt x="2883" y="944"/>
                  </a:lnTo>
                  <a:lnTo>
                    <a:pt x="2834" y="928"/>
                  </a:lnTo>
                  <a:lnTo>
                    <a:pt x="2807" y="923"/>
                  </a:lnTo>
                  <a:lnTo>
                    <a:pt x="2812" y="914"/>
                  </a:lnTo>
                  <a:lnTo>
                    <a:pt x="2812" y="914"/>
                  </a:lnTo>
                  <a:lnTo>
                    <a:pt x="2796" y="905"/>
                  </a:lnTo>
                  <a:lnTo>
                    <a:pt x="2778" y="900"/>
                  </a:lnTo>
                  <a:lnTo>
                    <a:pt x="2762" y="895"/>
                  </a:lnTo>
                  <a:lnTo>
                    <a:pt x="2746" y="893"/>
                  </a:lnTo>
                  <a:lnTo>
                    <a:pt x="2752" y="903"/>
                  </a:lnTo>
                  <a:lnTo>
                    <a:pt x="2690" y="914"/>
                  </a:lnTo>
                  <a:lnTo>
                    <a:pt x="2668" y="903"/>
                  </a:lnTo>
                  <a:lnTo>
                    <a:pt x="2679" y="882"/>
                  </a:lnTo>
                  <a:lnTo>
                    <a:pt x="2714" y="873"/>
                  </a:lnTo>
                  <a:lnTo>
                    <a:pt x="2755" y="868"/>
                  </a:lnTo>
                  <a:lnTo>
                    <a:pt x="2746" y="857"/>
                  </a:lnTo>
                  <a:lnTo>
                    <a:pt x="2746" y="841"/>
                  </a:lnTo>
                  <a:lnTo>
                    <a:pt x="2761" y="811"/>
                  </a:lnTo>
                  <a:lnTo>
                    <a:pt x="2752" y="795"/>
                  </a:lnTo>
                  <a:lnTo>
                    <a:pt x="2736" y="781"/>
                  </a:lnTo>
                  <a:lnTo>
                    <a:pt x="2706" y="770"/>
                  </a:lnTo>
                  <a:lnTo>
                    <a:pt x="2665" y="765"/>
                  </a:lnTo>
                  <a:lnTo>
                    <a:pt x="2674" y="754"/>
                  </a:lnTo>
                  <a:lnTo>
                    <a:pt x="2654" y="735"/>
                  </a:lnTo>
                  <a:lnTo>
                    <a:pt x="2633" y="735"/>
                  </a:lnTo>
                  <a:lnTo>
                    <a:pt x="2613" y="724"/>
                  </a:lnTo>
                  <a:lnTo>
                    <a:pt x="2602" y="735"/>
                  </a:lnTo>
                  <a:lnTo>
                    <a:pt x="2572" y="740"/>
                  </a:lnTo>
                  <a:lnTo>
                    <a:pt x="2505" y="735"/>
                  </a:lnTo>
                  <a:lnTo>
                    <a:pt x="2505" y="735"/>
                  </a:lnTo>
                  <a:lnTo>
                    <a:pt x="2439" y="718"/>
                  </a:lnTo>
                  <a:lnTo>
                    <a:pt x="2423" y="708"/>
                  </a:lnTo>
                  <a:lnTo>
                    <a:pt x="2444" y="694"/>
                  </a:lnTo>
                  <a:lnTo>
                    <a:pt x="2417" y="694"/>
                  </a:lnTo>
                  <a:lnTo>
                    <a:pt x="2409" y="672"/>
                  </a:lnTo>
                  <a:lnTo>
                    <a:pt x="2423" y="653"/>
                  </a:lnTo>
                  <a:lnTo>
                    <a:pt x="2444" y="642"/>
                  </a:lnTo>
                  <a:lnTo>
                    <a:pt x="2485" y="637"/>
                  </a:lnTo>
                  <a:lnTo>
                    <a:pt x="2474" y="658"/>
                  </a:lnTo>
                  <a:lnTo>
                    <a:pt x="2490" y="678"/>
                  </a:lnTo>
                  <a:lnTo>
                    <a:pt x="2505" y="658"/>
                  </a:lnTo>
                  <a:lnTo>
                    <a:pt x="2545" y="647"/>
                  </a:lnTo>
                  <a:lnTo>
                    <a:pt x="2577" y="672"/>
                  </a:lnTo>
                  <a:lnTo>
                    <a:pt x="2577" y="694"/>
                  </a:lnTo>
                  <a:lnTo>
                    <a:pt x="2608" y="683"/>
                  </a:lnTo>
                  <a:lnTo>
                    <a:pt x="2624" y="672"/>
                  </a:lnTo>
                  <a:lnTo>
                    <a:pt x="2665" y="688"/>
                  </a:lnTo>
                  <a:lnTo>
                    <a:pt x="2690" y="699"/>
                  </a:lnTo>
                  <a:lnTo>
                    <a:pt x="2695" y="713"/>
                  </a:lnTo>
                  <a:lnTo>
                    <a:pt x="2720" y="704"/>
                  </a:lnTo>
                  <a:lnTo>
                    <a:pt x="2741" y="718"/>
                  </a:lnTo>
                  <a:lnTo>
                    <a:pt x="2787" y="724"/>
                  </a:lnTo>
                  <a:lnTo>
                    <a:pt x="2807" y="735"/>
                  </a:lnTo>
                  <a:lnTo>
                    <a:pt x="2834" y="754"/>
                  </a:lnTo>
                  <a:lnTo>
                    <a:pt x="2812" y="775"/>
                  </a:lnTo>
                  <a:lnTo>
                    <a:pt x="2864" y="791"/>
                  </a:lnTo>
                  <a:lnTo>
                    <a:pt x="2894" y="795"/>
                  </a:lnTo>
                  <a:lnTo>
                    <a:pt x="2930" y="816"/>
                  </a:lnTo>
                  <a:lnTo>
                    <a:pt x="2956" y="811"/>
                  </a:lnTo>
                  <a:lnTo>
                    <a:pt x="2962" y="832"/>
                  </a:lnTo>
                  <a:lnTo>
                    <a:pt x="2946" y="863"/>
                  </a:lnTo>
                  <a:lnTo>
                    <a:pt x="2921" y="852"/>
                  </a:lnTo>
                  <a:lnTo>
                    <a:pt x="2883" y="822"/>
                  </a:lnTo>
                  <a:lnTo>
                    <a:pt x="2864" y="827"/>
                  </a:lnTo>
                  <a:lnTo>
                    <a:pt x="2864" y="847"/>
                  </a:lnTo>
                  <a:lnTo>
                    <a:pt x="2889" y="863"/>
                  </a:lnTo>
                  <a:close/>
                  <a:moveTo>
                    <a:pt x="2638" y="923"/>
                  </a:moveTo>
                  <a:lnTo>
                    <a:pt x="2618" y="934"/>
                  </a:lnTo>
                  <a:lnTo>
                    <a:pt x="2583" y="923"/>
                  </a:lnTo>
                  <a:lnTo>
                    <a:pt x="2567" y="909"/>
                  </a:lnTo>
                  <a:lnTo>
                    <a:pt x="2545" y="928"/>
                  </a:lnTo>
                  <a:lnTo>
                    <a:pt x="2515" y="944"/>
                  </a:lnTo>
                  <a:lnTo>
                    <a:pt x="2510" y="923"/>
                  </a:lnTo>
                  <a:lnTo>
                    <a:pt x="2480" y="928"/>
                  </a:lnTo>
                  <a:lnTo>
                    <a:pt x="2499" y="914"/>
                  </a:lnTo>
                  <a:lnTo>
                    <a:pt x="2499" y="893"/>
                  </a:lnTo>
                  <a:lnTo>
                    <a:pt x="2505" y="868"/>
                  </a:lnTo>
                  <a:lnTo>
                    <a:pt x="2521" y="873"/>
                  </a:lnTo>
                  <a:lnTo>
                    <a:pt x="2526" y="887"/>
                  </a:lnTo>
                  <a:lnTo>
                    <a:pt x="2537" y="882"/>
                  </a:lnTo>
                  <a:lnTo>
                    <a:pt x="2551" y="893"/>
                  </a:lnTo>
                  <a:lnTo>
                    <a:pt x="2551" y="893"/>
                  </a:lnTo>
                  <a:lnTo>
                    <a:pt x="2565" y="898"/>
                  </a:lnTo>
                  <a:lnTo>
                    <a:pt x="2577" y="903"/>
                  </a:lnTo>
                  <a:lnTo>
                    <a:pt x="2588" y="909"/>
                  </a:lnTo>
                  <a:lnTo>
                    <a:pt x="2602" y="914"/>
                  </a:lnTo>
                  <a:lnTo>
                    <a:pt x="2608" y="928"/>
                  </a:lnTo>
                  <a:lnTo>
                    <a:pt x="2624" y="923"/>
                  </a:lnTo>
                  <a:lnTo>
                    <a:pt x="2638" y="923"/>
                  </a:lnTo>
                  <a:close/>
                  <a:moveTo>
                    <a:pt x="2336" y="462"/>
                  </a:moveTo>
                  <a:lnTo>
                    <a:pt x="2346" y="457"/>
                  </a:lnTo>
                  <a:lnTo>
                    <a:pt x="2362" y="457"/>
                  </a:lnTo>
                  <a:lnTo>
                    <a:pt x="2352" y="448"/>
                  </a:lnTo>
                  <a:lnTo>
                    <a:pt x="2376" y="448"/>
                  </a:lnTo>
                  <a:lnTo>
                    <a:pt x="2392" y="462"/>
                  </a:lnTo>
                  <a:lnTo>
                    <a:pt x="2392" y="462"/>
                  </a:lnTo>
                  <a:lnTo>
                    <a:pt x="2412" y="470"/>
                  </a:lnTo>
                  <a:lnTo>
                    <a:pt x="2423" y="471"/>
                  </a:lnTo>
                  <a:lnTo>
                    <a:pt x="2433" y="473"/>
                  </a:lnTo>
                  <a:lnTo>
                    <a:pt x="2444" y="489"/>
                  </a:lnTo>
                  <a:lnTo>
                    <a:pt x="2449" y="489"/>
                  </a:lnTo>
                  <a:lnTo>
                    <a:pt x="2444" y="478"/>
                  </a:lnTo>
                  <a:lnTo>
                    <a:pt x="2474" y="478"/>
                  </a:lnTo>
                  <a:lnTo>
                    <a:pt x="2485" y="484"/>
                  </a:lnTo>
                  <a:lnTo>
                    <a:pt x="2505" y="473"/>
                  </a:lnTo>
                  <a:lnTo>
                    <a:pt x="2439" y="473"/>
                  </a:lnTo>
                  <a:lnTo>
                    <a:pt x="2417" y="462"/>
                  </a:lnTo>
                  <a:lnTo>
                    <a:pt x="2409" y="452"/>
                  </a:lnTo>
                  <a:lnTo>
                    <a:pt x="2392" y="443"/>
                  </a:lnTo>
                  <a:lnTo>
                    <a:pt x="2387" y="432"/>
                  </a:lnTo>
                  <a:lnTo>
                    <a:pt x="2409" y="438"/>
                  </a:lnTo>
                  <a:lnTo>
                    <a:pt x="2423" y="438"/>
                  </a:lnTo>
                  <a:lnTo>
                    <a:pt x="2444" y="432"/>
                  </a:lnTo>
                  <a:lnTo>
                    <a:pt x="2458" y="421"/>
                  </a:lnTo>
                  <a:lnTo>
                    <a:pt x="2474" y="421"/>
                  </a:lnTo>
                  <a:lnTo>
                    <a:pt x="2490" y="427"/>
                  </a:lnTo>
                  <a:lnTo>
                    <a:pt x="2496" y="416"/>
                  </a:lnTo>
                  <a:lnTo>
                    <a:pt x="2510" y="411"/>
                  </a:lnTo>
                  <a:lnTo>
                    <a:pt x="2531" y="407"/>
                  </a:lnTo>
                  <a:lnTo>
                    <a:pt x="2556" y="402"/>
                  </a:lnTo>
                  <a:lnTo>
                    <a:pt x="2586" y="402"/>
                  </a:lnTo>
                  <a:lnTo>
                    <a:pt x="2586" y="402"/>
                  </a:lnTo>
                  <a:lnTo>
                    <a:pt x="2608" y="400"/>
                  </a:lnTo>
                  <a:lnTo>
                    <a:pt x="2631" y="398"/>
                  </a:lnTo>
                  <a:lnTo>
                    <a:pt x="2654" y="397"/>
                  </a:lnTo>
                  <a:lnTo>
                    <a:pt x="2674" y="397"/>
                  </a:lnTo>
                  <a:lnTo>
                    <a:pt x="2695" y="402"/>
                  </a:lnTo>
                  <a:lnTo>
                    <a:pt x="2700" y="407"/>
                  </a:lnTo>
                  <a:lnTo>
                    <a:pt x="2684" y="421"/>
                  </a:lnTo>
                  <a:lnTo>
                    <a:pt x="2665" y="432"/>
                  </a:lnTo>
                  <a:lnTo>
                    <a:pt x="2659" y="438"/>
                  </a:lnTo>
                  <a:lnTo>
                    <a:pt x="2674" y="438"/>
                  </a:lnTo>
                  <a:lnTo>
                    <a:pt x="2659" y="457"/>
                  </a:lnTo>
                  <a:lnTo>
                    <a:pt x="2649" y="462"/>
                  </a:lnTo>
                  <a:lnTo>
                    <a:pt x="2638" y="484"/>
                  </a:lnTo>
                  <a:lnTo>
                    <a:pt x="2613" y="489"/>
                  </a:lnTo>
                  <a:lnTo>
                    <a:pt x="2608" y="493"/>
                  </a:lnTo>
                  <a:lnTo>
                    <a:pt x="2572" y="498"/>
                  </a:lnTo>
                  <a:lnTo>
                    <a:pt x="2592" y="498"/>
                  </a:lnTo>
                  <a:lnTo>
                    <a:pt x="2586" y="503"/>
                  </a:lnTo>
                  <a:lnTo>
                    <a:pt x="2602" y="514"/>
                  </a:lnTo>
                  <a:lnTo>
                    <a:pt x="2592" y="525"/>
                  </a:lnTo>
                  <a:lnTo>
                    <a:pt x="2572" y="535"/>
                  </a:lnTo>
                  <a:lnTo>
                    <a:pt x="2567" y="544"/>
                  </a:lnTo>
                  <a:lnTo>
                    <a:pt x="2545" y="555"/>
                  </a:lnTo>
                  <a:lnTo>
                    <a:pt x="2551" y="560"/>
                  </a:lnTo>
                  <a:lnTo>
                    <a:pt x="2572" y="560"/>
                  </a:lnTo>
                  <a:lnTo>
                    <a:pt x="2572" y="566"/>
                  </a:lnTo>
                  <a:lnTo>
                    <a:pt x="2540" y="585"/>
                  </a:lnTo>
                  <a:lnTo>
                    <a:pt x="2545" y="585"/>
                  </a:lnTo>
                  <a:lnTo>
                    <a:pt x="2567" y="596"/>
                  </a:lnTo>
                  <a:lnTo>
                    <a:pt x="2572" y="606"/>
                  </a:lnTo>
                  <a:lnTo>
                    <a:pt x="2561" y="612"/>
                  </a:lnTo>
                  <a:lnTo>
                    <a:pt x="2540" y="617"/>
                  </a:lnTo>
                  <a:lnTo>
                    <a:pt x="2521" y="612"/>
                  </a:lnTo>
                  <a:lnTo>
                    <a:pt x="2469" y="617"/>
                  </a:lnTo>
                  <a:lnTo>
                    <a:pt x="2439" y="617"/>
                  </a:lnTo>
                  <a:lnTo>
                    <a:pt x="2412" y="612"/>
                  </a:lnTo>
                  <a:lnTo>
                    <a:pt x="2376" y="606"/>
                  </a:lnTo>
                  <a:lnTo>
                    <a:pt x="2371" y="590"/>
                  </a:lnTo>
                  <a:lnTo>
                    <a:pt x="2371" y="576"/>
                  </a:lnTo>
                  <a:lnTo>
                    <a:pt x="2352" y="566"/>
                  </a:lnTo>
                  <a:lnTo>
                    <a:pt x="2321" y="566"/>
                  </a:lnTo>
                  <a:lnTo>
                    <a:pt x="2305" y="555"/>
                  </a:lnTo>
                  <a:lnTo>
                    <a:pt x="2316" y="544"/>
                  </a:lnTo>
                  <a:lnTo>
                    <a:pt x="2341" y="550"/>
                  </a:lnTo>
                  <a:lnTo>
                    <a:pt x="2357" y="560"/>
                  </a:lnTo>
                  <a:lnTo>
                    <a:pt x="2382" y="560"/>
                  </a:lnTo>
                  <a:lnTo>
                    <a:pt x="2398" y="571"/>
                  </a:lnTo>
                  <a:lnTo>
                    <a:pt x="2398" y="580"/>
                  </a:lnTo>
                  <a:lnTo>
                    <a:pt x="2417" y="585"/>
                  </a:lnTo>
                  <a:lnTo>
                    <a:pt x="2428" y="590"/>
                  </a:lnTo>
                  <a:lnTo>
                    <a:pt x="2428" y="590"/>
                  </a:lnTo>
                  <a:lnTo>
                    <a:pt x="2439" y="592"/>
                  </a:lnTo>
                  <a:lnTo>
                    <a:pt x="2449" y="594"/>
                  </a:lnTo>
                  <a:lnTo>
                    <a:pt x="2460" y="596"/>
                  </a:lnTo>
                  <a:lnTo>
                    <a:pt x="2474" y="596"/>
                  </a:lnTo>
                  <a:lnTo>
                    <a:pt x="2496" y="590"/>
                  </a:lnTo>
                  <a:lnTo>
                    <a:pt x="2526" y="585"/>
                  </a:lnTo>
                  <a:lnTo>
                    <a:pt x="2540" y="585"/>
                  </a:lnTo>
                  <a:lnTo>
                    <a:pt x="2499" y="580"/>
                  </a:lnTo>
                  <a:lnTo>
                    <a:pt x="2458" y="585"/>
                  </a:lnTo>
                  <a:lnTo>
                    <a:pt x="2439" y="580"/>
                  </a:lnTo>
                  <a:lnTo>
                    <a:pt x="2412" y="580"/>
                  </a:lnTo>
                  <a:lnTo>
                    <a:pt x="2412" y="566"/>
                  </a:lnTo>
                  <a:lnTo>
                    <a:pt x="2439" y="560"/>
                  </a:lnTo>
                  <a:lnTo>
                    <a:pt x="2428" y="539"/>
                  </a:lnTo>
                  <a:lnTo>
                    <a:pt x="2439" y="539"/>
                  </a:lnTo>
                  <a:lnTo>
                    <a:pt x="2474" y="550"/>
                  </a:lnTo>
                  <a:lnTo>
                    <a:pt x="2455" y="535"/>
                  </a:lnTo>
                  <a:lnTo>
                    <a:pt x="2433" y="530"/>
                  </a:lnTo>
                  <a:lnTo>
                    <a:pt x="2444" y="519"/>
                  </a:lnTo>
                  <a:lnTo>
                    <a:pt x="2464" y="514"/>
                  </a:lnTo>
                  <a:lnTo>
                    <a:pt x="2469" y="503"/>
                  </a:lnTo>
                  <a:lnTo>
                    <a:pt x="2464" y="498"/>
                  </a:lnTo>
                  <a:lnTo>
                    <a:pt x="2444" y="509"/>
                  </a:lnTo>
                  <a:lnTo>
                    <a:pt x="2423" y="530"/>
                  </a:lnTo>
                  <a:lnTo>
                    <a:pt x="2403" y="530"/>
                  </a:lnTo>
                  <a:lnTo>
                    <a:pt x="2376" y="525"/>
                  </a:lnTo>
                  <a:lnTo>
                    <a:pt x="2357" y="509"/>
                  </a:lnTo>
                  <a:lnTo>
                    <a:pt x="2357" y="498"/>
                  </a:lnTo>
                  <a:lnTo>
                    <a:pt x="2368" y="493"/>
                  </a:lnTo>
                  <a:lnTo>
                    <a:pt x="2346" y="493"/>
                  </a:lnTo>
                  <a:lnTo>
                    <a:pt x="2330" y="484"/>
                  </a:lnTo>
                  <a:lnTo>
                    <a:pt x="2327" y="473"/>
                  </a:lnTo>
                  <a:lnTo>
                    <a:pt x="2336" y="462"/>
                  </a:lnTo>
                  <a:close/>
                  <a:moveTo>
                    <a:pt x="2403" y="631"/>
                  </a:moveTo>
                  <a:lnTo>
                    <a:pt x="2376" y="653"/>
                  </a:lnTo>
                  <a:lnTo>
                    <a:pt x="2357" y="658"/>
                  </a:lnTo>
                  <a:lnTo>
                    <a:pt x="2336" y="678"/>
                  </a:lnTo>
                  <a:lnTo>
                    <a:pt x="2316" y="678"/>
                  </a:lnTo>
                  <a:lnTo>
                    <a:pt x="2305" y="658"/>
                  </a:lnTo>
                  <a:lnTo>
                    <a:pt x="2305" y="642"/>
                  </a:lnTo>
                  <a:lnTo>
                    <a:pt x="2316" y="631"/>
                  </a:lnTo>
                  <a:lnTo>
                    <a:pt x="2336" y="626"/>
                  </a:lnTo>
                  <a:lnTo>
                    <a:pt x="2368" y="631"/>
                  </a:lnTo>
                  <a:lnTo>
                    <a:pt x="2403" y="631"/>
                  </a:lnTo>
                  <a:close/>
                  <a:moveTo>
                    <a:pt x="2295" y="503"/>
                  </a:moveTo>
                  <a:lnTo>
                    <a:pt x="2327" y="503"/>
                  </a:lnTo>
                  <a:lnTo>
                    <a:pt x="2341" y="514"/>
                  </a:lnTo>
                  <a:lnTo>
                    <a:pt x="2336" y="525"/>
                  </a:lnTo>
                  <a:lnTo>
                    <a:pt x="2316" y="530"/>
                  </a:lnTo>
                  <a:lnTo>
                    <a:pt x="2305" y="525"/>
                  </a:lnTo>
                  <a:lnTo>
                    <a:pt x="2295" y="514"/>
                  </a:lnTo>
                  <a:lnTo>
                    <a:pt x="2295" y="503"/>
                  </a:lnTo>
                  <a:close/>
                  <a:moveTo>
                    <a:pt x="2295" y="571"/>
                  </a:moveTo>
                  <a:lnTo>
                    <a:pt x="2295" y="585"/>
                  </a:lnTo>
                  <a:lnTo>
                    <a:pt x="2284" y="606"/>
                  </a:lnTo>
                  <a:lnTo>
                    <a:pt x="2259" y="606"/>
                  </a:lnTo>
                  <a:lnTo>
                    <a:pt x="2243" y="601"/>
                  </a:lnTo>
                  <a:lnTo>
                    <a:pt x="2248" y="585"/>
                  </a:lnTo>
                  <a:lnTo>
                    <a:pt x="2229" y="585"/>
                  </a:lnTo>
                  <a:lnTo>
                    <a:pt x="2234" y="566"/>
                  </a:lnTo>
                  <a:lnTo>
                    <a:pt x="2248" y="566"/>
                  </a:lnTo>
                  <a:lnTo>
                    <a:pt x="2270" y="560"/>
                  </a:lnTo>
                  <a:lnTo>
                    <a:pt x="2284" y="555"/>
                  </a:lnTo>
                  <a:lnTo>
                    <a:pt x="2295" y="571"/>
                  </a:lnTo>
                  <a:close/>
                  <a:moveTo>
                    <a:pt x="2213" y="478"/>
                  </a:moveTo>
                  <a:lnTo>
                    <a:pt x="2234" y="484"/>
                  </a:lnTo>
                  <a:lnTo>
                    <a:pt x="2264" y="498"/>
                  </a:lnTo>
                  <a:lnTo>
                    <a:pt x="2275" y="514"/>
                  </a:lnTo>
                  <a:lnTo>
                    <a:pt x="2280" y="525"/>
                  </a:lnTo>
                  <a:lnTo>
                    <a:pt x="2259" y="519"/>
                  </a:lnTo>
                  <a:lnTo>
                    <a:pt x="2240" y="509"/>
                  </a:lnTo>
                  <a:lnTo>
                    <a:pt x="2213" y="503"/>
                  </a:lnTo>
                  <a:lnTo>
                    <a:pt x="2229" y="498"/>
                  </a:lnTo>
                  <a:lnTo>
                    <a:pt x="2208" y="489"/>
                  </a:lnTo>
                  <a:lnTo>
                    <a:pt x="2213" y="478"/>
                  </a:lnTo>
                  <a:close/>
                  <a:moveTo>
                    <a:pt x="2188" y="647"/>
                  </a:moveTo>
                  <a:lnTo>
                    <a:pt x="2199" y="647"/>
                  </a:lnTo>
                  <a:lnTo>
                    <a:pt x="2229" y="653"/>
                  </a:lnTo>
                  <a:lnTo>
                    <a:pt x="2213" y="631"/>
                  </a:lnTo>
                  <a:lnTo>
                    <a:pt x="2234" y="621"/>
                  </a:lnTo>
                  <a:lnTo>
                    <a:pt x="2254" y="631"/>
                  </a:lnTo>
                  <a:lnTo>
                    <a:pt x="2280" y="631"/>
                  </a:lnTo>
                  <a:lnTo>
                    <a:pt x="2284" y="642"/>
                  </a:lnTo>
                  <a:lnTo>
                    <a:pt x="2264" y="653"/>
                  </a:lnTo>
                  <a:lnTo>
                    <a:pt x="2284" y="667"/>
                  </a:lnTo>
                  <a:lnTo>
                    <a:pt x="2280" y="688"/>
                  </a:lnTo>
                  <a:lnTo>
                    <a:pt x="2248" y="699"/>
                  </a:lnTo>
                  <a:lnTo>
                    <a:pt x="2234" y="694"/>
                  </a:lnTo>
                  <a:lnTo>
                    <a:pt x="2224" y="683"/>
                  </a:lnTo>
                  <a:lnTo>
                    <a:pt x="2188" y="663"/>
                  </a:lnTo>
                  <a:lnTo>
                    <a:pt x="2188" y="647"/>
                  </a:lnTo>
                  <a:lnTo>
                    <a:pt x="2188" y="647"/>
                  </a:lnTo>
                  <a:close/>
                  <a:moveTo>
                    <a:pt x="2033" y="535"/>
                  </a:moveTo>
                  <a:lnTo>
                    <a:pt x="2055" y="530"/>
                  </a:lnTo>
                  <a:lnTo>
                    <a:pt x="2085" y="544"/>
                  </a:lnTo>
                  <a:lnTo>
                    <a:pt x="2106" y="566"/>
                  </a:lnTo>
                  <a:lnTo>
                    <a:pt x="2126" y="571"/>
                  </a:lnTo>
                  <a:lnTo>
                    <a:pt x="2115" y="544"/>
                  </a:lnTo>
                  <a:lnTo>
                    <a:pt x="2136" y="539"/>
                  </a:lnTo>
                  <a:lnTo>
                    <a:pt x="2152" y="544"/>
                  </a:lnTo>
                  <a:lnTo>
                    <a:pt x="2152" y="571"/>
                  </a:lnTo>
                  <a:lnTo>
                    <a:pt x="2167" y="571"/>
                  </a:lnTo>
                  <a:lnTo>
                    <a:pt x="2183" y="576"/>
                  </a:lnTo>
                  <a:lnTo>
                    <a:pt x="2183" y="590"/>
                  </a:lnTo>
                  <a:lnTo>
                    <a:pt x="2167" y="601"/>
                  </a:lnTo>
                  <a:lnTo>
                    <a:pt x="2115" y="596"/>
                  </a:lnTo>
                  <a:lnTo>
                    <a:pt x="2074" y="601"/>
                  </a:lnTo>
                  <a:lnTo>
                    <a:pt x="2049" y="580"/>
                  </a:lnTo>
                  <a:lnTo>
                    <a:pt x="2055" y="571"/>
                  </a:lnTo>
                  <a:lnTo>
                    <a:pt x="2090" y="566"/>
                  </a:lnTo>
                  <a:lnTo>
                    <a:pt x="2090" y="566"/>
                  </a:lnTo>
                  <a:lnTo>
                    <a:pt x="2074" y="564"/>
                  </a:lnTo>
                  <a:lnTo>
                    <a:pt x="2056" y="562"/>
                  </a:lnTo>
                  <a:lnTo>
                    <a:pt x="2024" y="555"/>
                  </a:lnTo>
                  <a:lnTo>
                    <a:pt x="2003" y="550"/>
                  </a:lnTo>
                  <a:lnTo>
                    <a:pt x="2033" y="535"/>
                  </a:lnTo>
                  <a:close/>
                  <a:moveTo>
                    <a:pt x="1839" y="601"/>
                  </a:moveTo>
                  <a:lnTo>
                    <a:pt x="1864" y="580"/>
                  </a:lnTo>
                  <a:lnTo>
                    <a:pt x="1886" y="566"/>
                  </a:lnTo>
                  <a:lnTo>
                    <a:pt x="1886" y="544"/>
                  </a:lnTo>
                  <a:lnTo>
                    <a:pt x="1932" y="555"/>
                  </a:lnTo>
                  <a:lnTo>
                    <a:pt x="1946" y="566"/>
                  </a:lnTo>
                  <a:lnTo>
                    <a:pt x="1978" y="576"/>
                  </a:lnTo>
                  <a:lnTo>
                    <a:pt x="1987" y="585"/>
                  </a:lnTo>
                  <a:lnTo>
                    <a:pt x="1998" y="601"/>
                  </a:lnTo>
                  <a:lnTo>
                    <a:pt x="2019" y="596"/>
                  </a:lnTo>
                  <a:lnTo>
                    <a:pt x="2033" y="606"/>
                  </a:lnTo>
                  <a:lnTo>
                    <a:pt x="2019" y="617"/>
                  </a:lnTo>
                  <a:lnTo>
                    <a:pt x="2049" y="617"/>
                  </a:lnTo>
                  <a:lnTo>
                    <a:pt x="2065" y="637"/>
                  </a:lnTo>
                  <a:lnTo>
                    <a:pt x="2085" y="626"/>
                  </a:lnTo>
                  <a:lnTo>
                    <a:pt x="2095" y="637"/>
                  </a:lnTo>
                  <a:lnTo>
                    <a:pt x="2101" y="663"/>
                  </a:lnTo>
                  <a:lnTo>
                    <a:pt x="2115" y="653"/>
                  </a:lnTo>
                  <a:lnTo>
                    <a:pt x="2115" y="626"/>
                  </a:lnTo>
                  <a:lnTo>
                    <a:pt x="2131" y="626"/>
                  </a:lnTo>
                  <a:lnTo>
                    <a:pt x="2147" y="631"/>
                  </a:lnTo>
                  <a:lnTo>
                    <a:pt x="2161" y="647"/>
                  </a:lnTo>
                  <a:lnTo>
                    <a:pt x="2161" y="694"/>
                  </a:lnTo>
                  <a:lnTo>
                    <a:pt x="2161" y="694"/>
                  </a:lnTo>
                  <a:lnTo>
                    <a:pt x="2170" y="704"/>
                  </a:lnTo>
                  <a:lnTo>
                    <a:pt x="2181" y="713"/>
                  </a:lnTo>
                  <a:lnTo>
                    <a:pt x="2193" y="718"/>
                  </a:lnTo>
                  <a:lnTo>
                    <a:pt x="2208" y="724"/>
                  </a:lnTo>
                  <a:lnTo>
                    <a:pt x="2199" y="740"/>
                  </a:lnTo>
                  <a:lnTo>
                    <a:pt x="2167" y="740"/>
                  </a:lnTo>
                  <a:lnTo>
                    <a:pt x="2177" y="754"/>
                  </a:lnTo>
                  <a:lnTo>
                    <a:pt x="2167" y="765"/>
                  </a:lnTo>
                  <a:lnTo>
                    <a:pt x="2136" y="754"/>
                  </a:lnTo>
                  <a:lnTo>
                    <a:pt x="2111" y="740"/>
                  </a:lnTo>
                  <a:lnTo>
                    <a:pt x="2090" y="740"/>
                  </a:lnTo>
                  <a:lnTo>
                    <a:pt x="2049" y="745"/>
                  </a:lnTo>
                  <a:lnTo>
                    <a:pt x="2049" y="745"/>
                  </a:lnTo>
                  <a:lnTo>
                    <a:pt x="2030" y="743"/>
                  </a:lnTo>
                  <a:lnTo>
                    <a:pt x="2008" y="742"/>
                  </a:lnTo>
                  <a:lnTo>
                    <a:pt x="1989" y="740"/>
                  </a:lnTo>
                  <a:lnTo>
                    <a:pt x="1973" y="740"/>
                  </a:lnTo>
                  <a:lnTo>
                    <a:pt x="1967" y="724"/>
                  </a:lnTo>
                  <a:lnTo>
                    <a:pt x="1946" y="713"/>
                  </a:lnTo>
                  <a:lnTo>
                    <a:pt x="1926" y="713"/>
                  </a:lnTo>
                  <a:lnTo>
                    <a:pt x="1916" y="694"/>
                  </a:lnTo>
                  <a:lnTo>
                    <a:pt x="1957" y="694"/>
                  </a:lnTo>
                  <a:lnTo>
                    <a:pt x="1978" y="699"/>
                  </a:lnTo>
                  <a:lnTo>
                    <a:pt x="1998" y="699"/>
                  </a:lnTo>
                  <a:lnTo>
                    <a:pt x="1978" y="683"/>
                  </a:lnTo>
                  <a:lnTo>
                    <a:pt x="1946" y="672"/>
                  </a:lnTo>
                  <a:lnTo>
                    <a:pt x="1926" y="667"/>
                  </a:lnTo>
                  <a:lnTo>
                    <a:pt x="1926" y="658"/>
                  </a:lnTo>
                  <a:lnTo>
                    <a:pt x="1967" y="653"/>
                  </a:lnTo>
                  <a:lnTo>
                    <a:pt x="1946" y="647"/>
                  </a:lnTo>
                  <a:lnTo>
                    <a:pt x="1926" y="631"/>
                  </a:lnTo>
                  <a:lnTo>
                    <a:pt x="1946" y="617"/>
                  </a:lnTo>
                  <a:lnTo>
                    <a:pt x="1957" y="612"/>
                  </a:lnTo>
                  <a:lnTo>
                    <a:pt x="1937" y="617"/>
                  </a:lnTo>
                  <a:lnTo>
                    <a:pt x="1905" y="631"/>
                  </a:lnTo>
                  <a:lnTo>
                    <a:pt x="1905" y="631"/>
                  </a:lnTo>
                  <a:lnTo>
                    <a:pt x="1900" y="638"/>
                  </a:lnTo>
                  <a:lnTo>
                    <a:pt x="1898" y="642"/>
                  </a:lnTo>
                  <a:lnTo>
                    <a:pt x="1896" y="642"/>
                  </a:lnTo>
                  <a:lnTo>
                    <a:pt x="1850" y="647"/>
                  </a:lnTo>
                  <a:lnTo>
                    <a:pt x="1850" y="631"/>
                  </a:lnTo>
                  <a:lnTo>
                    <a:pt x="1829" y="612"/>
                  </a:lnTo>
                  <a:lnTo>
                    <a:pt x="1839" y="601"/>
                  </a:lnTo>
                  <a:close/>
                  <a:moveTo>
                    <a:pt x="1777" y="64"/>
                  </a:moveTo>
                  <a:lnTo>
                    <a:pt x="1777" y="64"/>
                  </a:lnTo>
                  <a:lnTo>
                    <a:pt x="1773" y="66"/>
                  </a:lnTo>
                  <a:lnTo>
                    <a:pt x="1770" y="68"/>
                  </a:lnTo>
                  <a:lnTo>
                    <a:pt x="1757" y="68"/>
                  </a:lnTo>
                  <a:lnTo>
                    <a:pt x="1757" y="68"/>
                  </a:lnTo>
                  <a:lnTo>
                    <a:pt x="1768" y="66"/>
                  </a:lnTo>
                  <a:lnTo>
                    <a:pt x="1777" y="64"/>
                  </a:lnTo>
                  <a:lnTo>
                    <a:pt x="1777" y="64"/>
                  </a:lnTo>
                  <a:close/>
                  <a:moveTo>
                    <a:pt x="4175" y="3224"/>
                  </a:moveTo>
                  <a:lnTo>
                    <a:pt x="4150" y="3285"/>
                  </a:lnTo>
                  <a:lnTo>
                    <a:pt x="4129" y="3310"/>
                  </a:lnTo>
                  <a:lnTo>
                    <a:pt x="4082" y="3372"/>
                  </a:lnTo>
                  <a:lnTo>
                    <a:pt x="4063" y="3413"/>
                  </a:lnTo>
                  <a:lnTo>
                    <a:pt x="4036" y="3448"/>
                  </a:lnTo>
                  <a:lnTo>
                    <a:pt x="4033" y="3454"/>
                  </a:lnTo>
                  <a:lnTo>
                    <a:pt x="4017" y="3480"/>
                  </a:lnTo>
                  <a:lnTo>
                    <a:pt x="3995" y="3541"/>
                  </a:lnTo>
                  <a:lnTo>
                    <a:pt x="3995" y="3541"/>
                  </a:lnTo>
                  <a:lnTo>
                    <a:pt x="3986" y="3557"/>
                  </a:lnTo>
                  <a:lnTo>
                    <a:pt x="3977" y="3575"/>
                  </a:lnTo>
                  <a:lnTo>
                    <a:pt x="3970" y="3591"/>
                  </a:lnTo>
                  <a:lnTo>
                    <a:pt x="3960" y="3609"/>
                  </a:lnTo>
                  <a:lnTo>
                    <a:pt x="3945" y="3623"/>
                  </a:lnTo>
                  <a:lnTo>
                    <a:pt x="3924" y="3664"/>
                  </a:lnTo>
                  <a:lnTo>
                    <a:pt x="3883" y="3710"/>
                  </a:lnTo>
                  <a:lnTo>
                    <a:pt x="3872" y="3740"/>
                  </a:lnTo>
                  <a:lnTo>
                    <a:pt x="3853" y="3761"/>
                  </a:lnTo>
                  <a:lnTo>
                    <a:pt x="3837" y="3781"/>
                  </a:lnTo>
                  <a:lnTo>
                    <a:pt x="3837" y="3781"/>
                  </a:lnTo>
                  <a:lnTo>
                    <a:pt x="3823" y="3786"/>
                  </a:lnTo>
                  <a:lnTo>
                    <a:pt x="3819" y="3788"/>
                  </a:lnTo>
                  <a:lnTo>
                    <a:pt x="3817" y="3792"/>
                  </a:lnTo>
                  <a:lnTo>
                    <a:pt x="3776" y="3813"/>
                  </a:lnTo>
                  <a:lnTo>
                    <a:pt x="3755" y="3833"/>
                  </a:lnTo>
                  <a:lnTo>
                    <a:pt x="3725" y="3854"/>
                  </a:lnTo>
                  <a:lnTo>
                    <a:pt x="3684" y="3884"/>
                  </a:lnTo>
                  <a:lnTo>
                    <a:pt x="3638" y="3914"/>
                  </a:lnTo>
                  <a:lnTo>
                    <a:pt x="3622" y="3936"/>
                  </a:lnTo>
                  <a:lnTo>
                    <a:pt x="3622" y="3946"/>
                  </a:lnTo>
                  <a:lnTo>
                    <a:pt x="3602" y="3971"/>
                  </a:lnTo>
                  <a:lnTo>
                    <a:pt x="3586" y="3987"/>
                  </a:lnTo>
                  <a:lnTo>
                    <a:pt x="3561" y="4007"/>
                  </a:lnTo>
                  <a:lnTo>
                    <a:pt x="3504" y="4058"/>
                  </a:lnTo>
                  <a:lnTo>
                    <a:pt x="3504" y="4058"/>
                  </a:lnTo>
                  <a:lnTo>
                    <a:pt x="3476" y="4078"/>
                  </a:lnTo>
                  <a:lnTo>
                    <a:pt x="3460" y="4087"/>
                  </a:lnTo>
                  <a:lnTo>
                    <a:pt x="3442" y="4094"/>
                  </a:lnTo>
                  <a:lnTo>
                    <a:pt x="3417" y="4115"/>
                  </a:lnTo>
                  <a:lnTo>
                    <a:pt x="3376" y="4156"/>
                  </a:lnTo>
                  <a:lnTo>
                    <a:pt x="3341" y="4176"/>
                  </a:lnTo>
                  <a:lnTo>
                    <a:pt x="3325" y="4176"/>
                  </a:lnTo>
                  <a:lnTo>
                    <a:pt x="3309" y="4181"/>
                  </a:lnTo>
                  <a:lnTo>
                    <a:pt x="3289" y="4176"/>
                  </a:lnTo>
                  <a:lnTo>
                    <a:pt x="3268" y="4181"/>
                  </a:lnTo>
                  <a:lnTo>
                    <a:pt x="3259" y="4170"/>
                  </a:lnTo>
                  <a:lnTo>
                    <a:pt x="3248" y="4187"/>
                  </a:lnTo>
                  <a:lnTo>
                    <a:pt x="3268" y="4203"/>
                  </a:lnTo>
                  <a:lnTo>
                    <a:pt x="3253" y="4217"/>
                  </a:lnTo>
                  <a:lnTo>
                    <a:pt x="3264" y="4222"/>
                  </a:lnTo>
                  <a:lnTo>
                    <a:pt x="3253" y="4233"/>
                  </a:lnTo>
                  <a:lnTo>
                    <a:pt x="3213" y="4263"/>
                  </a:lnTo>
                  <a:lnTo>
                    <a:pt x="3177" y="4274"/>
                  </a:lnTo>
                  <a:lnTo>
                    <a:pt x="3120" y="4290"/>
                  </a:lnTo>
                  <a:lnTo>
                    <a:pt x="3095" y="4293"/>
                  </a:lnTo>
                  <a:lnTo>
                    <a:pt x="3084" y="4304"/>
                  </a:lnTo>
                  <a:lnTo>
                    <a:pt x="3084" y="4315"/>
                  </a:lnTo>
                  <a:lnTo>
                    <a:pt x="3063" y="4325"/>
                  </a:lnTo>
                  <a:lnTo>
                    <a:pt x="3038" y="4331"/>
                  </a:lnTo>
                  <a:lnTo>
                    <a:pt x="3022" y="4320"/>
                  </a:lnTo>
                  <a:lnTo>
                    <a:pt x="3003" y="4331"/>
                  </a:lnTo>
                  <a:lnTo>
                    <a:pt x="2992" y="4350"/>
                  </a:lnTo>
                  <a:lnTo>
                    <a:pt x="3008" y="4355"/>
                  </a:lnTo>
                  <a:lnTo>
                    <a:pt x="3028" y="4345"/>
                  </a:lnTo>
                  <a:lnTo>
                    <a:pt x="3028" y="4355"/>
                  </a:lnTo>
                  <a:lnTo>
                    <a:pt x="3003" y="4366"/>
                  </a:lnTo>
                  <a:lnTo>
                    <a:pt x="2976" y="4380"/>
                  </a:lnTo>
                  <a:lnTo>
                    <a:pt x="2956" y="4402"/>
                  </a:lnTo>
                  <a:lnTo>
                    <a:pt x="2940" y="4412"/>
                  </a:lnTo>
                  <a:lnTo>
                    <a:pt x="2910" y="4407"/>
                  </a:lnTo>
                  <a:lnTo>
                    <a:pt x="2883" y="4418"/>
                  </a:lnTo>
                  <a:lnTo>
                    <a:pt x="2864" y="4432"/>
                  </a:lnTo>
                  <a:lnTo>
                    <a:pt x="2880" y="4443"/>
                  </a:lnTo>
                  <a:lnTo>
                    <a:pt x="2899" y="4443"/>
                  </a:lnTo>
                  <a:lnTo>
                    <a:pt x="2880" y="4459"/>
                  </a:lnTo>
                  <a:lnTo>
                    <a:pt x="2843" y="4468"/>
                  </a:lnTo>
                  <a:lnTo>
                    <a:pt x="2812" y="4489"/>
                  </a:lnTo>
                  <a:lnTo>
                    <a:pt x="2787" y="4500"/>
                  </a:lnTo>
                  <a:lnTo>
                    <a:pt x="2766" y="4494"/>
                  </a:lnTo>
                  <a:lnTo>
                    <a:pt x="2761" y="4505"/>
                  </a:lnTo>
                  <a:lnTo>
                    <a:pt x="2771" y="4508"/>
                  </a:lnTo>
                  <a:lnTo>
                    <a:pt x="2771" y="4508"/>
                  </a:lnTo>
                  <a:lnTo>
                    <a:pt x="2761" y="4508"/>
                  </a:lnTo>
                  <a:lnTo>
                    <a:pt x="2761" y="4514"/>
                  </a:lnTo>
                  <a:lnTo>
                    <a:pt x="2782" y="4519"/>
                  </a:lnTo>
                  <a:lnTo>
                    <a:pt x="2802" y="4519"/>
                  </a:lnTo>
                  <a:lnTo>
                    <a:pt x="2793" y="4524"/>
                  </a:lnTo>
                  <a:lnTo>
                    <a:pt x="2771" y="4530"/>
                  </a:lnTo>
                  <a:lnTo>
                    <a:pt x="2766" y="4530"/>
                  </a:lnTo>
                  <a:lnTo>
                    <a:pt x="2752" y="4535"/>
                  </a:lnTo>
                  <a:lnTo>
                    <a:pt x="2730" y="4540"/>
                  </a:lnTo>
                  <a:lnTo>
                    <a:pt x="2684" y="4540"/>
                  </a:lnTo>
                  <a:lnTo>
                    <a:pt x="2684" y="4540"/>
                  </a:lnTo>
                  <a:lnTo>
                    <a:pt x="2675" y="4539"/>
                  </a:lnTo>
                  <a:lnTo>
                    <a:pt x="2666" y="4537"/>
                  </a:lnTo>
                  <a:lnTo>
                    <a:pt x="2659" y="4535"/>
                  </a:lnTo>
                  <a:lnTo>
                    <a:pt x="2649" y="4535"/>
                  </a:lnTo>
                  <a:lnTo>
                    <a:pt x="2627" y="4519"/>
                  </a:lnTo>
                  <a:lnTo>
                    <a:pt x="2627" y="4519"/>
                  </a:lnTo>
                  <a:lnTo>
                    <a:pt x="2624" y="4514"/>
                  </a:lnTo>
                  <a:lnTo>
                    <a:pt x="2624" y="4508"/>
                  </a:lnTo>
                  <a:lnTo>
                    <a:pt x="2638" y="4500"/>
                  </a:lnTo>
                  <a:lnTo>
                    <a:pt x="2633" y="4489"/>
                  </a:lnTo>
                  <a:lnTo>
                    <a:pt x="2649" y="4468"/>
                  </a:lnTo>
                  <a:lnTo>
                    <a:pt x="2668" y="4453"/>
                  </a:lnTo>
                  <a:lnTo>
                    <a:pt x="2700" y="4437"/>
                  </a:lnTo>
                  <a:lnTo>
                    <a:pt x="2665" y="4437"/>
                  </a:lnTo>
                  <a:lnTo>
                    <a:pt x="2695" y="4421"/>
                  </a:lnTo>
                  <a:lnTo>
                    <a:pt x="2714" y="4396"/>
                  </a:lnTo>
                  <a:lnTo>
                    <a:pt x="2741" y="4402"/>
                  </a:lnTo>
                  <a:lnTo>
                    <a:pt x="2771" y="4371"/>
                  </a:lnTo>
                  <a:lnTo>
                    <a:pt x="2766" y="4371"/>
                  </a:lnTo>
                  <a:lnTo>
                    <a:pt x="2746" y="4391"/>
                  </a:lnTo>
                  <a:lnTo>
                    <a:pt x="2730" y="4391"/>
                  </a:lnTo>
                  <a:lnTo>
                    <a:pt x="2730" y="4391"/>
                  </a:lnTo>
                  <a:lnTo>
                    <a:pt x="2745" y="4377"/>
                  </a:lnTo>
                  <a:lnTo>
                    <a:pt x="2755" y="4363"/>
                  </a:lnTo>
                  <a:lnTo>
                    <a:pt x="2777" y="4334"/>
                  </a:lnTo>
                  <a:lnTo>
                    <a:pt x="2796" y="4320"/>
                  </a:lnTo>
                  <a:lnTo>
                    <a:pt x="2796" y="4299"/>
                  </a:lnTo>
                  <a:lnTo>
                    <a:pt x="2807" y="4279"/>
                  </a:lnTo>
                  <a:lnTo>
                    <a:pt x="2823" y="4279"/>
                  </a:lnTo>
                  <a:lnTo>
                    <a:pt x="2823" y="4279"/>
                  </a:lnTo>
                  <a:lnTo>
                    <a:pt x="2889" y="4211"/>
                  </a:lnTo>
                  <a:lnTo>
                    <a:pt x="2915" y="4181"/>
                  </a:lnTo>
                  <a:lnTo>
                    <a:pt x="2921" y="4151"/>
                  </a:lnTo>
                  <a:lnTo>
                    <a:pt x="2940" y="4130"/>
                  </a:lnTo>
                  <a:lnTo>
                    <a:pt x="2946" y="4105"/>
                  </a:lnTo>
                  <a:lnTo>
                    <a:pt x="2971" y="4074"/>
                  </a:lnTo>
                  <a:lnTo>
                    <a:pt x="2971" y="4074"/>
                  </a:lnTo>
                  <a:lnTo>
                    <a:pt x="2988" y="4032"/>
                  </a:lnTo>
                  <a:lnTo>
                    <a:pt x="3008" y="3991"/>
                  </a:lnTo>
                  <a:lnTo>
                    <a:pt x="3044" y="3914"/>
                  </a:lnTo>
                  <a:lnTo>
                    <a:pt x="3052" y="3868"/>
                  </a:lnTo>
                  <a:lnTo>
                    <a:pt x="3058" y="3833"/>
                  </a:lnTo>
                  <a:lnTo>
                    <a:pt x="3028" y="3818"/>
                  </a:lnTo>
                  <a:lnTo>
                    <a:pt x="3028" y="3802"/>
                  </a:lnTo>
                  <a:lnTo>
                    <a:pt x="2962" y="3781"/>
                  </a:lnTo>
                  <a:lnTo>
                    <a:pt x="2899" y="3756"/>
                  </a:lnTo>
                  <a:lnTo>
                    <a:pt x="2875" y="3737"/>
                  </a:lnTo>
                  <a:lnTo>
                    <a:pt x="2859" y="3715"/>
                  </a:lnTo>
                  <a:lnTo>
                    <a:pt x="2869" y="3705"/>
                  </a:lnTo>
                  <a:lnTo>
                    <a:pt x="2843" y="3669"/>
                  </a:lnTo>
                  <a:lnTo>
                    <a:pt x="2843" y="3669"/>
                  </a:lnTo>
                  <a:lnTo>
                    <a:pt x="2812" y="3610"/>
                  </a:lnTo>
                  <a:lnTo>
                    <a:pt x="2782" y="3552"/>
                  </a:lnTo>
                  <a:lnTo>
                    <a:pt x="2766" y="3536"/>
                  </a:lnTo>
                  <a:lnTo>
                    <a:pt x="2755" y="3516"/>
                  </a:lnTo>
                  <a:lnTo>
                    <a:pt x="2730" y="3495"/>
                  </a:lnTo>
                  <a:lnTo>
                    <a:pt x="2706" y="3480"/>
                  </a:lnTo>
                  <a:lnTo>
                    <a:pt x="2720" y="3464"/>
                  </a:lnTo>
                  <a:lnTo>
                    <a:pt x="2700" y="3434"/>
                  </a:lnTo>
                  <a:lnTo>
                    <a:pt x="2714" y="3413"/>
                  </a:lnTo>
                  <a:lnTo>
                    <a:pt x="2746" y="3393"/>
                  </a:lnTo>
                  <a:lnTo>
                    <a:pt x="2766" y="3367"/>
                  </a:lnTo>
                  <a:lnTo>
                    <a:pt x="2766" y="3326"/>
                  </a:lnTo>
                  <a:lnTo>
                    <a:pt x="2746" y="3347"/>
                  </a:lnTo>
                  <a:lnTo>
                    <a:pt x="2725" y="3331"/>
                  </a:lnTo>
                  <a:lnTo>
                    <a:pt x="2736" y="3320"/>
                  </a:lnTo>
                  <a:lnTo>
                    <a:pt x="2730" y="3290"/>
                  </a:lnTo>
                  <a:lnTo>
                    <a:pt x="2746" y="3285"/>
                  </a:lnTo>
                  <a:lnTo>
                    <a:pt x="2755" y="3265"/>
                  </a:lnTo>
                  <a:lnTo>
                    <a:pt x="2777" y="3244"/>
                  </a:lnTo>
                  <a:lnTo>
                    <a:pt x="2777" y="3228"/>
                  </a:lnTo>
                  <a:lnTo>
                    <a:pt x="2796" y="3219"/>
                  </a:lnTo>
                  <a:lnTo>
                    <a:pt x="2823" y="3203"/>
                  </a:lnTo>
                  <a:lnTo>
                    <a:pt x="2812" y="3182"/>
                  </a:lnTo>
                  <a:lnTo>
                    <a:pt x="2828" y="3178"/>
                  </a:lnTo>
                  <a:lnTo>
                    <a:pt x="2828" y="3157"/>
                  </a:lnTo>
                  <a:lnTo>
                    <a:pt x="2839" y="3141"/>
                  </a:lnTo>
                  <a:lnTo>
                    <a:pt x="2859" y="3137"/>
                  </a:lnTo>
                  <a:lnTo>
                    <a:pt x="2859" y="3137"/>
                  </a:lnTo>
                  <a:lnTo>
                    <a:pt x="2889" y="3091"/>
                  </a:lnTo>
                  <a:lnTo>
                    <a:pt x="2880" y="3086"/>
                  </a:lnTo>
                  <a:lnTo>
                    <a:pt x="2889" y="3064"/>
                  </a:lnTo>
                  <a:lnTo>
                    <a:pt x="2880" y="3029"/>
                  </a:lnTo>
                  <a:lnTo>
                    <a:pt x="2889" y="3018"/>
                  </a:lnTo>
                  <a:lnTo>
                    <a:pt x="2883" y="2988"/>
                  </a:lnTo>
                  <a:lnTo>
                    <a:pt x="2869" y="2972"/>
                  </a:lnTo>
                  <a:lnTo>
                    <a:pt x="2853" y="2963"/>
                  </a:lnTo>
                  <a:lnTo>
                    <a:pt x="2843" y="2942"/>
                  </a:lnTo>
                  <a:lnTo>
                    <a:pt x="2853" y="2931"/>
                  </a:lnTo>
                  <a:lnTo>
                    <a:pt x="2843" y="2931"/>
                  </a:lnTo>
                  <a:lnTo>
                    <a:pt x="2839" y="2922"/>
                  </a:lnTo>
                  <a:lnTo>
                    <a:pt x="2818" y="2911"/>
                  </a:lnTo>
                  <a:lnTo>
                    <a:pt x="2796" y="2906"/>
                  </a:lnTo>
                  <a:lnTo>
                    <a:pt x="2793" y="2922"/>
                  </a:lnTo>
                  <a:lnTo>
                    <a:pt x="2771" y="2931"/>
                  </a:lnTo>
                  <a:lnTo>
                    <a:pt x="2761" y="2931"/>
                  </a:lnTo>
                  <a:lnTo>
                    <a:pt x="2755" y="2942"/>
                  </a:lnTo>
                  <a:lnTo>
                    <a:pt x="2777" y="2963"/>
                  </a:lnTo>
                  <a:lnTo>
                    <a:pt x="2766" y="2963"/>
                  </a:lnTo>
                  <a:lnTo>
                    <a:pt x="2761" y="2968"/>
                  </a:lnTo>
                  <a:lnTo>
                    <a:pt x="2746" y="2972"/>
                  </a:lnTo>
                  <a:lnTo>
                    <a:pt x="2741" y="2952"/>
                  </a:lnTo>
                  <a:lnTo>
                    <a:pt x="2736" y="2958"/>
                  </a:lnTo>
                  <a:lnTo>
                    <a:pt x="2720" y="2958"/>
                  </a:lnTo>
                  <a:lnTo>
                    <a:pt x="2711" y="2942"/>
                  </a:lnTo>
                  <a:lnTo>
                    <a:pt x="2690" y="2942"/>
                  </a:lnTo>
                  <a:lnTo>
                    <a:pt x="2679" y="2936"/>
                  </a:lnTo>
                  <a:lnTo>
                    <a:pt x="2659" y="2936"/>
                  </a:lnTo>
                  <a:lnTo>
                    <a:pt x="2659" y="2947"/>
                  </a:lnTo>
                  <a:lnTo>
                    <a:pt x="2654" y="2942"/>
                  </a:lnTo>
                  <a:lnTo>
                    <a:pt x="2633" y="2931"/>
                  </a:lnTo>
                  <a:lnTo>
                    <a:pt x="2624" y="2922"/>
                  </a:lnTo>
                  <a:lnTo>
                    <a:pt x="2627" y="2917"/>
                  </a:lnTo>
                  <a:lnTo>
                    <a:pt x="2627" y="2906"/>
                  </a:lnTo>
                  <a:lnTo>
                    <a:pt x="2618" y="2895"/>
                  </a:lnTo>
                  <a:lnTo>
                    <a:pt x="2602" y="2885"/>
                  </a:lnTo>
                  <a:lnTo>
                    <a:pt x="2586" y="2881"/>
                  </a:lnTo>
                  <a:lnTo>
                    <a:pt x="2583" y="2870"/>
                  </a:lnTo>
                  <a:lnTo>
                    <a:pt x="2572" y="2854"/>
                  </a:lnTo>
                  <a:lnTo>
                    <a:pt x="2572" y="2865"/>
                  </a:lnTo>
                  <a:lnTo>
                    <a:pt x="2561" y="2876"/>
                  </a:lnTo>
                  <a:lnTo>
                    <a:pt x="2551" y="2870"/>
                  </a:lnTo>
                  <a:lnTo>
                    <a:pt x="2545" y="2860"/>
                  </a:lnTo>
                  <a:lnTo>
                    <a:pt x="2545" y="2844"/>
                  </a:lnTo>
                  <a:lnTo>
                    <a:pt x="2551" y="2830"/>
                  </a:lnTo>
                  <a:lnTo>
                    <a:pt x="2540" y="2824"/>
                  </a:lnTo>
                  <a:lnTo>
                    <a:pt x="2551" y="2814"/>
                  </a:lnTo>
                  <a:lnTo>
                    <a:pt x="2551" y="2814"/>
                  </a:lnTo>
                  <a:lnTo>
                    <a:pt x="2537" y="2799"/>
                  </a:lnTo>
                  <a:lnTo>
                    <a:pt x="2528" y="2792"/>
                  </a:lnTo>
                  <a:lnTo>
                    <a:pt x="2521" y="2789"/>
                  </a:lnTo>
                  <a:lnTo>
                    <a:pt x="2510" y="2778"/>
                  </a:lnTo>
                  <a:lnTo>
                    <a:pt x="2490" y="2762"/>
                  </a:lnTo>
                  <a:lnTo>
                    <a:pt x="2469" y="2742"/>
                  </a:lnTo>
                  <a:lnTo>
                    <a:pt x="2474" y="2737"/>
                  </a:lnTo>
                  <a:lnTo>
                    <a:pt x="2480" y="2742"/>
                  </a:lnTo>
                  <a:lnTo>
                    <a:pt x="2485" y="2737"/>
                  </a:lnTo>
                  <a:lnTo>
                    <a:pt x="2480" y="2721"/>
                  </a:lnTo>
                  <a:lnTo>
                    <a:pt x="2464" y="2716"/>
                  </a:lnTo>
                  <a:lnTo>
                    <a:pt x="2458" y="2726"/>
                  </a:lnTo>
                  <a:lnTo>
                    <a:pt x="2439" y="2726"/>
                  </a:lnTo>
                  <a:lnTo>
                    <a:pt x="2423" y="2721"/>
                  </a:lnTo>
                  <a:lnTo>
                    <a:pt x="2409" y="2716"/>
                  </a:lnTo>
                  <a:lnTo>
                    <a:pt x="2387" y="2712"/>
                  </a:lnTo>
                  <a:lnTo>
                    <a:pt x="2376" y="2721"/>
                  </a:lnTo>
                  <a:lnTo>
                    <a:pt x="2352" y="2716"/>
                  </a:lnTo>
                  <a:lnTo>
                    <a:pt x="2327" y="2716"/>
                  </a:lnTo>
                  <a:lnTo>
                    <a:pt x="2305" y="2707"/>
                  </a:lnTo>
                  <a:lnTo>
                    <a:pt x="2284" y="2685"/>
                  </a:lnTo>
                  <a:lnTo>
                    <a:pt x="2240" y="2645"/>
                  </a:lnTo>
                  <a:lnTo>
                    <a:pt x="2224" y="2625"/>
                  </a:lnTo>
                  <a:lnTo>
                    <a:pt x="2193" y="2614"/>
                  </a:lnTo>
                  <a:lnTo>
                    <a:pt x="2172" y="2614"/>
                  </a:lnTo>
                  <a:lnTo>
                    <a:pt x="2142" y="2629"/>
                  </a:lnTo>
                  <a:lnTo>
                    <a:pt x="2120" y="2634"/>
                  </a:lnTo>
                  <a:lnTo>
                    <a:pt x="2095" y="2620"/>
                  </a:lnTo>
                  <a:lnTo>
                    <a:pt x="2071" y="2609"/>
                  </a:lnTo>
                  <a:lnTo>
                    <a:pt x="2033" y="2588"/>
                  </a:lnTo>
                  <a:lnTo>
                    <a:pt x="1998" y="2584"/>
                  </a:lnTo>
                  <a:lnTo>
                    <a:pt x="1946" y="2563"/>
                  </a:lnTo>
                  <a:lnTo>
                    <a:pt x="1916" y="2541"/>
                  </a:lnTo>
                  <a:lnTo>
                    <a:pt x="1905" y="2533"/>
                  </a:lnTo>
                  <a:lnTo>
                    <a:pt x="1886" y="2527"/>
                  </a:lnTo>
                  <a:lnTo>
                    <a:pt x="1845" y="2511"/>
                  </a:lnTo>
                  <a:lnTo>
                    <a:pt x="1829" y="2492"/>
                  </a:lnTo>
                  <a:lnTo>
                    <a:pt x="1793" y="2465"/>
                  </a:lnTo>
                  <a:lnTo>
                    <a:pt x="1772" y="2440"/>
                  </a:lnTo>
                  <a:lnTo>
                    <a:pt x="1763" y="2419"/>
                  </a:lnTo>
                  <a:lnTo>
                    <a:pt x="1777" y="2419"/>
                  </a:lnTo>
                  <a:lnTo>
                    <a:pt x="1777" y="2410"/>
                  </a:lnTo>
                  <a:lnTo>
                    <a:pt x="1788" y="2399"/>
                  </a:lnTo>
                  <a:lnTo>
                    <a:pt x="1788" y="2383"/>
                  </a:lnTo>
                  <a:lnTo>
                    <a:pt x="1777" y="2364"/>
                  </a:lnTo>
                  <a:lnTo>
                    <a:pt x="1777" y="2348"/>
                  </a:lnTo>
                  <a:lnTo>
                    <a:pt x="1768" y="2328"/>
                  </a:lnTo>
                  <a:lnTo>
                    <a:pt x="1741" y="2285"/>
                  </a:lnTo>
                  <a:lnTo>
                    <a:pt x="1711" y="2244"/>
                  </a:lnTo>
                  <a:lnTo>
                    <a:pt x="1690" y="2220"/>
                  </a:lnTo>
                  <a:lnTo>
                    <a:pt x="1665" y="2200"/>
                  </a:lnTo>
                  <a:lnTo>
                    <a:pt x="1660" y="2189"/>
                  </a:lnTo>
                  <a:lnTo>
                    <a:pt x="1670" y="2168"/>
                  </a:lnTo>
                  <a:lnTo>
                    <a:pt x="1649" y="2154"/>
                  </a:lnTo>
                  <a:lnTo>
                    <a:pt x="1629" y="2132"/>
                  </a:lnTo>
                  <a:lnTo>
                    <a:pt x="1629" y="2102"/>
                  </a:lnTo>
                  <a:lnTo>
                    <a:pt x="1613" y="2102"/>
                  </a:lnTo>
                  <a:lnTo>
                    <a:pt x="1594" y="2081"/>
                  </a:lnTo>
                  <a:lnTo>
                    <a:pt x="1578" y="2061"/>
                  </a:lnTo>
                  <a:lnTo>
                    <a:pt x="1578" y="2045"/>
                  </a:lnTo>
                  <a:lnTo>
                    <a:pt x="1562" y="2015"/>
                  </a:lnTo>
                  <a:lnTo>
                    <a:pt x="1562" y="1988"/>
                  </a:lnTo>
                  <a:lnTo>
                    <a:pt x="1567" y="1974"/>
                  </a:lnTo>
                  <a:lnTo>
                    <a:pt x="1548" y="1953"/>
                  </a:lnTo>
                  <a:lnTo>
                    <a:pt x="1537" y="1953"/>
                  </a:lnTo>
                  <a:lnTo>
                    <a:pt x="1516" y="1939"/>
                  </a:lnTo>
                  <a:lnTo>
                    <a:pt x="1507" y="1953"/>
                  </a:lnTo>
                  <a:lnTo>
                    <a:pt x="1507" y="1999"/>
                  </a:lnTo>
                  <a:lnTo>
                    <a:pt x="1516" y="2020"/>
                  </a:lnTo>
                  <a:lnTo>
                    <a:pt x="1537" y="2051"/>
                  </a:lnTo>
                  <a:lnTo>
                    <a:pt x="1542" y="2061"/>
                  </a:lnTo>
                  <a:lnTo>
                    <a:pt x="1548" y="2067"/>
                  </a:lnTo>
                  <a:lnTo>
                    <a:pt x="1548" y="2081"/>
                  </a:lnTo>
                  <a:lnTo>
                    <a:pt x="1553" y="2081"/>
                  </a:lnTo>
                  <a:lnTo>
                    <a:pt x="1553" y="2102"/>
                  </a:lnTo>
                  <a:lnTo>
                    <a:pt x="1562" y="2113"/>
                  </a:lnTo>
                  <a:lnTo>
                    <a:pt x="1567" y="2127"/>
                  </a:lnTo>
                  <a:lnTo>
                    <a:pt x="1588" y="2148"/>
                  </a:lnTo>
                  <a:lnTo>
                    <a:pt x="1594" y="2184"/>
                  </a:lnTo>
                  <a:lnTo>
                    <a:pt x="1594" y="2184"/>
                  </a:lnTo>
                  <a:lnTo>
                    <a:pt x="1601" y="2202"/>
                  </a:lnTo>
                  <a:lnTo>
                    <a:pt x="1608" y="2220"/>
                  </a:lnTo>
                  <a:lnTo>
                    <a:pt x="1608" y="2241"/>
                  </a:lnTo>
                  <a:lnTo>
                    <a:pt x="1629" y="2244"/>
                  </a:lnTo>
                  <a:lnTo>
                    <a:pt x="1629" y="2244"/>
                  </a:lnTo>
                  <a:lnTo>
                    <a:pt x="1642" y="2266"/>
                  </a:lnTo>
                  <a:lnTo>
                    <a:pt x="1649" y="2282"/>
                  </a:lnTo>
                  <a:lnTo>
                    <a:pt x="1649" y="2285"/>
                  </a:lnTo>
                  <a:lnTo>
                    <a:pt x="1629" y="2301"/>
                  </a:lnTo>
                  <a:lnTo>
                    <a:pt x="1624" y="2301"/>
                  </a:lnTo>
                  <a:lnTo>
                    <a:pt x="1619" y="2282"/>
                  </a:lnTo>
                  <a:lnTo>
                    <a:pt x="1599" y="2255"/>
                  </a:lnTo>
                  <a:lnTo>
                    <a:pt x="1578" y="2236"/>
                  </a:lnTo>
                  <a:lnTo>
                    <a:pt x="1558" y="2220"/>
                  </a:lnTo>
                  <a:lnTo>
                    <a:pt x="1562" y="2195"/>
                  </a:lnTo>
                  <a:lnTo>
                    <a:pt x="1562" y="2173"/>
                  </a:lnTo>
                  <a:lnTo>
                    <a:pt x="1562" y="2173"/>
                  </a:lnTo>
                  <a:lnTo>
                    <a:pt x="1526" y="2138"/>
                  </a:lnTo>
                  <a:lnTo>
                    <a:pt x="1526" y="2148"/>
                  </a:lnTo>
                  <a:lnTo>
                    <a:pt x="1521" y="2138"/>
                  </a:lnTo>
                  <a:lnTo>
                    <a:pt x="1501" y="2122"/>
                  </a:lnTo>
                  <a:lnTo>
                    <a:pt x="1485" y="2086"/>
                  </a:lnTo>
                  <a:lnTo>
                    <a:pt x="1491" y="2081"/>
                  </a:lnTo>
                  <a:lnTo>
                    <a:pt x="1507" y="2086"/>
                  </a:lnTo>
                  <a:lnTo>
                    <a:pt x="1521" y="2072"/>
                  </a:lnTo>
                  <a:lnTo>
                    <a:pt x="1526" y="2051"/>
                  </a:lnTo>
                  <a:lnTo>
                    <a:pt x="1501" y="2029"/>
                  </a:lnTo>
                  <a:lnTo>
                    <a:pt x="1480" y="2015"/>
                  </a:lnTo>
                  <a:lnTo>
                    <a:pt x="1480" y="2015"/>
                  </a:lnTo>
                  <a:lnTo>
                    <a:pt x="1473" y="1995"/>
                  </a:lnTo>
                  <a:lnTo>
                    <a:pt x="1468" y="1974"/>
                  </a:lnTo>
                  <a:lnTo>
                    <a:pt x="1460" y="1933"/>
                  </a:lnTo>
                  <a:lnTo>
                    <a:pt x="1450" y="1898"/>
                  </a:lnTo>
                  <a:lnTo>
                    <a:pt x="1450" y="1876"/>
                  </a:lnTo>
                  <a:lnTo>
                    <a:pt x="1434" y="1857"/>
                  </a:lnTo>
                  <a:lnTo>
                    <a:pt x="1419" y="1846"/>
                  </a:lnTo>
                  <a:lnTo>
                    <a:pt x="1419" y="1835"/>
                  </a:lnTo>
                  <a:lnTo>
                    <a:pt x="1398" y="1830"/>
                  </a:lnTo>
                  <a:lnTo>
                    <a:pt x="1387" y="1816"/>
                  </a:lnTo>
                  <a:lnTo>
                    <a:pt x="1363" y="1805"/>
                  </a:lnTo>
                  <a:lnTo>
                    <a:pt x="1357" y="1794"/>
                  </a:lnTo>
                  <a:lnTo>
                    <a:pt x="1357" y="1773"/>
                  </a:lnTo>
                  <a:lnTo>
                    <a:pt x="1338" y="1732"/>
                  </a:lnTo>
                  <a:lnTo>
                    <a:pt x="1332" y="1688"/>
                  </a:lnTo>
                  <a:lnTo>
                    <a:pt x="1338" y="1677"/>
                  </a:lnTo>
                  <a:lnTo>
                    <a:pt x="1338" y="1656"/>
                  </a:lnTo>
                  <a:lnTo>
                    <a:pt x="1327" y="1620"/>
                  </a:lnTo>
                  <a:lnTo>
                    <a:pt x="1332" y="1590"/>
                  </a:lnTo>
                  <a:lnTo>
                    <a:pt x="1322" y="1569"/>
                  </a:lnTo>
                  <a:lnTo>
                    <a:pt x="1343" y="1544"/>
                  </a:lnTo>
                  <a:lnTo>
                    <a:pt x="1352" y="1517"/>
                  </a:lnTo>
                  <a:lnTo>
                    <a:pt x="1352" y="1492"/>
                  </a:lnTo>
                  <a:lnTo>
                    <a:pt x="1373" y="1467"/>
                  </a:lnTo>
                  <a:lnTo>
                    <a:pt x="1403" y="1405"/>
                  </a:lnTo>
                  <a:lnTo>
                    <a:pt x="1419" y="1359"/>
                  </a:lnTo>
                  <a:lnTo>
                    <a:pt x="1425" y="1329"/>
                  </a:lnTo>
                  <a:lnTo>
                    <a:pt x="1425" y="1307"/>
                  </a:lnTo>
                  <a:lnTo>
                    <a:pt x="1430" y="1304"/>
                  </a:lnTo>
                  <a:lnTo>
                    <a:pt x="1460" y="1323"/>
                  </a:lnTo>
                  <a:lnTo>
                    <a:pt x="1460" y="1359"/>
                  </a:lnTo>
                  <a:lnTo>
                    <a:pt x="1475" y="1348"/>
                  </a:lnTo>
                  <a:lnTo>
                    <a:pt x="1485" y="1323"/>
                  </a:lnTo>
                  <a:lnTo>
                    <a:pt x="1491" y="1298"/>
                  </a:lnTo>
                  <a:lnTo>
                    <a:pt x="1485" y="1298"/>
                  </a:lnTo>
                  <a:lnTo>
                    <a:pt x="1455" y="1252"/>
                  </a:lnTo>
                  <a:lnTo>
                    <a:pt x="1444" y="1231"/>
                  </a:lnTo>
                  <a:lnTo>
                    <a:pt x="1414" y="1211"/>
                  </a:lnTo>
                  <a:lnTo>
                    <a:pt x="1419" y="1179"/>
                  </a:lnTo>
                  <a:lnTo>
                    <a:pt x="1434" y="1160"/>
                  </a:lnTo>
                  <a:lnTo>
                    <a:pt x="1414" y="1138"/>
                  </a:lnTo>
                  <a:lnTo>
                    <a:pt x="1425" y="1113"/>
                  </a:lnTo>
                  <a:lnTo>
                    <a:pt x="1414" y="1083"/>
                  </a:lnTo>
                  <a:lnTo>
                    <a:pt x="1425" y="1067"/>
                  </a:lnTo>
                  <a:lnTo>
                    <a:pt x="1419" y="1051"/>
                  </a:lnTo>
                  <a:lnTo>
                    <a:pt x="1409" y="1037"/>
                  </a:lnTo>
                  <a:lnTo>
                    <a:pt x="1425" y="1010"/>
                  </a:lnTo>
                  <a:lnTo>
                    <a:pt x="1414" y="980"/>
                  </a:lnTo>
                  <a:lnTo>
                    <a:pt x="1425" y="950"/>
                  </a:lnTo>
                  <a:lnTo>
                    <a:pt x="1398" y="923"/>
                  </a:lnTo>
                  <a:lnTo>
                    <a:pt x="1373" y="914"/>
                  </a:lnTo>
                  <a:lnTo>
                    <a:pt x="1357" y="898"/>
                  </a:lnTo>
                  <a:lnTo>
                    <a:pt x="1347" y="857"/>
                  </a:lnTo>
                  <a:lnTo>
                    <a:pt x="1347" y="857"/>
                  </a:lnTo>
                  <a:lnTo>
                    <a:pt x="1332" y="841"/>
                  </a:lnTo>
                  <a:lnTo>
                    <a:pt x="1327" y="834"/>
                  </a:lnTo>
                  <a:lnTo>
                    <a:pt x="1322" y="827"/>
                  </a:lnTo>
                  <a:lnTo>
                    <a:pt x="1302" y="816"/>
                  </a:lnTo>
                  <a:lnTo>
                    <a:pt x="1281" y="786"/>
                  </a:lnTo>
                  <a:lnTo>
                    <a:pt x="1275" y="765"/>
                  </a:lnTo>
                  <a:lnTo>
                    <a:pt x="1256" y="759"/>
                  </a:lnTo>
                  <a:lnTo>
                    <a:pt x="1234" y="781"/>
                  </a:lnTo>
                  <a:lnTo>
                    <a:pt x="1229" y="781"/>
                  </a:lnTo>
                  <a:lnTo>
                    <a:pt x="1210" y="775"/>
                  </a:lnTo>
                  <a:lnTo>
                    <a:pt x="1188" y="775"/>
                  </a:lnTo>
                  <a:lnTo>
                    <a:pt x="1178" y="770"/>
                  </a:lnTo>
                  <a:lnTo>
                    <a:pt x="1194" y="754"/>
                  </a:lnTo>
                  <a:lnTo>
                    <a:pt x="1218" y="735"/>
                  </a:lnTo>
                  <a:lnTo>
                    <a:pt x="1215" y="740"/>
                  </a:lnTo>
                  <a:lnTo>
                    <a:pt x="1188" y="754"/>
                  </a:lnTo>
                  <a:lnTo>
                    <a:pt x="1153" y="765"/>
                  </a:lnTo>
                  <a:lnTo>
                    <a:pt x="1147" y="786"/>
                  </a:lnTo>
                  <a:lnTo>
                    <a:pt x="1122" y="791"/>
                  </a:lnTo>
                  <a:lnTo>
                    <a:pt x="1076" y="791"/>
                  </a:lnTo>
                  <a:lnTo>
                    <a:pt x="1060" y="800"/>
                  </a:lnTo>
                  <a:lnTo>
                    <a:pt x="1030" y="800"/>
                  </a:lnTo>
                  <a:lnTo>
                    <a:pt x="1014" y="811"/>
                  </a:lnTo>
                  <a:lnTo>
                    <a:pt x="994" y="811"/>
                  </a:lnTo>
                  <a:lnTo>
                    <a:pt x="989" y="800"/>
                  </a:lnTo>
                  <a:lnTo>
                    <a:pt x="932" y="800"/>
                  </a:lnTo>
                  <a:lnTo>
                    <a:pt x="913" y="791"/>
                  </a:lnTo>
                  <a:lnTo>
                    <a:pt x="918" y="786"/>
                  </a:lnTo>
                  <a:lnTo>
                    <a:pt x="959" y="786"/>
                  </a:lnTo>
                  <a:lnTo>
                    <a:pt x="978" y="781"/>
                  </a:lnTo>
                  <a:lnTo>
                    <a:pt x="994" y="791"/>
                  </a:lnTo>
                  <a:lnTo>
                    <a:pt x="1009" y="786"/>
                  </a:lnTo>
                  <a:lnTo>
                    <a:pt x="1041" y="781"/>
                  </a:lnTo>
                  <a:lnTo>
                    <a:pt x="1049" y="775"/>
                  </a:lnTo>
                  <a:lnTo>
                    <a:pt x="1071" y="770"/>
                  </a:lnTo>
                  <a:lnTo>
                    <a:pt x="1090" y="749"/>
                  </a:lnTo>
                  <a:lnTo>
                    <a:pt x="1112" y="740"/>
                  </a:lnTo>
                  <a:lnTo>
                    <a:pt x="1090" y="740"/>
                  </a:lnTo>
                  <a:lnTo>
                    <a:pt x="1090" y="735"/>
                  </a:lnTo>
                  <a:lnTo>
                    <a:pt x="1071" y="740"/>
                  </a:lnTo>
                  <a:lnTo>
                    <a:pt x="1082" y="718"/>
                  </a:lnTo>
                  <a:lnTo>
                    <a:pt x="1066" y="724"/>
                  </a:lnTo>
                  <a:lnTo>
                    <a:pt x="1076" y="708"/>
                  </a:lnTo>
                  <a:lnTo>
                    <a:pt x="1055" y="708"/>
                  </a:lnTo>
                  <a:lnTo>
                    <a:pt x="1049" y="704"/>
                  </a:lnTo>
                  <a:lnTo>
                    <a:pt x="1071" y="688"/>
                  </a:lnTo>
                  <a:lnTo>
                    <a:pt x="1087" y="678"/>
                  </a:lnTo>
                  <a:lnTo>
                    <a:pt x="1090" y="663"/>
                  </a:lnTo>
                  <a:lnTo>
                    <a:pt x="1076" y="667"/>
                  </a:lnTo>
                  <a:lnTo>
                    <a:pt x="1090" y="637"/>
                  </a:lnTo>
                  <a:lnTo>
                    <a:pt x="1112" y="621"/>
                  </a:lnTo>
                  <a:lnTo>
                    <a:pt x="1122" y="606"/>
                  </a:lnTo>
                  <a:lnTo>
                    <a:pt x="1142" y="596"/>
                  </a:lnTo>
                  <a:lnTo>
                    <a:pt x="1163" y="590"/>
                  </a:lnTo>
                  <a:lnTo>
                    <a:pt x="1183" y="580"/>
                  </a:lnTo>
                  <a:lnTo>
                    <a:pt x="1194" y="585"/>
                  </a:lnTo>
                  <a:lnTo>
                    <a:pt x="1194" y="596"/>
                  </a:lnTo>
                  <a:lnTo>
                    <a:pt x="1215" y="590"/>
                  </a:lnTo>
                  <a:lnTo>
                    <a:pt x="1210" y="596"/>
                  </a:lnTo>
                  <a:lnTo>
                    <a:pt x="1224" y="596"/>
                  </a:lnTo>
                  <a:lnTo>
                    <a:pt x="1240" y="585"/>
                  </a:lnTo>
                  <a:lnTo>
                    <a:pt x="1240" y="576"/>
                  </a:lnTo>
                  <a:lnTo>
                    <a:pt x="1259" y="571"/>
                  </a:lnTo>
                  <a:lnTo>
                    <a:pt x="1256" y="566"/>
                  </a:lnTo>
                  <a:lnTo>
                    <a:pt x="1240" y="560"/>
                  </a:lnTo>
                  <a:lnTo>
                    <a:pt x="1229" y="566"/>
                  </a:lnTo>
                  <a:lnTo>
                    <a:pt x="1215" y="555"/>
                  </a:lnTo>
                  <a:lnTo>
                    <a:pt x="1215" y="539"/>
                  </a:lnTo>
                  <a:lnTo>
                    <a:pt x="1224" y="530"/>
                  </a:lnTo>
                  <a:lnTo>
                    <a:pt x="1240" y="509"/>
                  </a:lnTo>
                  <a:lnTo>
                    <a:pt x="1259" y="509"/>
                  </a:lnTo>
                  <a:lnTo>
                    <a:pt x="1286" y="514"/>
                  </a:lnTo>
                  <a:lnTo>
                    <a:pt x="1291" y="519"/>
                  </a:lnTo>
                  <a:lnTo>
                    <a:pt x="1270" y="530"/>
                  </a:lnTo>
                  <a:lnTo>
                    <a:pt x="1286" y="544"/>
                  </a:lnTo>
                  <a:lnTo>
                    <a:pt x="1302" y="525"/>
                  </a:lnTo>
                  <a:lnTo>
                    <a:pt x="1306" y="509"/>
                  </a:lnTo>
                  <a:lnTo>
                    <a:pt x="1322" y="493"/>
                  </a:lnTo>
                  <a:lnTo>
                    <a:pt x="1332" y="478"/>
                  </a:lnTo>
                  <a:lnTo>
                    <a:pt x="1338" y="462"/>
                  </a:lnTo>
                  <a:lnTo>
                    <a:pt x="1357" y="457"/>
                  </a:lnTo>
                  <a:lnTo>
                    <a:pt x="1368" y="468"/>
                  </a:lnTo>
                  <a:lnTo>
                    <a:pt x="1387" y="468"/>
                  </a:lnTo>
                  <a:lnTo>
                    <a:pt x="1409" y="457"/>
                  </a:lnTo>
                  <a:lnTo>
                    <a:pt x="1430" y="452"/>
                  </a:lnTo>
                  <a:lnTo>
                    <a:pt x="1439" y="457"/>
                  </a:lnTo>
                  <a:lnTo>
                    <a:pt x="1466" y="462"/>
                  </a:lnTo>
                  <a:lnTo>
                    <a:pt x="1471" y="468"/>
                  </a:lnTo>
                  <a:lnTo>
                    <a:pt x="1485" y="468"/>
                  </a:lnTo>
                  <a:lnTo>
                    <a:pt x="1491" y="484"/>
                  </a:lnTo>
                  <a:lnTo>
                    <a:pt x="1480" y="498"/>
                  </a:lnTo>
                  <a:lnTo>
                    <a:pt x="1491" y="498"/>
                  </a:lnTo>
                  <a:lnTo>
                    <a:pt x="1507" y="509"/>
                  </a:lnTo>
                  <a:lnTo>
                    <a:pt x="1496" y="509"/>
                  </a:lnTo>
                  <a:lnTo>
                    <a:pt x="1507" y="525"/>
                  </a:lnTo>
                  <a:lnTo>
                    <a:pt x="1521" y="530"/>
                  </a:lnTo>
                  <a:lnTo>
                    <a:pt x="1532" y="550"/>
                  </a:lnTo>
                  <a:lnTo>
                    <a:pt x="1553" y="566"/>
                  </a:lnTo>
                  <a:lnTo>
                    <a:pt x="1558" y="576"/>
                  </a:lnTo>
                  <a:lnTo>
                    <a:pt x="1578" y="580"/>
                  </a:lnTo>
                  <a:lnTo>
                    <a:pt x="1588" y="596"/>
                  </a:lnTo>
                  <a:lnTo>
                    <a:pt x="1588" y="596"/>
                  </a:lnTo>
                  <a:lnTo>
                    <a:pt x="1603" y="608"/>
                  </a:lnTo>
                  <a:lnTo>
                    <a:pt x="1606" y="612"/>
                  </a:lnTo>
                  <a:lnTo>
                    <a:pt x="1608" y="617"/>
                  </a:lnTo>
                  <a:lnTo>
                    <a:pt x="1619" y="637"/>
                  </a:lnTo>
                  <a:lnTo>
                    <a:pt x="1629" y="647"/>
                  </a:lnTo>
                  <a:lnTo>
                    <a:pt x="1649" y="642"/>
                  </a:lnTo>
                  <a:lnTo>
                    <a:pt x="1670" y="642"/>
                  </a:lnTo>
                  <a:lnTo>
                    <a:pt x="1690" y="653"/>
                  </a:lnTo>
                  <a:lnTo>
                    <a:pt x="1722" y="647"/>
                  </a:lnTo>
                  <a:lnTo>
                    <a:pt x="1741" y="647"/>
                  </a:lnTo>
                  <a:lnTo>
                    <a:pt x="1741" y="663"/>
                  </a:lnTo>
                  <a:lnTo>
                    <a:pt x="1757" y="658"/>
                  </a:lnTo>
                  <a:lnTo>
                    <a:pt x="1772" y="647"/>
                  </a:lnTo>
                  <a:lnTo>
                    <a:pt x="1782" y="653"/>
                  </a:lnTo>
                  <a:lnTo>
                    <a:pt x="1788" y="678"/>
                  </a:lnTo>
                  <a:lnTo>
                    <a:pt x="1818" y="663"/>
                  </a:lnTo>
                  <a:lnTo>
                    <a:pt x="1804" y="683"/>
                  </a:lnTo>
                  <a:lnTo>
                    <a:pt x="1823" y="683"/>
                  </a:lnTo>
                  <a:lnTo>
                    <a:pt x="1834" y="678"/>
                  </a:lnTo>
                  <a:lnTo>
                    <a:pt x="1855" y="683"/>
                  </a:lnTo>
                  <a:lnTo>
                    <a:pt x="1875" y="704"/>
                  </a:lnTo>
                  <a:lnTo>
                    <a:pt x="1905" y="724"/>
                  </a:lnTo>
                  <a:lnTo>
                    <a:pt x="1926" y="735"/>
                  </a:lnTo>
                  <a:lnTo>
                    <a:pt x="1946" y="735"/>
                  </a:lnTo>
                  <a:lnTo>
                    <a:pt x="1967" y="754"/>
                  </a:lnTo>
                  <a:lnTo>
                    <a:pt x="1937" y="765"/>
                  </a:lnTo>
                  <a:lnTo>
                    <a:pt x="1962" y="781"/>
                  </a:lnTo>
                  <a:lnTo>
                    <a:pt x="2014" y="786"/>
                  </a:lnTo>
                  <a:lnTo>
                    <a:pt x="2033" y="781"/>
                  </a:lnTo>
                  <a:lnTo>
                    <a:pt x="2049" y="800"/>
                  </a:lnTo>
                  <a:lnTo>
                    <a:pt x="2074" y="791"/>
                  </a:lnTo>
                  <a:lnTo>
                    <a:pt x="2060" y="775"/>
                  </a:lnTo>
                  <a:lnTo>
                    <a:pt x="2074" y="765"/>
                  </a:lnTo>
                  <a:lnTo>
                    <a:pt x="2101" y="765"/>
                  </a:lnTo>
                  <a:lnTo>
                    <a:pt x="2115" y="775"/>
                  </a:lnTo>
                  <a:lnTo>
                    <a:pt x="2131" y="795"/>
                  </a:lnTo>
                  <a:lnTo>
                    <a:pt x="2152" y="795"/>
                  </a:lnTo>
                  <a:lnTo>
                    <a:pt x="2183" y="816"/>
                  </a:lnTo>
                  <a:lnTo>
                    <a:pt x="2213" y="816"/>
                  </a:lnTo>
                  <a:lnTo>
                    <a:pt x="2240" y="822"/>
                  </a:lnTo>
                  <a:lnTo>
                    <a:pt x="2240" y="800"/>
                  </a:lnTo>
                  <a:lnTo>
                    <a:pt x="2259" y="795"/>
                  </a:lnTo>
                  <a:lnTo>
                    <a:pt x="2284" y="811"/>
                  </a:lnTo>
                  <a:lnTo>
                    <a:pt x="2280" y="836"/>
                  </a:lnTo>
                  <a:lnTo>
                    <a:pt x="2295" y="816"/>
                  </a:lnTo>
                  <a:lnTo>
                    <a:pt x="2311" y="816"/>
                  </a:lnTo>
                  <a:lnTo>
                    <a:pt x="2327" y="791"/>
                  </a:lnTo>
                  <a:lnTo>
                    <a:pt x="2305" y="770"/>
                  </a:lnTo>
                  <a:lnTo>
                    <a:pt x="2284" y="754"/>
                  </a:lnTo>
                  <a:lnTo>
                    <a:pt x="2289" y="724"/>
                  </a:lnTo>
                  <a:lnTo>
                    <a:pt x="2311" y="704"/>
                  </a:lnTo>
                  <a:lnTo>
                    <a:pt x="2330" y="708"/>
                  </a:lnTo>
                  <a:lnTo>
                    <a:pt x="2352" y="724"/>
                  </a:lnTo>
                  <a:lnTo>
                    <a:pt x="2371" y="754"/>
                  </a:lnTo>
                  <a:lnTo>
                    <a:pt x="2352" y="770"/>
                  </a:lnTo>
                  <a:lnTo>
                    <a:pt x="2387" y="781"/>
                  </a:lnTo>
                  <a:lnTo>
                    <a:pt x="2387" y="806"/>
                  </a:lnTo>
                  <a:lnTo>
                    <a:pt x="2412" y="786"/>
                  </a:lnTo>
                  <a:lnTo>
                    <a:pt x="2433" y="806"/>
                  </a:lnTo>
                  <a:lnTo>
                    <a:pt x="2428" y="827"/>
                  </a:lnTo>
                  <a:lnTo>
                    <a:pt x="2449" y="847"/>
                  </a:lnTo>
                  <a:lnTo>
                    <a:pt x="2469" y="827"/>
                  </a:lnTo>
                  <a:lnTo>
                    <a:pt x="2485" y="806"/>
                  </a:lnTo>
                  <a:lnTo>
                    <a:pt x="2485" y="775"/>
                  </a:lnTo>
                  <a:lnTo>
                    <a:pt x="2485" y="775"/>
                  </a:lnTo>
                  <a:lnTo>
                    <a:pt x="2499" y="775"/>
                  </a:lnTo>
                  <a:lnTo>
                    <a:pt x="2513" y="777"/>
                  </a:lnTo>
                  <a:lnTo>
                    <a:pt x="2526" y="779"/>
                  </a:lnTo>
                  <a:lnTo>
                    <a:pt x="2540" y="781"/>
                  </a:lnTo>
                  <a:lnTo>
                    <a:pt x="2567" y="795"/>
                  </a:lnTo>
                  <a:lnTo>
                    <a:pt x="2572" y="811"/>
                  </a:lnTo>
                  <a:lnTo>
                    <a:pt x="2556" y="827"/>
                  </a:lnTo>
                  <a:lnTo>
                    <a:pt x="2567" y="836"/>
                  </a:lnTo>
                  <a:lnTo>
                    <a:pt x="2561" y="847"/>
                  </a:lnTo>
                  <a:lnTo>
                    <a:pt x="2537" y="852"/>
                  </a:lnTo>
                  <a:lnTo>
                    <a:pt x="2510" y="841"/>
                  </a:lnTo>
                  <a:lnTo>
                    <a:pt x="2505" y="857"/>
                  </a:lnTo>
                  <a:lnTo>
                    <a:pt x="2485" y="877"/>
                  </a:lnTo>
                  <a:lnTo>
                    <a:pt x="2480" y="893"/>
                  </a:lnTo>
                  <a:lnTo>
                    <a:pt x="2458" y="914"/>
                  </a:lnTo>
                  <a:lnTo>
                    <a:pt x="2428" y="914"/>
                  </a:lnTo>
                  <a:lnTo>
                    <a:pt x="2398" y="923"/>
                  </a:lnTo>
                  <a:lnTo>
                    <a:pt x="2398" y="944"/>
                  </a:lnTo>
                  <a:lnTo>
                    <a:pt x="2371" y="950"/>
                  </a:lnTo>
                  <a:lnTo>
                    <a:pt x="2341" y="969"/>
                  </a:lnTo>
                  <a:lnTo>
                    <a:pt x="2316" y="1001"/>
                  </a:lnTo>
                  <a:lnTo>
                    <a:pt x="2300" y="1026"/>
                  </a:lnTo>
                  <a:lnTo>
                    <a:pt x="2295" y="1062"/>
                  </a:lnTo>
                  <a:lnTo>
                    <a:pt x="2330" y="1072"/>
                  </a:lnTo>
                  <a:lnTo>
                    <a:pt x="2341" y="1103"/>
                  </a:lnTo>
                  <a:lnTo>
                    <a:pt x="2352" y="1124"/>
                  </a:lnTo>
                  <a:lnTo>
                    <a:pt x="2387" y="1119"/>
                  </a:lnTo>
                  <a:lnTo>
                    <a:pt x="2439" y="1133"/>
                  </a:lnTo>
                  <a:lnTo>
                    <a:pt x="2464" y="1149"/>
                  </a:lnTo>
                  <a:lnTo>
                    <a:pt x="2485" y="1165"/>
                  </a:lnTo>
                  <a:lnTo>
                    <a:pt x="2515" y="1176"/>
                  </a:lnTo>
                  <a:lnTo>
                    <a:pt x="2540" y="1190"/>
                  </a:lnTo>
                  <a:lnTo>
                    <a:pt x="2540" y="1190"/>
                  </a:lnTo>
                  <a:lnTo>
                    <a:pt x="2577" y="1192"/>
                  </a:lnTo>
                  <a:lnTo>
                    <a:pt x="2595" y="1192"/>
                  </a:lnTo>
                  <a:lnTo>
                    <a:pt x="2613" y="1195"/>
                  </a:lnTo>
                  <a:lnTo>
                    <a:pt x="2613" y="1220"/>
                  </a:lnTo>
                  <a:lnTo>
                    <a:pt x="2627" y="1252"/>
                  </a:lnTo>
                  <a:lnTo>
                    <a:pt x="2649" y="1288"/>
                  </a:lnTo>
                  <a:lnTo>
                    <a:pt x="2695" y="1318"/>
                  </a:lnTo>
                  <a:lnTo>
                    <a:pt x="2714" y="1304"/>
                  </a:lnTo>
                  <a:lnTo>
                    <a:pt x="2725" y="1266"/>
                  </a:lnTo>
                  <a:lnTo>
                    <a:pt x="2706" y="1216"/>
                  </a:lnTo>
                  <a:lnTo>
                    <a:pt x="2684" y="1195"/>
                  </a:lnTo>
                  <a:lnTo>
                    <a:pt x="2725" y="1176"/>
                  </a:lnTo>
                  <a:lnTo>
                    <a:pt x="2746" y="1154"/>
                  </a:lnTo>
                  <a:lnTo>
                    <a:pt x="2755" y="1133"/>
                  </a:lnTo>
                  <a:lnTo>
                    <a:pt x="2752" y="1113"/>
                  </a:lnTo>
                  <a:lnTo>
                    <a:pt x="2730" y="1088"/>
                  </a:lnTo>
                  <a:lnTo>
                    <a:pt x="2700" y="1067"/>
                  </a:lnTo>
                  <a:lnTo>
                    <a:pt x="2720" y="1037"/>
                  </a:lnTo>
                  <a:lnTo>
                    <a:pt x="2700" y="1010"/>
                  </a:lnTo>
                  <a:lnTo>
                    <a:pt x="2679" y="964"/>
                  </a:lnTo>
                  <a:lnTo>
                    <a:pt x="2695" y="955"/>
                  </a:lnTo>
                  <a:lnTo>
                    <a:pt x="2736" y="960"/>
                  </a:lnTo>
                  <a:lnTo>
                    <a:pt x="2755" y="960"/>
                  </a:lnTo>
                  <a:lnTo>
                    <a:pt x="2771" y="950"/>
                  </a:lnTo>
                  <a:lnTo>
                    <a:pt x="2793" y="960"/>
                  </a:lnTo>
                  <a:lnTo>
                    <a:pt x="2823" y="975"/>
                  </a:lnTo>
                  <a:lnTo>
                    <a:pt x="2834" y="985"/>
                  </a:lnTo>
                  <a:lnTo>
                    <a:pt x="2875" y="985"/>
                  </a:lnTo>
                  <a:lnTo>
                    <a:pt x="2883" y="1010"/>
                  </a:lnTo>
                  <a:lnTo>
                    <a:pt x="2905" y="1048"/>
                  </a:lnTo>
                  <a:lnTo>
                    <a:pt x="2924" y="1051"/>
                  </a:lnTo>
                  <a:lnTo>
                    <a:pt x="2946" y="1072"/>
                  </a:lnTo>
                  <a:lnTo>
                    <a:pt x="2971" y="1051"/>
                  </a:lnTo>
                  <a:lnTo>
                    <a:pt x="2981" y="1016"/>
                  </a:lnTo>
                  <a:lnTo>
                    <a:pt x="2992" y="996"/>
                  </a:lnTo>
                  <a:lnTo>
                    <a:pt x="2992" y="996"/>
                  </a:lnTo>
                  <a:lnTo>
                    <a:pt x="3047" y="1044"/>
                  </a:lnTo>
                  <a:lnTo>
                    <a:pt x="3074" y="1069"/>
                  </a:lnTo>
                  <a:lnTo>
                    <a:pt x="3104" y="1092"/>
                  </a:lnTo>
                  <a:lnTo>
                    <a:pt x="3104" y="1113"/>
                  </a:lnTo>
                  <a:lnTo>
                    <a:pt x="3140" y="1129"/>
                  </a:lnTo>
                  <a:lnTo>
                    <a:pt x="3166" y="1144"/>
                  </a:lnTo>
                  <a:lnTo>
                    <a:pt x="3202" y="1144"/>
                  </a:lnTo>
                  <a:lnTo>
                    <a:pt x="3223" y="1154"/>
                  </a:lnTo>
                  <a:lnTo>
                    <a:pt x="3243" y="1179"/>
                  </a:lnTo>
                  <a:lnTo>
                    <a:pt x="3264" y="1179"/>
                  </a:lnTo>
                  <a:lnTo>
                    <a:pt x="3278" y="1190"/>
                  </a:lnTo>
                  <a:lnTo>
                    <a:pt x="3300" y="1225"/>
                  </a:lnTo>
                  <a:lnTo>
                    <a:pt x="3300" y="1225"/>
                  </a:lnTo>
                  <a:lnTo>
                    <a:pt x="3289" y="1241"/>
                  </a:lnTo>
                  <a:lnTo>
                    <a:pt x="3278" y="1257"/>
                  </a:lnTo>
                  <a:lnTo>
                    <a:pt x="3248" y="1277"/>
                  </a:lnTo>
                  <a:lnTo>
                    <a:pt x="3227" y="1307"/>
                  </a:lnTo>
                  <a:lnTo>
                    <a:pt x="3191" y="1323"/>
                  </a:lnTo>
                  <a:lnTo>
                    <a:pt x="3136" y="1323"/>
                  </a:lnTo>
                  <a:lnTo>
                    <a:pt x="3099" y="1329"/>
                  </a:lnTo>
                  <a:lnTo>
                    <a:pt x="3074" y="1334"/>
                  </a:lnTo>
                  <a:lnTo>
                    <a:pt x="3058" y="1359"/>
                  </a:lnTo>
                  <a:lnTo>
                    <a:pt x="3033" y="1380"/>
                  </a:lnTo>
                  <a:lnTo>
                    <a:pt x="3008" y="1432"/>
                  </a:lnTo>
                  <a:lnTo>
                    <a:pt x="2987" y="1467"/>
                  </a:lnTo>
                  <a:lnTo>
                    <a:pt x="3008" y="1457"/>
                  </a:lnTo>
                  <a:lnTo>
                    <a:pt x="3038" y="1405"/>
                  </a:lnTo>
                  <a:lnTo>
                    <a:pt x="3084" y="1369"/>
                  </a:lnTo>
                  <a:lnTo>
                    <a:pt x="3120" y="1359"/>
                  </a:lnTo>
                  <a:lnTo>
                    <a:pt x="3145" y="1375"/>
                  </a:lnTo>
                  <a:lnTo>
                    <a:pt x="3125" y="1400"/>
                  </a:lnTo>
                  <a:lnTo>
                    <a:pt x="3145" y="1435"/>
                  </a:lnTo>
                  <a:lnTo>
                    <a:pt x="3166" y="1457"/>
                  </a:lnTo>
                  <a:lnTo>
                    <a:pt x="3207" y="1473"/>
                  </a:lnTo>
                  <a:lnTo>
                    <a:pt x="3248" y="1457"/>
                  </a:lnTo>
                  <a:lnTo>
                    <a:pt x="3264" y="1416"/>
                  </a:lnTo>
                  <a:lnTo>
                    <a:pt x="3273" y="1435"/>
                  </a:lnTo>
                  <a:lnTo>
                    <a:pt x="3294" y="1446"/>
                  </a:lnTo>
                  <a:lnTo>
                    <a:pt x="3273" y="1473"/>
                  </a:lnTo>
                  <a:lnTo>
                    <a:pt x="3223" y="1503"/>
                  </a:lnTo>
                  <a:lnTo>
                    <a:pt x="3202" y="1522"/>
                  </a:lnTo>
                  <a:lnTo>
                    <a:pt x="3181" y="1549"/>
                  </a:lnTo>
                  <a:lnTo>
                    <a:pt x="3161" y="1549"/>
                  </a:lnTo>
                  <a:lnTo>
                    <a:pt x="3150" y="1522"/>
                  </a:lnTo>
                  <a:lnTo>
                    <a:pt x="3191" y="1487"/>
                  </a:lnTo>
                  <a:lnTo>
                    <a:pt x="3131" y="1508"/>
                  </a:lnTo>
                  <a:lnTo>
                    <a:pt x="3104" y="1517"/>
                  </a:lnTo>
                  <a:lnTo>
                    <a:pt x="3115" y="1528"/>
                  </a:lnTo>
                  <a:lnTo>
                    <a:pt x="3090" y="1549"/>
                  </a:lnTo>
                  <a:lnTo>
                    <a:pt x="3038" y="1579"/>
                  </a:lnTo>
                  <a:lnTo>
                    <a:pt x="3022" y="1595"/>
                  </a:lnTo>
                  <a:lnTo>
                    <a:pt x="3017" y="1601"/>
                  </a:lnTo>
                  <a:lnTo>
                    <a:pt x="3022" y="1620"/>
                  </a:lnTo>
                  <a:lnTo>
                    <a:pt x="3038" y="1642"/>
                  </a:lnTo>
                  <a:lnTo>
                    <a:pt x="3052" y="1642"/>
                  </a:lnTo>
                  <a:lnTo>
                    <a:pt x="3049" y="1631"/>
                  </a:lnTo>
                  <a:lnTo>
                    <a:pt x="3058" y="1642"/>
                  </a:lnTo>
                  <a:lnTo>
                    <a:pt x="3038" y="1650"/>
                  </a:lnTo>
                  <a:lnTo>
                    <a:pt x="3022" y="1650"/>
                  </a:lnTo>
                  <a:lnTo>
                    <a:pt x="3003" y="1656"/>
                  </a:lnTo>
                  <a:lnTo>
                    <a:pt x="3003" y="1656"/>
                  </a:lnTo>
                  <a:lnTo>
                    <a:pt x="2994" y="1659"/>
                  </a:lnTo>
                  <a:lnTo>
                    <a:pt x="2987" y="1661"/>
                  </a:lnTo>
                  <a:lnTo>
                    <a:pt x="2971" y="1661"/>
                  </a:lnTo>
                  <a:lnTo>
                    <a:pt x="2951" y="1677"/>
                  </a:lnTo>
                  <a:lnTo>
                    <a:pt x="2997" y="1666"/>
                  </a:lnTo>
                  <a:lnTo>
                    <a:pt x="3008" y="1672"/>
                  </a:lnTo>
                  <a:lnTo>
                    <a:pt x="2967" y="1688"/>
                  </a:lnTo>
                  <a:lnTo>
                    <a:pt x="2946" y="1688"/>
                  </a:lnTo>
                  <a:lnTo>
                    <a:pt x="2946" y="1682"/>
                  </a:lnTo>
                  <a:lnTo>
                    <a:pt x="2935" y="1691"/>
                  </a:lnTo>
                  <a:lnTo>
                    <a:pt x="2946" y="1691"/>
                  </a:lnTo>
                  <a:lnTo>
                    <a:pt x="2940" y="1718"/>
                  </a:lnTo>
                  <a:lnTo>
                    <a:pt x="2921" y="1754"/>
                  </a:lnTo>
                  <a:lnTo>
                    <a:pt x="2910" y="1743"/>
                  </a:lnTo>
                  <a:lnTo>
                    <a:pt x="2899" y="1743"/>
                  </a:lnTo>
                  <a:lnTo>
                    <a:pt x="2883" y="1732"/>
                  </a:lnTo>
                  <a:lnTo>
                    <a:pt x="2894" y="1754"/>
                  </a:lnTo>
                  <a:lnTo>
                    <a:pt x="2905" y="1759"/>
                  </a:lnTo>
                  <a:lnTo>
                    <a:pt x="2910" y="1773"/>
                  </a:lnTo>
                  <a:lnTo>
                    <a:pt x="2905" y="1789"/>
                  </a:lnTo>
                  <a:lnTo>
                    <a:pt x="2889" y="1819"/>
                  </a:lnTo>
                  <a:lnTo>
                    <a:pt x="2883" y="1819"/>
                  </a:lnTo>
                  <a:lnTo>
                    <a:pt x="2894" y="1794"/>
                  </a:lnTo>
                  <a:lnTo>
                    <a:pt x="2875" y="1778"/>
                  </a:lnTo>
                  <a:lnTo>
                    <a:pt x="2869" y="1743"/>
                  </a:lnTo>
                  <a:lnTo>
                    <a:pt x="2864" y="1764"/>
                  </a:lnTo>
                  <a:lnTo>
                    <a:pt x="2875" y="1784"/>
                  </a:lnTo>
                  <a:lnTo>
                    <a:pt x="2853" y="1778"/>
                  </a:lnTo>
                  <a:lnTo>
                    <a:pt x="2875" y="1789"/>
                  </a:lnTo>
                  <a:lnTo>
                    <a:pt x="2880" y="1825"/>
                  </a:lnTo>
                  <a:lnTo>
                    <a:pt x="2889" y="1825"/>
                  </a:lnTo>
                  <a:lnTo>
                    <a:pt x="2894" y="1841"/>
                  </a:lnTo>
                  <a:lnTo>
                    <a:pt x="2905" y="1876"/>
                  </a:lnTo>
                  <a:lnTo>
                    <a:pt x="2883" y="1901"/>
                  </a:lnTo>
                  <a:lnTo>
                    <a:pt x="2853" y="1917"/>
                  </a:lnTo>
                  <a:lnTo>
                    <a:pt x="2834" y="1939"/>
                  </a:lnTo>
                  <a:lnTo>
                    <a:pt x="2812" y="1947"/>
                  </a:lnTo>
                  <a:lnTo>
                    <a:pt x="2793" y="1963"/>
                  </a:lnTo>
                  <a:lnTo>
                    <a:pt x="2787" y="1979"/>
                  </a:lnTo>
                  <a:lnTo>
                    <a:pt x="2752" y="2004"/>
                  </a:lnTo>
                  <a:lnTo>
                    <a:pt x="2730" y="2026"/>
                  </a:lnTo>
                  <a:lnTo>
                    <a:pt x="2714" y="2045"/>
                  </a:lnTo>
                  <a:lnTo>
                    <a:pt x="2714" y="2072"/>
                  </a:lnTo>
                  <a:lnTo>
                    <a:pt x="2725" y="2097"/>
                  </a:lnTo>
                  <a:lnTo>
                    <a:pt x="2741" y="2127"/>
                  </a:lnTo>
                  <a:lnTo>
                    <a:pt x="2761" y="2154"/>
                  </a:lnTo>
                  <a:lnTo>
                    <a:pt x="2761" y="2173"/>
                  </a:lnTo>
                  <a:lnTo>
                    <a:pt x="2782" y="2220"/>
                  </a:lnTo>
                  <a:lnTo>
                    <a:pt x="2782" y="2260"/>
                  </a:lnTo>
                  <a:lnTo>
                    <a:pt x="2766" y="2285"/>
                  </a:lnTo>
                  <a:lnTo>
                    <a:pt x="2755" y="2291"/>
                  </a:lnTo>
                  <a:lnTo>
                    <a:pt x="2736" y="2285"/>
                  </a:lnTo>
                  <a:lnTo>
                    <a:pt x="2730" y="2266"/>
                  </a:lnTo>
                  <a:lnTo>
                    <a:pt x="2714" y="2255"/>
                  </a:lnTo>
                  <a:lnTo>
                    <a:pt x="2714" y="2255"/>
                  </a:lnTo>
                  <a:lnTo>
                    <a:pt x="2704" y="2241"/>
                  </a:lnTo>
                  <a:lnTo>
                    <a:pt x="2695" y="2225"/>
                  </a:lnTo>
                  <a:lnTo>
                    <a:pt x="2679" y="2195"/>
                  </a:lnTo>
                  <a:lnTo>
                    <a:pt x="2674" y="2179"/>
                  </a:lnTo>
                  <a:lnTo>
                    <a:pt x="2684" y="2154"/>
                  </a:lnTo>
                  <a:lnTo>
                    <a:pt x="2674" y="2132"/>
                  </a:lnTo>
                  <a:lnTo>
                    <a:pt x="2649" y="2102"/>
                  </a:lnTo>
                  <a:lnTo>
                    <a:pt x="2638" y="2102"/>
                  </a:lnTo>
                  <a:lnTo>
                    <a:pt x="2583" y="2113"/>
                  </a:lnTo>
                  <a:lnTo>
                    <a:pt x="2577" y="2113"/>
                  </a:lnTo>
                  <a:lnTo>
                    <a:pt x="2561" y="2097"/>
                  </a:lnTo>
                  <a:lnTo>
                    <a:pt x="2540" y="2086"/>
                  </a:lnTo>
                  <a:lnTo>
                    <a:pt x="2496" y="2091"/>
                  </a:lnTo>
                  <a:lnTo>
                    <a:pt x="2458" y="2086"/>
                  </a:lnTo>
                  <a:lnTo>
                    <a:pt x="2433" y="2086"/>
                  </a:lnTo>
                  <a:lnTo>
                    <a:pt x="2412" y="2091"/>
                  </a:lnTo>
                  <a:lnTo>
                    <a:pt x="2423" y="2102"/>
                  </a:lnTo>
                  <a:lnTo>
                    <a:pt x="2423" y="2116"/>
                  </a:lnTo>
                  <a:lnTo>
                    <a:pt x="2433" y="2127"/>
                  </a:lnTo>
                  <a:lnTo>
                    <a:pt x="2423" y="2132"/>
                  </a:lnTo>
                  <a:lnTo>
                    <a:pt x="2409" y="2122"/>
                  </a:lnTo>
                  <a:lnTo>
                    <a:pt x="2392" y="2127"/>
                  </a:lnTo>
                  <a:lnTo>
                    <a:pt x="2368" y="2127"/>
                  </a:lnTo>
                  <a:lnTo>
                    <a:pt x="2336" y="2102"/>
                  </a:lnTo>
                  <a:lnTo>
                    <a:pt x="2305" y="2107"/>
                  </a:lnTo>
                  <a:lnTo>
                    <a:pt x="2280" y="2102"/>
                  </a:lnTo>
                  <a:lnTo>
                    <a:pt x="2254" y="2102"/>
                  </a:lnTo>
                  <a:lnTo>
                    <a:pt x="2224" y="2113"/>
                  </a:lnTo>
                  <a:lnTo>
                    <a:pt x="2188" y="2138"/>
                  </a:lnTo>
                  <a:lnTo>
                    <a:pt x="2152" y="2154"/>
                  </a:lnTo>
                  <a:lnTo>
                    <a:pt x="2126" y="2168"/>
                  </a:lnTo>
                  <a:lnTo>
                    <a:pt x="2115" y="2189"/>
                  </a:lnTo>
                  <a:lnTo>
                    <a:pt x="2111" y="2214"/>
                  </a:lnTo>
                  <a:lnTo>
                    <a:pt x="2111" y="2236"/>
                  </a:lnTo>
                  <a:lnTo>
                    <a:pt x="2115" y="2250"/>
                  </a:lnTo>
                  <a:lnTo>
                    <a:pt x="2095" y="2282"/>
                  </a:lnTo>
                  <a:lnTo>
                    <a:pt x="2085" y="2307"/>
                  </a:lnTo>
                  <a:lnTo>
                    <a:pt x="2085" y="2358"/>
                  </a:lnTo>
                  <a:lnTo>
                    <a:pt x="2074" y="2378"/>
                  </a:lnTo>
                  <a:lnTo>
                    <a:pt x="2079" y="2399"/>
                  </a:lnTo>
                  <a:lnTo>
                    <a:pt x="2090" y="2419"/>
                  </a:lnTo>
                  <a:lnTo>
                    <a:pt x="2095" y="2451"/>
                  </a:lnTo>
                  <a:lnTo>
                    <a:pt x="2115" y="2481"/>
                  </a:lnTo>
                  <a:lnTo>
                    <a:pt x="2126" y="2501"/>
                  </a:lnTo>
                  <a:lnTo>
                    <a:pt x="2142" y="2522"/>
                  </a:lnTo>
                  <a:lnTo>
                    <a:pt x="2183" y="2538"/>
                  </a:lnTo>
                  <a:lnTo>
                    <a:pt x="2199" y="2557"/>
                  </a:lnTo>
                  <a:lnTo>
                    <a:pt x="2234" y="2547"/>
                  </a:lnTo>
                  <a:lnTo>
                    <a:pt x="2264" y="2541"/>
                  </a:lnTo>
                  <a:lnTo>
                    <a:pt x="2264" y="2541"/>
                  </a:lnTo>
                  <a:lnTo>
                    <a:pt x="2293" y="2536"/>
                  </a:lnTo>
                  <a:lnTo>
                    <a:pt x="2305" y="2533"/>
                  </a:lnTo>
                  <a:lnTo>
                    <a:pt x="2321" y="2533"/>
                  </a:lnTo>
                  <a:lnTo>
                    <a:pt x="2346" y="2517"/>
                  </a:lnTo>
                  <a:lnTo>
                    <a:pt x="2357" y="2497"/>
                  </a:lnTo>
                  <a:lnTo>
                    <a:pt x="2362" y="2465"/>
                  </a:lnTo>
                  <a:lnTo>
                    <a:pt x="2371" y="2456"/>
                  </a:lnTo>
                  <a:lnTo>
                    <a:pt x="2398" y="2445"/>
                  </a:lnTo>
                  <a:lnTo>
                    <a:pt x="2439" y="2435"/>
                  </a:lnTo>
                  <a:lnTo>
                    <a:pt x="2474" y="2435"/>
                  </a:lnTo>
                  <a:lnTo>
                    <a:pt x="2496" y="2429"/>
                  </a:lnTo>
                  <a:lnTo>
                    <a:pt x="2505" y="2440"/>
                  </a:lnTo>
                  <a:lnTo>
                    <a:pt x="2505" y="2460"/>
                  </a:lnTo>
                  <a:lnTo>
                    <a:pt x="2485" y="2481"/>
                  </a:lnTo>
                  <a:lnTo>
                    <a:pt x="2474" y="2501"/>
                  </a:lnTo>
                  <a:lnTo>
                    <a:pt x="2485" y="2506"/>
                  </a:lnTo>
                  <a:lnTo>
                    <a:pt x="2485" y="2506"/>
                  </a:lnTo>
                  <a:lnTo>
                    <a:pt x="2480" y="2518"/>
                  </a:lnTo>
                  <a:lnTo>
                    <a:pt x="2474" y="2529"/>
                  </a:lnTo>
                  <a:lnTo>
                    <a:pt x="2469" y="2541"/>
                  </a:lnTo>
                  <a:lnTo>
                    <a:pt x="2464" y="2552"/>
                  </a:lnTo>
                  <a:lnTo>
                    <a:pt x="2458" y="2538"/>
                  </a:lnTo>
                  <a:lnTo>
                    <a:pt x="2449" y="2538"/>
                  </a:lnTo>
                  <a:lnTo>
                    <a:pt x="2449" y="2541"/>
                  </a:lnTo>
                  <a:lnTo>
                    <a:pt x="2458" y="2541"/>
                  </a:lnTo>
                  <a:lnTo>
                    <a:pt x="2458" y="2552"/>
                  </a:lnTo>
                  <a:lnTo>
                    <a:pt x="2449" y="2573"/>
                  </a:lnTo>
                  <a:lnTo>
                    <a:pt x="2455" y="2579"/>
                  </a:lnTo>
                  <a:lnTo>
                    <a:pt x="2449" y="2593"/>
                  </a:lnTo>
                  <a:lnTo>
                    <a:pt x="2455" y="2598"/>
                  </a:lnTo>
                  <a:lnTo>
                    <a:pt x="2449" y="2620"/>
                  </a:lnTo>
                  <a:lnTo>
                    <a:pt x="2439" y="2629"/>
                  </a:lnTo>
                  <a:lnTo>
                    <a:pt x="2428" y="2629"/>
                  </a:lnTo>
                  <a:lnTo>
                    <a:pt x="2417" y="2645"/>
                  </a:lnTo>
                  <a:lnTo>
                    <a:pt x="2433" y="2655"/>
                  </a:lnTo>
                  <a:lnTo>
                    <a:pt x="2439" y="2650"/>
                  </a:lnTo>
                  <a:lnTo>
                    <a:pt x="2439" y="2650"/>
                  </a:lnTo>
                  <a:lnTo>
                    <a:pt x="2442" y="2653"/>
                  </a:lnTo>
                  <a:lnTo>
                    <a:pt x="2446" y="2653"/>
                  </a:lnTo>
                  <a:lnTo>
                    <a:pt x="2455" y="2655"/>
                  </a:lnTo>
                  <a:lnTo>
                    <a:pt x="2464" y="2650"/>
                  </a:lnTo>
                  <a:lnTo>
                    <a:pt x="2480" y="2650"/>
                  </a:lnTo>
                  <a:lnTo>
                    <a:pt x="2485" y="2655"/>
                  </a:lnTo>
                  <a:lnTo>
                    <a:pt x="2490" y="2655"/>
                  </a:lnTo>
                  <a:lnTo>
                    <a:pt x="2510" y="2661"/>
                  </a:lnTo>
                  <a:lnTo>
                    <a:pt x="2531" y="2661"/>
                  </a:lnTo>
                  <a:lnTo>
                    <a:pt x="2545" y="2655"/>
                  </a:lnTo>
                  <a:lnTo>
                    <a:pt x="2551" y="2650"/>
                  </a:lnTo>
                  <a:lnTo>
                    <a:pt x="2561" y="2650"/>
                  </a:lnTo>
                  <a:lnTo>
                    <a:pt x="2572" y="2655"/>
                  </a:lnTo>
                  <a:lnTo>
                    <a:pt x="2583" y="2655"/>
                  </a:lnTo>
                  <a:lnTo>
                    <a:pt x="2592" y="2650"/>
                  </a:lnTo>
                  <a:lnTo>
                    <a:pt x="2613" y="2655"/>
                  </a:lnTo>
                  <a:lnTo>
                    <a:pt x="2618" y="2655"/>
                  </a:lnTo>
                  <a:lnTo>
                    <a:pt x="2633" y="2666"/>
                  </a:lnTo>
                  <a:lnTo>
                    <a:pt x="2643" y="2675"/>
                  </a:lnTo>
                  <a:lnTo>
                    <a:pt x="2659" y="2680"/>
                  </a:lnTo>
                  <a:lnTo>
                    <a:pt x="2668" y="2691"/>
                  </a:lnTo>
                  <a:lnTo>
                    <a:pt x="2665" y="2696"/>
                  </a:lnTo>
                  <a:lnTo>
                    <a:pt x="2665" y="2707"/>
                  </a:lnTo>
                  <a:lnTo>
                    <a:pt x="2668" y="2721"/>
                  </a:lnTo>
                  <a:lnTo>
                    <a:pt x="2649" y="2716"/>
                  </a:lnTo>
                  <a:lnTo>
                    <a:pt x="2643" y="2732"/>
                  </a:lnTo>
                  <a:lnTo>
                    <a:pt x="2643" y="2783"/>
                  </a:lnTo>
                  <a:lnTo>
                    <a:pt x="2638" y="2789"/>
                  </a:lnTo>
                  <a:lnTo>
                    <a:pt x="2633" y="2808"/>
                  </a:lnTo>
                  <a:lnTo>
                    <a:pt x="2638" y="2819"/>
                  </a:lnTo>
                  <a:lnTo>
                    <a:pt x="2627" y="2819"/>
                  </a:lnTo>
                  <a:lnTo>
                    <a:pt x="2627" y="2830"/>
                  </a:lnTo>
                  <a:lnTo>
                    <a:pt x="2633" y="2835"/>
                  </a:lnTo>
                  <a:lnTo>
                    <a:pt x="2643" y="2854"/>
                  </a:lnTo>
                  <a:lnTo>
                    <a:pt x="2643" y="2854"/>
                  </a:lnTo>
                  <a:lnTo>
                    <a:pt x="2666" y="2876"/>
                  </a:lnTo>
                  <a:lnTo>
                    <a:pt x="2679" y="2886"/>
                  </a:lnTo>
                  <a:lnTo>
                    <a:pt x="2690" y="2901"/>
                  </a:lnTo>
                  <a:lnTo>
                    <a:pt x="2690" y="2911"/>
                  </a:lnTo>
                  <a:lnTo>
                    <a:pt x="2706" y="2911"/>
                  </a:lnTo>
                  <a:lnTo>
                    <a:pt x="2711" y="2906"/>
                  </a:lnTo>
                  <a:lnTo>
                    <a:pt x="2720" y="2917"/>
                  </a:lnTo>
                  <a:lnTo>
                    <a:pt x="2741" y="2911"/>
                  </a:lnTo>
                  <a:lnTo>
                    <a:pt x="2761" y="2901"/>
                  </a:lnTo>
                  <a:lnTo>
                    <a:pt x="2782" y="2890"/>
                  </a:lnTo>
                  <a:lnTo>
                    <a:pt x="2796" y="2876"/>
                  </a:lnTo>
                  <a:lnTo>
                    <a:pt x="2818" y="2876"/>
                  </a:lnTo>
                  <a:lnTo>
                    <a:pt x="2818" y="2881"/>
                  </a:lnTo>
                  <a:lnTo>
                    <a:pt x="2839" y="2881"/>
                  </a:lnTo>
                  <a:lnTo>
                    <a:pt x="2859" y="2885"/>
                  </a:lnTo>
                  <a:lnTo>
                    <a:pt x="2875" y="2895"/>
                  </a:lnTo>
                  <a:lnTo>
                    <a:pt x="2889" y="2906"/>
                  </a:lnTo>
                  <a:lnTo>
                    <a:pt x="2910" y="2906"/>
                  </a:lnTo>
                  <a:lnTo>
                    <a:pt x="2935" y="2881"/>
                  </a:lnTo>
                  <a:lnTo>
                    <a:pt x="2956" y="2876"/>
                  </a:lnTo>
                  <a:lnTo>
                    <a:pt x="2956" y="2860"/>
                  </a:lnTo>
                  <a:lnTo>
                    <a:pt x="2967" y="2830"/>
                  </a:lnTo>
                  <a:lnTo>
                    <a:pt x="2987" y="2808"/>
                  </a:lnTo>
                  <a:lnTo>
                    <a:pt x="3008" y="2803"/>
                  </a:lnTo>
                  <a:lnTo>
                    <a:pt x="3012" y="2794"/>
                  </a:lnTo>
                  <a:lnTo>
                    <a:pt x="3038" y="2794"/>
                  </a:lnTo>
                  <a:lnTo>
                    <a:pt x="3038" y="2794"/>
                  </a:lnTo>
                  <a:lnTo>
                    <a:pt x="3060" y="2778"/>
                  </a:lnTo>
                  <a:lnTo>
                    <a:pt x="3070" y="2771"/>
                  </a:lnTo>
                  <a:lnTo>
                    <a:pt x="3084" y="2762"/>
                  </a:lnTo>
                  <a:lnTo>
                    <a:pt x="3104" y="2742"/>
                  </a:lnTo>
                  <a:lnTo>
                    <a:pt x="3120" y="2742"/>
                  </a:lnTo>
                  <a:lnTo>
                    <a:pt x="3131" y="2753"/>
                  </a:lnTo>
                  <a:lnTo>
                    <a:pt x="3115" y="2767"/>
                  </a:lnTo>
                  <a:lnTo>
                    <a:pt x="3115" y="2778"/>
                  </a:lnTo>
                  <a:lnTo>
                    <a:pt x="3095" y="2783"/>
                  </a:lnTo>
                  <a:lnTo>
                    <a:pt x="3109" y="2803"/>
                  </a:lnTo>
                  <a:lnTo>
                    <a:pt x="3109" y="2819"/>
                  </a:lnTo>
                  <a:lnTo>
                    <a:pt x="3095" y="2849"/>
                  </a:lnTo>
                  <a:lnTo>
                    <a:pt x="3109" y="2876"/>
                  </a:lnTo>
                  <a:lnTo>
                    <a:pt x="3131" y="2870"/>
                  </a:lnTo>
                  <a:lnTo>
                    <a:pt x="3140" y="2844"/>
                  </a:lnTo>
                  <a:lnTo>
                    <a:pt x="3131" y="2830"/>
                  </a:lnTo>
                  <a:lnTo>
                    <a:pt x="3131" y="2803"/>
                  </a:lnTo>
                  <a:lnTo>
                    <a:pt x="3177" y="2783"/>
                  </a:lnTo>
                  <a:lnTo>
                    <a:pt x="3161" y="2767"/>
                  </a:lnTo>
                  <a:lnTo>
                    <a:pt x="3177" y="2753"/>
                  </a:lnTo>
                  <a:lnTo>
                    <a:pt x="3191" y="2778"/>
                  </a:lnTo>
                  <a:lnTo>
                    <a:pt x="3218" y="2778"/>
                  </a:lnTo>
                  <a:lnTo>
                    <a:pt x="3237" y="2798"/>
                  </a:lnTo>
                  <a:lnTo>
                    <a:pt x="3237" y="2814"/>
                  </a:lnTo>
                  <a:lnTo>
                    <a:pt x="3268" y="2808"/>
                  </a:lnTo>
                  <a:lnTo>
                    <a:pt x="3305" y="2798"/>
                  </a:lnTo>
                  <a:lnTo>
                    <a:pt x="3325" y="2814"/>
                  </a:lnTo>
                  <a:lnTo>
                    <a:pt x="3351" y="2814"/>
                  </a:lnTo>
                  <a:lnTo>
                    <a:pt x="3371" y="2798"/>
                  </a:lnTo>
                  <a:lnTo>
                    <a:pt x="3371" y="2789"/>
                  </a:lnTo>
                  <a:lnTo>
                    <a:pt x="3371" y="2789"/>
                  </a:lnTo>
                  <a:lnTo>
                    <a:pt x="3453" y="2773"/>
                  </a:lnTo>
                  <a:lnTo>
                    <a:pt x="3433" y="2794"/>
                  </a:lnTo>
                  <a:lnTo>
                    <a:pt x="3447" y="2814"/>
                  </a:lnTo>
                  <a:lnTo>
                    <a:pt x="3474" y="2814"/>
                  </a:lnTo>
                  <a:lnTo>
                    <a:pt x="3499" y="2830"/>
                  </a:lnTo>
                  <a:lnTo>
                    <a:pt x="3504" y="2854"/>
                  </a:lnTo>
                  <a:lnTo>
                    <a:pt x="3524" y="2849"/>
                  </a:lnTo>
                  <a:lnTo>
                    <a:pt x="3524" y="2849"/>
                  </a:lnTo>
                  <a:lnTo>
                    <a:pt x="3540" y="2858"/>
                  </a:lnTo>
                  <a:lnTo>
                    <a:pt x="3561" y="2870"/>
                  </a:lnTo>
                  <a:lnTo>
                    <a:pt x="3581" y="2890"/>
                  </a:lnTo>
                  <a:lnTo>
                    <a:pt x="3581" y="2911"/>
                  </a:lnTo>
                  <a:lnTo>
                    <a:pt x="3597" y="2911"/>
                  </a:lnTo>
                  <a:lnTo>
                    <a:pt x="3622" y="2936"/>
                  </a:lnTo>
                  <a:lnTo>
                    <a:pt x="3657" y="2936"/>
                  </a:lnTo>
                  <a:lnTo>
                    <a:pt x="3663" y="2926"/>
                  </a:lnTo>
                  <a:lnTo>
                    <a:pt x="3689" y="2917"/>
                  </a:lnTo>
                  <a:lnTo>
                    <a:pt x="3719" y="2922"/>
                  </a:lnTo>
                  <a:lnTo>
                    <a:pt x="3719" y="2922"/>
                  </a:lnTo>
                  <a:lnTo>
                    <a:pt x="3727" y="2922"/>
                  </a:lnTo>
                  <a:lnTo>
                    <a:pt x="3735" y="2924"/>
                  </a:lnTo>
                  <a:lnTo>
                    <a:pt x="3743" y="2926"/>
                  </a:lnTo>
                  <a:lnTo>
                    <a:pt x="3750" y="2926"/>
                  </a:lnTo>
                  <a:lnTo>
                    <a:pt x="3780" y="2947"/>
                  </a:lnTo>
                  <a:lnTo>
                    <a:pt x="3785" y="2963"/>
                  </a:lnTo>
                  <a:lnTo>
                    <a:pt x="3796" y="2958"/>
                  </a:lnTo>
                  <a:lnTo>
                    <a:pt x="3801" y="2977"/>
                  </a:lnTo>
                  <a:lnTo>
                    <a:pt x="3817" y="3039"/>
                  </a:lnTo>
                  <a:lnTo>
                    <a:pt x="3832" y="3039"/>
                  </a:lnTo>
                  <a:lnTo>
                    <a:pt x="3832" y="3064"/>
                  </a:lnTo>
                  <a:lnTo>
                    <a:pt x="3812" y="3100"/>
                  </a:lnTo>
                  <a:lnTo>
                    <a:pt x="3821" y="3111"/>
                  </a:lnTo>
                  <a:lnTo>
                    <a:pt x="3872" y="3100"/>
                  </a:lnTo>
                  <a:lnTo>
                    <a:pt x="3864" y="3137"/>
                  </a:lnTo>
                  <a:lnTo>
                    <a:pt x="3883" y="3105"/>
                  </a:lnTo>
                  <a:lnTo>
                    <a:pt x="3913" y="3111"/>
                  </a:lnTo>
                  <a:lnTo>
                    <a:pt x="3954" y="3121"/>
                  </a:lnTo>
                  <a:lnTo>
                    <a:pt x="3965" y="3141"/>
                  </a:lnTo>
                  <a:lnTo>
                    <a:pt x="3965" y="3162"/>
                  </a:lnTo>
                  <a:lnTo>
                    <a:pt x="3995" y="3141"/>
                  </a:lnTo>
                  <a:lnTo>
                    <a:pt x="4041" y="3141"/>
                  </a:lnTo>
                  <a:lnTo>
                    <a:pt x="4077" y="3127"/>
                  </a:lnTo>
                  <a:lnTo>
                    <a:pt x="4109" y="3141"/>
                  </a:lnTo>
                  <a:lnTo>
                    <a:pt x="4129" y="3167"/>
                  </a:lnTo>
                  <a:lnTo>
                    <a:pt x="4145" y="3173"/>
                  </a:lnTo>
                  <a:lnTo>
                    <a:pt x="4164" y="3162"/>
                  </a:lnTo>
                  <a:lnTo>
                    <a:pt x="4170" y="3173"/>
                  </a:lnTo>
                  <a:lnTo>
                    <a:pt x="4170" y="3203"/>
                  </a:lnTo>
                  <a:lnTo>
                    <a:pt x="4175" y="3203"/>
                  </a:lnTo>
                  <a:lnTo>
                    <a:pt x="4175" y="3224"/>
                  </a:lnTo>
                  <a:lnTo>
                    <a:pt x="4175" y="3224"/>
                  </a:lnTo>
                  <a:close/>
                  <a:moveTo>
                    <a:pt x="3074" y="2533"/>
                  </a:moveTo>
                  <a:lnTo>
                    <a:pt x="3052" y="2538"/>
                  </a:lnTo>
                  <a:lnTo>
                    <a:pt x="3033" y="2538"/>
                  </a:lnTo>
                  <a:lnTo>
                    <a:pt x="3012" y="2547"/>
                  </a:lnTo>
                  <a:lnTo>
                    <a:pt x="2992" y="2533"/>
                  </a:lnTo>
                  <a:lnTo>
                    <a:pt x="2992" y="2517"/>
                  </a:lnTo>
                  <a:lnTo>
                    <a:pt x="2997" y="2517"/>
                  </a:lnTo>
                  <a:lnTo>
                    <a:pt x="2997" y="2517"/>
                  </a:lnTo>
                  <a:lnTo>
                    <a:pt x="3012" y="2518"/>
                  </a:lnTo>
                  <a:lnTo>
                    <a:pt x="3028" y="2520"/>
                  </a:lnTo>
                  <a:lnTo>
                    <a:pt x="3045" y="2522"/>
                  </a:lnTo>
                  <a:lnTo>
                    <a:pt x="3063" y="2522"/>
                  </a:lnTo>
                  <a:lnTo>
                    <a:pt x="3079" y="2511"/>
                  </a:lnTo>
                  <a:lnTo>
                    <a:pt x="3058" y="2497"/>
                  </a:lnTo>
                  <a:lnTo>
                    <a:pt x="3058" y="2481"/>
                  </a:lnTo>
                  <a:lnTo>
                    <a:pt x="3038" y="2476"/>
                  </a:lnTo>
                  <a:lnTo>
                    <a:pt x="3049" y="2465"/>
                  </a:lnTo>
                  <a:lnTo>
                    <a:pt x="3068" y="2465"/>
                  </a:lnTo>
                  <a:lnTo>
                    <a:pt x="3099" y="2470"/>
                  </a:lnTo>
                  <a:lnTo>
                    <a:pt x="3104" y="2465"/>
                  </a:lnTo>
                  <a:lnTo>
                    <a:pt x="3131" y="2460"/>
                  </a:lnTo>
                  <a:lnTo>
                    <a:pt x="3150" y="2470"/>
                  </a:lnTo>
                  <a:lnTo>
                    <a:pt x="3161" y="2470"/>
                  </a:lnTo>
                  <a:lnTo>
                    <a:pt x="3172" y="2486"/>
                  </a:lnTo>
                  <a:lnTo>
                    <a:pt x="3191" y="2481"/>
                  </a:lnTo>
                  <a:lnTo>
                    <a:pt x="3191" y="2497"/>
                  </a:lnTo>
                  <a:lnTo>
                    <a:pt x="3207" y="2497"/>
                  </a:lnTo>
                  <a:lnTo>
                    <a:pt x="3227" y="2511"/>
                  </a:lnTo>
                  <a:lnTo>
                    <a:pt x="3213" y="2533"/>
                  </a:lnTo>
                  <a:lnTo>
                    <a:pt x="3191" y="2527"/>
                  </a:lnTo>
                  <a:lnTo>
                    <a:pt x="3172" y="2533"/>
                  </a:lnTo>
                  <a:lnTo>
                    <a:pt x="3156" y="2533"/>
                  </a:lnTo>
                  <a:lnTo>
                    <a:pt x="3150" y="2541"/>
                  </a:lnTo>
                  <a:lnTo>
                    <a:pt x="3136" y="2547"/>
                  </a:lnTo>
                  <a:lnTo>
                    <a:pt x="3131" y="2522"/>
                  </a:lnTo>
                  <a:lnTo>
                    <a:pt x="3115" y="2527"/>
                  </a:lnTo>
                  <a:lnTo>
                    <a:pt x="3099" y="2552"/>
                  </a:lnTo>
                  <a:lnTo>
                    <a:pt x="3090" y="2547"/>
                  </a:lnTo>
                  <a:lnTo>
                    <a:pt x="3090" y="2538"/>
                  </a:lnTo>
                  <a:lnTo>
                    <a:pt x="3074" y="2533"/>
                  </a:lnTo>
                  <a:close/>
                  <a:moveTo>
                    <a:pt x="2880" y="2451"/>
                  </a:moveTo>
                  <a:lnTo>
                    <a:pt x="2859" y="2451"/>
                  </a:lnTo>
                  <a:lnTo>
                    <a:pt x="2843" y="2440"/>
                  </a:lnTo>
                  <a:lnTo>
                    <a:pt x="2834" y="2419"/>
                  </a:lnTo>
                  <a:lnTo>
                    <a:pt x="2812" y="2419"/>
                  </a:lnTo>
                  <a:lnTo>
                    <a:pt x="2771" y="2410"/>
                  </a:lnTo>
                  <a:lnTo>
                    <a:pt x="2755" y="2399"/>
                  </a:lnTo>
                  <a:lnTo>
                    <a:pt x="2711" y="2399"/>
                  </a:lnTo>
                  <a:lnTo>
                    <a:pt x="2695" y="2388"/>
                  </a:lnTo>
                  <a:lnTo>
                    <a:pt x="2711" y="2378"/>
                  </a:lnTo>
                  <a:lnTo>
                    <a:pt x="2674" y="2378"/>
                  </a:lnTo>
                  <a:lnTo>
                    <a:pt x="2649" y="2399"/>
                  </a:lnTo>
                  <a:lnTo>
                    <a:pt x="2627" y="2399"/>
                  </a:lnTo>
                  <a:lnTo>
                    <a:pt x="2624" y="2410"/>
                  </a:lnTo>
                  <a:lnTo>
                    <a:pt x="2602" y="2413"/>
                  </a:lnTo>
                  <a:lnTo>
                    <a:pt x="2586" y="2410"/>
                  </a:lnTo>
                  <a:lnTo>
                    <a:pt x="2608" y="2394"/>
                  </a:lnTo>
                  <a:lnTo>
                    <a:pt x="2618" y="2378"/>
                  </a:lnTo>
                  <a:lnTo>
                    <a:pt x="2659" y="2358"/>
                  </a:lnTo>
                  <a:lnTo>
                    <a:pt x="2684" y="2353"/>
                  </a:lnTo>
                  <a:lnTo>
                    <a:pt x="2695" y="2348"/>
                  </a:lnTo>
                  <a:lnTo>
                    <a:pt x="2761" y="2348"/>
                  </a:lnTo>
                  <a:lnTo>
                    <a:pt x="2796" y="2364"/>
                  </a:lnTo>
                  <a:lnTo>
                    <a:pt x="2812" y="2378"/>
                  </a:lnTo>
                  <a:lnTo>
                    <a:pt x="2848" y="2372"/>
                  </a:lnTo>
                  <a:lnTo>
                    <a:pt x="2848" y="2372"/>
                  </a:lnTo>
                  <a:lnTo>
                    <a:pt x="2882" y="2396"/>
                  </a:lnTo>
                  <a:lnTo>
                    <a:pt x="2915" y="2419"/>
                  </a:lnTo>
                  <a:lnTo>
                    <a:pt x="2930" y="2419"/>
                  </a:lnTo>
                  <a:lnTo>
                    <a:pt x="2951" y="2424"/>
                  </a:lnTo>
                  <a:lnTo>
                    <a:pt x="2951" y="2435"/>
                  </a:lnTo>
                  <a:lnTo>
                    <a:pt x="2976" y="2435"/>
                  </a:lnTo>
                  <a:lnTo>
                    <a:pt x="3003" y="2451"/>
                  </a:lnTo>
                  <a:lnTo>
                    <a:pt x="2997" y="2460"/>
                  </a:lnTo>
                  <a:lnTo>
                    <a:pt x="2976" y="2465"/>
                  </a:lnTo>
                  <a:lnTo>
                    <a:pt x="2956" y="2481"/>
                  </a:lnTo>
                  <a:lnTo>
                    <a:pt x="2869" y="2481"/>
                  </a:lnTo>
                  <a:lnTo>
                    <a:pt x="2889" y="2460"/>
                  </a:lnTo>
                  <a:lnTo>
                    <a:pt x="2880" y="2451"/>
                  </a:lnTo>
                  <a:close/>
                  <a:moveTo>
                    <a:pt x="1224" y="735"/>
                  </a:moveTo>
                  <a:lnTo>
                    <a:pt x="1224" y="735"/>
                  </a:lnTo>
                  <a:lnTo>
                    <a:pt x="1224" y="735"/>
                  </a:lnTo>
                  <a:lnTo>
                    <a:pt x="1224" y="735"/>
                  </a:lnTo>
                  <a:close/>
                  <a:moveTo>
                    <a:pt x="2746" y="4505"/>
                  </a:moveTo>
                  <a:lnTo>
                    <a:pt x="2725" y="4508"/>
                  </a:lnTo>
                  <a:lnTo>
                    <a:pt x="2711" y="4519"/>
                  </a:lnTo>
                  <a:lnTo>
                    <a:pt x="2690" y="4524"/>
                  </a:lnTo>
                  <a:lnTo>
                    <a:pt x="2668" y="4524"/>
                  </a:lnTo>
                  <a:lnTo>
                    <a:pt x="2649" y="4519"/>
                  </a:lnTo>
                  <a:lnTo>
                    <a:pt x="2627" y="4519"/>
                  </a:lnTo>
                  <a:lnTo>
                    <a:pt x="2643" y="4530"/>
                  </a:lnTo>
                  <a:lnTo>
                    <a:pt x="2665" y="4535"/>
                  </a:lnTo>
                  <a:lnTo>
                    <a:pt x="2695" y="4535"/>
                  </a:lnTo>
                  <a:lnTo>
                    <a:pt x="2711" y="4524"/>
                  </a:lnTo>
                  <a:lnTo>
                    <a:pt x="2711" y="4524"/>
                  </a:lnTo>
                  <a:lnTo>
                    <a:pt x="2746" y="4514"/>
                  </a:lnTo>
                  <a:lnTo>
                    <a:pt x="2746" y="4514"/>
                  </a:lnTo>
                  <a:lnTo>
                    <a:pt x="2750" y="4512"/>
                  </a:lnTo>
                  <a:lnTo>
                    <a:pt x="2754" y="4510"/>
                  </a:lnTo>
                  <a:lnTo>
                    <a:pt x="2761" y="4508"/>
                  </a:lnTo>
                  <a:lnTo>
                    <a:pt x="2761" y="4505"/>
                  </a:lnTo>
                  <a:lnTo>
                    <a:pt x="2746" y="4505"/>
                  </a:lnTo>
                  <a:close/>
                  <a:moveTo>
                    <a:pt x="4001" y="811"/>
                  </a:moveTo>
                  <a:lnTo>
                    <a:pt x="4001" y="811"/>
                  </a:lnTo>
                  <a:lnTo>
                    <a:pt x="4001" y="800"/>
                  </a:lnTo>
                  <a:lnTo>
                    <a:pt x="3986" y="781"/>
                  </a:lnTo>
                  <a:lnTo>
                    <a:pt x="3981" y="775"/>
                  </a:lnTo>
                  <a:lnTo>
                    <a:pt x="3986" y="786"/>
                  </a:lnTo>
                  <a:lnTo>
                    <a:pt x="3986" y="786"/>
                  </a:lnTo>
                  <a:lnTo>
                    <a:pt x="3993" y="797"/>
                  </a:lnTo>
                  <a:lnTo>
                    <a:pt x="4001" y="811"/>
                  </a:lnTo>
                  <a:lnTo>
                    <a:pt x="4001" y="811"/>
                  </a:lnTo>
                  <a:close/>
                  <a:moveTo>
                    <a:pt x="2464" y="498"/>
                  </a:moveTo>
                  <a:lnTo>
                    <a:pt x="2464" y="498"/>
                  </a:lnTo>
                  <a:lnTo>
                    <a:pt x="2449" y="489"/>
                  </a:lnTo>
                  <a:lnTo>
                    <a:pt x="2449" y="493"/>
                  </a:lnTo>
                  <a:lnTo>
                    <a:pt x="2464" y="498"/>
                  </a:lnTo>
                  <a:close/>
                  <a:moveTo>
                    <a:pt x="3602" y="397"/>
                  </a:moveTo>
                  <a:lnTo>
                    <a:pt x="3611" y="402"/>
                  </a:lnTo>
                  <a:lnTo>
                    <a:pt x="3611" y="402"/>
                  </a:lnTo>
                  <a:lnTo>
                    <a:pt x="3609" y="400"/>
                  </a:lnTo>
                  <a:lnTo>
                    <a:pt x="3607" y="398"/>
                  </a:lnTo>
                  <a:lnTo>
                    <a:pt x="3604" y="397"/>
                  </a:lnTo>
                  <a:lnTo>
                    <a:pt x="3602" y="397"/>
                  </a:lnTo>
                  <a:lnTo>
                    <a:pt x="3602" y="397"/>
                  </a:lnTo>
                  <a:close/>
                  <a:moveTo>
                    <a:pt x="4330" y="1304"/>
                  </a:moveTo>
                  <a:lnTo>
                    <a:pt x="4333" y="1298"/>
                  </a:lnTo>
                  <a:lnTo>
                    <a:pt x="4333" y="1293"/>
                  </a:lnTo>
                  <a:lnTo>
                    <a:pt x="4324" y="1266"/>
                  </a:lnTo>
                  <a:lnTo>
                    <a:pt x="4319" y="1247"/>
                  </a:lnTo>
                  <a:lnTo>
                    <a:pt x="4319" y="1247"/>
                  </a:lnTo>
                  <a:lnTo>
                    <a:pt x="4314" y="1236"/>
                  </a:lnTo>
                  <a:lnTo>
                    <a:pt x="4308" y="1225"/>
                  </a:lnTo>
                  <a:lnTo>
                    <a:pt x="4301" y="1202"/>
                  </a:lnTo>
                  <a:lnTo>
                    <a:pt x="4294" y="1177"/>
                  </a:lnTo>
                  <a:lnTo>
                    <a:pt x="4289" y="1154"/>
                  </a:lnTo>
                  <a:lnTo>
                    <a:pt x="4289" y="1154"/>
                  </a:lnTo>
                  <a:lnTo>
                    <a:pt x="4287" y="1149"/>
                  </a:lnTo>
                  <a:lnTo>
                    <a:pt x="4283" y="1144"/>
                  </a:lnTo>
                  <a:lnTo>
                    <a:pt x="4283" y="1144"/>
                  </a:lnTo>
                  <a:lnTo>
                    <a:pt x="4290" y="1160"/>
                  </a:lnTo>
                  <a:lnTo>
                    <a:pt x="4301" y="1176"/>
                  </a:lnTo>
                  <a:lnTo>
                    <a:pt x="4310" y="1190"/>
                  </a:lnTo>
                  <a:lnTo>
                    <a:pt x="4319" y="1206"/>
                  </a:lnTo>
                  <a:lnTo>
                    <a:pt x="4319" y="1206"/>
                  </a:lnTo>
                  <a:lnTo>
                    <a:pt x="4328" y="1220"/>
                  </a:lnTo>
                  <a:lnTo>
                    <a:pt x="4333" y="1229"/>
                  </a:lnTo>
                  <a:lnTo>
                    <a:pt x="4339" y="1236"/>
                  </a:lnTo>
                  <a:lnTo>
                    <a:pt x="4339" y="1236"/>
                  </a:lnTo>
                  <a:lnTo>
                    <a:pt x="4296" y="1158"/>
                  </a:lnTo>
                  <a:lnTo>
                    <a:pt x="4250" y="1081"/>
                  </a:lnTo>
                  <a:lnTo>
                    <a:pt x="4202" y="1007"/>
                  </a:lnTo>
                  <a:lnTo>
                    <a:pt x="4150" y="934"/>
                  </a:lnTo>
                  <a:lnTo>
                    <a:pt x="4150" y="934"/>
                  </a:lnTo>
                  <a:lnTo>
                    <a:pt x="4134" y="914"/>
                  </a:lnTo>
                  <a:lnTo>
                    <a:pt x="4114" y="893"/>
                  </a:lnTo>
                  <a:lnTo>
                    <a:pt x="4114" y="898"/>
                  </a:lnTo>
                  <a:lnTo>
                    <a:pt x="4109" y="898"/>
                  </a:lnTo>
                  <a:lnTo>
                    <a:pt x="4109" y="898"/>
                  </a:lnTo>
                  <a:lnTo>
                    <a:pt x="4113" y="905"/>
                  </a:lnTo>
                  <a:lnTo>
                    <a:pt x="4120" y="912"/>
                  </a:lnTo>
                  <a:lnTo>
                    <a:pt x="4129" y="923"/>
                  </a:lnTo>
                  <a:lnTo>
                    <a:pt x="4129" y="923"/>
                  </a:lnTo>
                  <a:lnTo>
                    <a:pt x="4139" y="939"/>
                  </a:lnTo>
                  <a:lnTo>
                    <a:pt x="4150" y="955"/>
                  </a:lnTo>
                  <a:lnTo>
                    <a:pt x="4150" y="975"/>
                  </a:lnTo>
                  <a:lnTo>
                    <a:pt x="4164" y="1001"/>
                  </a:lnTo>
                  <a:lnTo>
                    <a:pt x="4164" y="1001"/>
                  </a:lnTo>
                  <a:lnTo>
                    <a:pt x="4173" y="1010"/>
                  </a:lnTo>
                  <a:lnTo>
                    <a:pt x="4180" y="1017"/>
                  </a:lnTo>
                  <a:lnTo>
                    <a:pt x="4186" y="1024"/>
                  </a:lnTo>
                  <a:lnTo>
                    <a:pt x="4191" y="1032"/>
                  </a:lnTo>
                  <a:lnTo>
                    <a:pt x="4210" y="1062"/>
                  </a:lnTo>
                  <a:lnTo>
                    <a:pt x="4216" y="1083"/>
                  </a:lnTo>
                  <a:lnTo>
                    <a:pt x="4226" y="1092"/>
                  </a:lnTo>
                  <a:lnTo>
                    <a:pt x="4226" y="1092"/>
                  </a:lnTo>
                  <a:lnTo>
                    <a:pt x="4241" y="1120"/>
                  </a:lnTo>
                  <a:lnTo>
                    <a:pt x="4248" y="1133"/>
                  </a:lnTo>
                  <a:lnTo>
                    <a:pt x="4251" y="1144"/>
                  </a:lnTo>
                  <a:lnTo>
                    <a:pt x="4262" y="1160"/>
                  </a:lnTo>
                  <a:lnTo>
                    <a:pt x="4273" y="1179"/>
                  </a:lnTo>
                  <a:lnTo>
                    <a:pt x="4289" y="1200"/>
                  </a:lnTo>
                  <a:lnTo>
                    <a:pt x="4292" y="1216"/>
                  </a:lnTo>
                  <a:lnTo>
                    <a:pt x="4308" y="1247"/>
                  </a:lnTo>
                  <a:lnTo>
                    <a:pt x="4308" y="1272"/>
                  </a:lnTo>
                  <a:lnTo>
                    <a:pt x="4314" y="1293"/>
                  </a:lnTo>
                  <a:lnTo>
                    <a:pt x="4319" y="1313"/>
                  </a:lnTo>
                  <a:lnTo>
                    <a:pt x="4330" y="1318"/>
                  </a:lnTo>
                  <a:lnTo>
                    <a:pt x="4330" y="1304"/>
                  </a:lnTo>
                  <a:lnTo>
                    <a:pt x="4330" y="1304"/>
                  </a:lnTo>
                  <a:close/>
                  <a:moveTo>
                    <a:pt x="4251" y="1092"/>
                  </a:moveTo>
                  <a:lnTo>
                    <a:pt x="4251" y="1092"/>
                  </a:lnTo>
                  <a:lnTo>
                    <a:pt x="4251" y="1088"/>
                  </a:lnTo>
                  <a:lnTo>
                    <a:pt x="4250" y="1085"/>
                  </a:lnTo>
                  <a:lnTo>
                    <a:pt x="4248" y="1081"/>
                  </a:lnTo>
                  <a:lnTo>
                    <a:pt x="4248" y="1078"/>
                  </a:lnTo>
                  <a:lnTo>
                    <a:pt x="4257" y="1097"/>
                  </a:lnTo>
                  <a:lnTo>
                    <a:pt x="4251" y="1092"/>
                  </a:lnTo>
                  <a:close/>
                  <a:moveTo>
                    <a:pt x="4267" y="1119"/>
                  </a:moveTo>
                  <a:lnTo>
                    <a:pt x="4267" y="1119"/>
                  </a:lnTo>
                  <a:lnTo>
                    <a:pt x="4274" y="1129"/>
                  </a:lnTo>
                  <a:lnTo>
                    <a:pt x="4276" y="1135"/>
                  </a:lnTo>
                  <a:lnTo>
                    <a:pt x="4278" y="1138"/>
                  </a:lnTo>
                  <a:lnTo>
                    <a:pt x="4278" y="1138"/>
                  </a:lnTo>
                  <a:lnTo>
                    <a:pt x="4276" y="1135"/>
                  </a:lnTo>
                  <a:lnTo>
                    <a:pt x="4274" y="1131"/>
                  </a:lnTo>
                  <a:lnTo>
                    <a:pt x="4267" y="1119"/>
                  </a:lnTo>
                  <a:lnTo>
                    <a:pt x="4267" y="1119"/>
                  </a:lnTo>
                  <a:close/>
                </a:path>
              </a:pathLst>
            </a:custGeom>
            <a:solidFill>
              <a:srgbClr val="1F497D">
                <a:lumMod val="20000"/>
                <a:lumOff val="80000"/>
              </a:srgbClr>
            </a:solidFill>
            <a:ln>
              <a:noFill/>
            </a:ln>
          </p:spPr>
          <p:txBody>
            <a:bodyPr vert="horz" wrap="square" lIns="74613" tIns="37307" rIns="74613" bIns="37307" numCol="1" anchor="t" anchorCtr="0" compatLnSpc="1">
              <a:prstTxWarp prst="textNoShape">
                <a:avLst/>
              </a:prstTxWarp>
            </a:bodyPr>
            <a:lstStyle/>
            <a:p>
              <a:pPr defTabSz="746150">
                <a:defRPr/>
              </a:pPr>
              <a:endParaRPr lang="en-US" sz="1469" kern="0">
                <a:solidFill>
                  <a:srgbClr val="676767"/>
                </a:solidFill>
                <a:latin typeface="+mj-lt"/>
              </a:endParaRPr>
            </a:p>
          </p:txBody>
        </p:sp>
      </p:grpSp>
      <p:grpSp>
        <p:nvGrpSpPr>
          <p:cNvPr id="138" name="Group 251"/>
          <p:cNvGrpSpPr/>
          <p:nvPr/>
        </p:nvGrpSpPr>
        <p:grpSpPr>
          <a:xfrm>
            <a:off x="5883906" y="2464970"/>
            <a:ext cx="442630" cy="442630"/>
            <a:chOff x="5741788" y="7262255"/>
            <a:chExt cx="527846" cy="527846"/>
          </a:xfrm>
        </p:grpSpPr>
        <p:sp>
          <p:nvSpPr>
            <p:cNvPr id="139" name="Oval 252"/>
            <p:cNvSpPr/>
            <p:nvPr/>
          </p:nvSpPr>
          <p:spPr>
            <a:xfrm>
              <a:off x="5741788" y="7262255"/>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Freeform 180"/>
            <p:cNvSpPr>
              <a:spLocks/>
            </p:cNvSpPr>
            <p:nvPr/>
          </p:nvSpPr>
          <p:spPr bwMode="auto">
            <a:xfrm>
              <a:off x="5873278" y="7357913"/>
              <a:ext cx="272142" cy="27637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 name="Group 254"/>
          <p:cNvGrpSpPr/>
          <p:nvPr/>
        </p:nvGrpSpPr>
        <p:grpSpPr>
          <a:xfrm>
            <a:off x="6569567" y="1827017"/>
            <a:ext cx="442630" cy="442630"/>
            <a:chOff x="5822061" y="8844472"/>
            <a:chExt cx="527846" cy="527846"/>
          </a:xfrm>
        </p:grpSpPr>
        <p:sp>
          <p:nvSpPr>
            <p:cNvPr id="142" name="Oval 255"/>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4" name="Group 257"/>
          <p:cNvGrpSpPr/>
          <p:nvPr/>
        </p:nvGrpSpPr>
        <p:grpSpPr>
          <a:xfrm>
            <a:off x="7271186" y="2412885"/>
            <a:ext cx="442630" cy="442630"/>
            <a:chOff x="5822061" y="8844472"/>
            <a:chExt cx="527846" cy="527846"/>
          </a:xfrm>
        </p:grpSpPr>
        <p:sp>
          <p:nvSpPr>
            <p:cNvPr id="145" name="Oval 286"/>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47" name="Group 288"/>
          <p:cNvGrpSpPr/>
          <p:nvPr/>
        </p:nvGrpSpPr>
        <p:grpSpPr>
          <a:xfrm>
            <a:off x="6539748" y="2954422"/>
            <a:ext cx="442630" cy="442630"/>
            <a:chOff x="5822061" y="8844472"/>
            <a:chExt cx="527846" cy="527846"/>
          </a:xfrm>
        </p:grpSpPr>
        <p:sp>
          <p:nvSpPr>
            <p:cNvPr id="148" name="Oval 289"/>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0" name="Group 291"/>
          <p:cNvGrpSpPr/>
          <p:nvPr/>
        </p:nvGrpSpPr>
        <p:grpSpPr>
          <a:xfrm>
            <a:off x="7389453" y="3314449"/>
            <a:ext cx="442630" cy="442630"/>
            <a:chOff x="5822061" y="8844472"/>
            <a:chExt cx="527846" cy="527846"/>
          </a:xfrm>
        </p:grpSpPr>
        <p:sp>
          <p:nvSpPr>
            <p:cNvPr id="151" name="Oval 292"/>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3" name="TextBox 12"/>
          <p:cNvSpPr txBox="1"/>
          <p:nvPr/>
        </p:nvSpPr>
        <p:spPr>
          <a:xfrm>
            <a:off x="902526" y="1501637"/>
            <a:ext cx="1141568" cy="369332"/>
          </a:xfrm>
          <a:prstGeom prst="rect">
            <a:avLst/>
          </a:prstGeom>
          <a:noFill/>
        </p:spPr>
        <p:txBody>
          <a:bodyPr wrap="square" rtlCol="0">
            <a:spAutoFit/>
          </a:bodyPr>
          <a:lstStyle/>
          <a:p>
            <a:r>
              <a:rPr lang="en-US" b="1" dirty="0">
                <a:latin typeface="メイリオ"/>
                <a:ea typeface="メイリオ"/>
                <a:cs typeface="メイリオ"/>
              </a:rPr>
              <a:t>Policies</a:t>
            </a:r>
          </a:p>
        </p:txBody>
      </p:sp>
      <p:grpSp>
        <p:nvGrpSpPr>
          <p:cNvPr id="154" name="Group 13"/>
          <p:cNvGrpSpPr/>
          <p:nvPr/>
        </p:nvGrpSpPr>
        <p:grpSpPr>
          <a:xfrm>
            <a:off x="927139" y="2025469"/>
            <a:ext cx="1103379" cy="265813"/>
            <a:chOff x="4198189" y="2972100"/>
            <a:chExt cx="1103379" cy="265813"/>
          </a:xfrm>
        </p:grpSpPr>
        <p:grpSp>
          <p:nvGrpSpPr>
            <p:cNvPr id="155" name="Group 9"/>
            <p:cNvGrpSpPr/>
            <p:nvPr/>
          </p:nvGrpSpPr>
          <p:grpSpPr>
            <a:xfrm>
              <a:off x="4198189" y="2972100"/>
              <a:ext cx="257079" cy="265813"/>
              <a:chOff x="3798941" y="5187096"/>
              <a:chExt cx="393704" cy="407080"/>
            </a:xfrm>
          </p:grpSpPr>
          <p:sp>
            <p:nvSpPr>
              <p:cNvPr id="157"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58" name="Rectangle 6"/>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159"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60" name="Rectangle 130"/>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61" name="Rectangle 131"/>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62" name="Rectangle 124"/>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63" name="Rectangle 125"/>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64" name="Rectangle 126"/>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65" name="Rectangle 127"/>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66" name="Rectangle 188"/>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67" name="Rectangle 189"/>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sp>
          <p:nvSpPr>
            <p:cNvPr id="156" name="TextBox 295"/>
            <p:cNvSpPr txBox="1"/>
            <p:nvPr/>
          </p:nvSpPr>
          <p:spPr>
            <a:xfrm>
              <a:off x="4433965" y="2984833"/>
              <a:ext cx="867603" cy="230832"/>
            </a:xfrm>
            <a:prstGeom prst="rect">
              <a:avLst/>
            </a:prstGeom>
            <a:noFill/>
          </p:spPr>
          <p:txBody>
            <a:bodyPr wrap="square" rtlCol="0">
              <a:spAutoFit/>
            </a:bodyPr>
            <a:lstStyle/>
            <a:p>
              <a:r>
                <a:rPr lang="en-US" sz="900" b="1" dirty="0">
                  <a:latin typeface="メイリオ"/>
                  <a:ea typeface="メイリオ"/>
                  <a:cs typeface="メイリオ"/>
                </a:rPr>
                <a:t>Duplicate</a:t>
              </a:r>
            </a:p>
          </p:txBody>
        </p:sp>
      </p:grpSp>
      <p:grpSp>
        <p:nvGrpSpPr>
          <p:cNvPr id="168" name="Group 14"/>
          <p:cNvGrpSpPr/>
          <p:nvPr/>
        </p:nvGrpSpPr>
        <p:grpSpPr>
          <a:xfrm>
            <a:off x="916269" y="2516708"/>
            <a:ext cx="1185394" cy="265814"/>
            <a:chOff x="4187319" y="3463339"/>
            <a:chExt cx="1185394" cy="265814"/>
          </a:xfrm>
        </p:grpSpPr>
        <p:grpSp>
          <p:nvGrpSpPr>
            <p:cNvPr id="169" name="Group 10"/>
            <p:cNvGrpSpPr/>
            <p:nvPr/>
          </p:nvGrpSpPr>
          <p:grpSpPr>
            <a:xfrm>
              <a:off x="4187319" y="3463339"/>
              <a:ext cx="257077" cy="265814"/>
              <a:chOff x="4446645" y="5328269"/>
              <a:chExt cx="393701" cy="407081"/>
            </a:xfrm>
          </p:grpSpPr>
          <p:sp>
            <p:nvSpPr>
              <p:cNvPr id="171"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72" name="Rectangle 195"/>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173"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74" name="Rectangle 197"/>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75" name="Rectangle 198"/>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76" name="Rectangle 209"/>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77" name="Rectangle 210"/>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78" name="Rectangle 211"/>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79" name="Rectangle 232"/>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80" name="Rectangle 233"/>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81" name="Rectangle 234"/>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nvGrpSpPr>
              <p:cNvPr id="182" name="Group 235"/>
              <p:cNvGrpSpPr>
                <a:grpSpLocks noChangeAspect="1"/>
              </p:cNvGrpSpPr>
              <p:nvPr/>
            </p:nvGrpSpPr>
            <p:grpSpPr>
              <a:xfrm>
                <a:off x="4616915" y="5503457"/>
                <a:ext cx="168922" cy="155424"/>
                <a:chOff x="9231726" y="3248067"/>
                <a:chExt cx="1060101" cy="975395"/>
              </a:xfrm>
              <a:solidFill>
                <a:schemeClr val="accent6"/>
              </a:solidFill>
            </p:grpSpPr>
            <p:sp>
              <p:nvSpPr>
                <p:cNvPr id="183"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sp>
              <p:nvSpPr>
                <p:cNvPr id="184"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sp>
              <p:nvSpPr>
                <p:cNvPr id="185"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600" dirty="0">
                    <a:latin typeface="メイリオ"/>
                    <a:ea typeface="メイリオ"/>
                    <a:cs typeface="メイリオ"/>
                  </a:endParaRPr>
                </a:p>
              </p:txBody>
            </p:sp>
          </p:grpSp>
        </p:grpSp>
        <p:sp>
          <p:nvSpPr>
            <p:cNvPr id="170" name="TextBox 296"/>
            <p:cNvSpPr txBox="1"/>
            <p:nvPr/>
          </p:nvSpPr>
          <p:spPr>
            <a:xfrm>
              <a:off x="4426266" y="3467099"/>
              <a:ext cx="946447" cy="230832"/>
            </a:xfrm>
            <a:prstGeom prst="rect">
              <a:avLst/>
            </a:prstGeom>
            <a:noFill/>
          </p:spPr>
          <p:txBody>
            <a:bodyPr wrap="square" rtlCol="0">
              <a:spAutoFit/>
            </a:bodyPr>
            <a:lstStyle/>
            <a:p>
              <a:r>
                <a:rPr lang="en-US" sz="900" b="1" dirty="0">
                  <a:latin typeface="メイリオ"/>
                  <a:ea typeface="メイリオ"/>
                  <a:cs typeface="メイリオ"/>
                </a:rPr>
                <a:t>Inconsistent</a:t>
              </a:r>
            </a:p>
          </p:txBody>
        </p:sp>
      </p:grpSp>
      <p:grpSp>
        <p:nvGrpSpPr>
          <p:cNvPr id="186" name="Group 15"/>
          <p:cNvGrpSpPr/>
          <p:nvPr/>
        </p:nvGrpSpPr>
        <p:grpSpPr>
          <a:xfrm>
            <a:off x="926401" y="2989657"/>
            <a:ext cx="1197401" cy="272164"/>
            <a:chOff x="4197451" y="3936288"/>
            <a:chExt cx="1197401" cy="272164"/>
          </a:xfrm>
        </p:grpSpPr>
        <p:grpSp>
          <p:nvGrpSpPr>
            <p:cNvPr id="187" name="Group 11"/>
            <p:cNvGrpSpPr/>
            <p:nvPr/>
          </p:nvGrpSpPr>
          <p:grpSpPr>
            <a:xfrm>
              <a:off x="4197451" y="3942638"/>
              <a:ext cx="259696" cy="265814"/>
              <a:chOff x="5070378" y="5390637"/>
              <a:chExt cx="397712" cy="407081"/>
            </a:xfrm>
          </p:grpSpPr>
          <p:sp>
            <p:nvSpPr>
              <p:cNvPr id="189"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90" name="Rectangle 241"/>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191"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192" name="Rectangle 243"/>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93" name="Rectangle 244"/>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194" name="Rectangle 245"/>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95" name="Rectangle 246"/>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96" name="Rectangle 247"/>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97" name="Rectangle 248"/>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98" name="Rectangle 249"/>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199" name="Rectangle 250"/>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sp>
          <p:nvSpPr>
            <p:cNvPr id="188" name="TextBox 297"/>
            <p:cNvSpPr txBox="1"/>
            <p:nvPr/>
          </p:nvSpPr>
          <p:spPr>
            <a:xfrm>
              <a:off x="4448405" y="3936288"/>
              <a:ext cx="946447" cy="230832"/>
            </a:xfrm>
            <a:prstGeom prst="rect">
              <a:avLst/>
            </a:prstGeom>
            <a:noFill/>
          </p:spPr>
          <p:txBody>
            <a:bodyPr wrap="square" rtlCol="0">
              <a:spAutoFit/>
            </a:bodyPr>
            <a:lstStyle/>
            <a:p>
              <a:r>
                <a:rPr lang="en-US" sz="900" b="1" dirty="0">
                  <a:latin typeface="メイリオ"/>
                  <a:ea typeface="メイリオ"/>
                  <a:cs typeface="メイリオ"/>
                </a:rPr>
                <a:t>Unused</a:t>
              </a:r>
            </a:p>
          </p:txBody>
        </p:sp>
      </p:grpSp>
      <p:sp>
        <p:nvSpPr>
          <p:cNvPr id="200" name="TextBox 298"/>
          <p:cNvSpPr txBox="1"/>
          <p:nvPr/>
        </p:nvSpPr>
        <p:spPr>
          <a:xfrm>
            <a:off x="2118969" y="1492379"/>
            <a:ext cx="1707136" cy="400110"/>
          </a:xfrm>
          <a:prstGeom prst="rect">
            <a:avLst/>
          </a:prstGeom>
          <a:noFill/>
        </p:spPr>
        <p:txBody>
          <a:bodyPr wrap="square" rtlCol="0">
            <a:spAutoFit/>
          </a:bodyPr>
          <a:lstStyle/>
          <a:p>
            <a:r>
              <a:rPr lang="en-US" sz="1000" b="1" dirty="0">
                <a:solidFill>
                  <a:schemeClr val="accent1"/>
                </a:solidFill>
                <a:latin typeface="メイリオ"/>
                <a:ea typeface="メイリオ"/>
                <a:cs typeface="メイリオ"/>
              </a:rPr>
              <a:t>Quickly see </a:t>
            </a:r>
            <a:br>
              <a:rPr lang="en-US" sz="1000" b="1" dirty="0">
                <a:solidFill>
                  <a:schemeClr val="accent1"/>
                </a:solidFill>
                <a:latin typeface="メイリオ"/>
                <a:ea typeface="メイリオ"/>
                <a:cs typeface="メイリオ"/>
              </a:rPr>
            </a:br>
            <a:r>
              <a:rPr lang="en-US" sz="1000" b="1" dirty="0">
                <a:solidFill>
                  <a:schemeClr val="accent1"/>
                </a:solidFill>
                <a:latin typeface="メイリオ"/>
                <a:ea typeface="メイリオ"/>
                <a:cs typeface="メイリオ"/>
              </a:rPr>
              <a:t>Duplicate Policies</a:t>
            </a:r>
          </a:p>
        </p:txBody>
      </p:sp>
      <p:sp>
        <p:nvSpPr>
          <p:cNvPr id="201" name="Rectangle 20"/>
          <p:cNvSpPr/>
          <p:nvPr/>
        </p:nvSpPr>
        <p:spPr>
          <a:xfrm>
            <a:off x="870048" y="1929008"/>
            <a:ext cx="1200116" cy="46095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202" name="Rectangle 21"/>
          <p:cNvSpPr/>
          <p:nvPr/>
        </p:nvSpPr>
        <p:spPr>
          <a:xfrm>
            <a:off x="2123802" y="1959566"/>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Policy 1</a:t>
            </a:r>
          </a:p>
        </p:txBody>
      </p:sp>
      <p:sp>
        <p:nvSpPr>
          <p:cNvPr id="203" name="Rectangle 301"/>
          <p:cNvSpPr/>
          <p:nvPr/>
        </p:nvSpPr>
        <p:spPr>
          <a:xfrm>
            <a:off x="2123802" y="2230326"/>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Policy 1</a:t>
            </a:r>
          </a:p>
        </p:txBody>
      </p:sp>
      <p:sp>
        <p:nvSpPr>
          <p:cNvPr id="204" name="Rectangle 302"/>
          <p:cNvSpPr/>
          <p:nvPr/>
        </p:nvSpPr>
        <p:spPr>
          <a:xfrm>
            <a:off x="2125126" y="2501087"/>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メイリオ"/>
                <a:ea typeface="メイリオ"/>
                <a:cs typeface="メイリオ"/>
              </a:rPr>
              <a:t>Policy 1</a:t>
            </a:r>
          </a:p>
        </p:txBody>
      </p:sp>
      <p:sp>
        <p:nvSpPr>
          <p:cNvPr id="205" name="Rectangle 343"/>
          <p:cNvSpPr/>
          <p:nvPr/>
        </p:nvSpPr>
        <p:spPr>
          <a:xfrm>
            <a:off x="868554" y="2411027"/>
            <a:ext cx="1207513" cy="46095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206" name="TextBox 345"/>
          <p:cNvSpPr txBox="1"/>
          <p:nvPr/>
        </p:nvSpPr>
        <p:spPr>
          <a:xfrm>
            <a:off x="2118969" y="1488750"/>
            <a:ext cx="1707136" cy="400110"/>
          </a:xfrm>
          <a:prstGeom prst="rect">
            <a:avLst/>
          </a:prstGeom>
          <a:solidFill>
            <a:schemeClr val="bg1"/>
          </a:solidFill>
        </p:spPr>
        <p:txBody>
          <a:bodyPr wrap="square" rtlCol="0">
            <a:spAutoFit/>
          </a:bodyPr>
          <a:lstStyle/>
          <a:p>
            <a:r>
              <a:rPr lang="en-US" sz="1000" b="1" dirty="0">
                <a:solidFill>
                  <a:schemeClr val="accent1"/>
                </a:solidFill>
                <a:latin typeface="メイリオ"/>
                <a:ea typeface="メイリオ"/>
                <a:cs typeface="メイリオ"/>
              </a:rPr>
              <a:t>Quickly see </a:t>
            </a:r>
            <a:br>
              <a:rPr lang="en-US" sz="1000" b="1" dirty="0">
                <a:solidFill>
                  <a:schemeClr val="accent1"/>
                </a:solidFill>
                <a:latin typeface="メイリオ"/>
                <a:ea typeface="メイリオ"/>
                <a:cs typeface="メイリオ"/>
              </a:rPr>
            </a:br>
            <a:r>
              <a:rPr lang="en-US" sz="1000" b="1" dirty="0">
                <a:solidFill>
                  <a:schemeClr val="accent1"/>
                </a:solidFill>
                <a:latin typeface="メイリオ"/>
                <a:ea typeface="メイリオ"/>
                <a:cs typeface="メイリオ"/>
              </a:rPr>
              <a:t>Inconsistent Policies</a:t>
            </a:r>
          </a:p>
        </p:txBody>
      </p:sp>
      <p:sp>
        <p:nvSpPr>
          <p:cNvPr id="207" name="Rectangle 269"/>
          <p:cNvSpPr/>
          <p:nvPr/>
        </p:nvSpPr>
        <p:spPr>
          <a:xfrm>
            <a:off x="2092179" y="1910708"/>
            <a:ext cx="1767088" cy="856736"/>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08" name="Rectangle 278"/>
          <p:cNvSpPr/>
          <p:nvPr/>
        </p:nvSpPr>
        <p:spPr>
          <a:xfrm>
            <a:off x="2127629" y="1949683"/>
            <a:ext cx="815522" cy="77121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117475" indent="-117475"/>
            <a:r>
              <a:rPr lang="en-US" sz="1000" b="1" dirty="0">
                <a:solidFill>
                  <a:schemeClr val="tx1"/>
                </a:solidFill>
                <a:latin typeface="メイリオ"/>
                <a:ea typeface="メイリオ"/>
                <a:cs typeface="メイリオ"/>
              </a:rPr>
              <a:t>Policy 1</a:t>
            </a:r>
          </a:p>
          <a:p>
            <a:pPr marL="117475" indent="-117475"/>
            <a:r>
              <a:rPr lang="en-US" sz="1000" dirty="0">
                <a:solidFill>
                  <a:schemeClr val="tx1"/>
                </a:solidFill>
                <a:latin typeface="メイリオ"/>
                <a:ea typeface="メイリオ"/>
                <a:cs typeface="メイリオ"/>
              </a:rPr>
              <a:t>Objects</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1</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2</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3</a:t>
            </a:r>
          </a:p>
        </p:txBody>
      </p:sp>
      <p:sp>
        <p:nvSpPr>
          <p:cNvPr id="209" name="Rectangle 349"/>
          <p:cNvSpPr/>
          <p:nvPr/>
        </p:nvSpPr>
        <p:spPr>
          <a:xfrm>
            <a:off x="2979284" y="1956033"/>
            <a:ext cx="815522" cy="77121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117475" indent="-117475"/>
            <a:r>
              <a:rPr lang="en-US" sz="1000" b="1" dirty="0">
                <a:solidFill>
                  <a:schemeClr val="tx1"/>
                </a:solidFill>
                <a:latin typeface="メイリオ"/>
                <a:ea typeface="メイリオ"/>
                <a:cs typeface="メイリオ"/>
              </a:rPr>
              <a:t>Policy 2</a:t>
            </a:r>
          </a:p>
          <a:p>
            <a:pPr marL="117475" indent="-117475"/>
            <a:r>
              <a:rPr lang="en-US" sz="1000" dirty="0">
                <a:solidFill>
                  <a:schemeClr val="tx1"/>
                </a:solidFill>
                <a:latin typeface="メイリオ"/>
                <a:ea typeface="メイリオ"/>
                <a:cs typeface="メイリオ"/>
              </a:rPr>
              <a:t>Objects</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1</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2</a:t>
            </a:r>
          </a:p>
          <a:p>
            <a:pPr marL="117475" indent="-117475">
              <a:buFont typeface="Arial" panose="020B0604020202020204" pitchFamily="34" charset="0"/>
              <a:buChar char="•"/>
            </a:pPr>
            <a:r>
              <a:rPr lang="en-US" sz="1000" dirty="0">
                <a:solidFill>
                  <a:schemeClr val="tx1"/>
                </a:solidFill>
                <a:latin typeface="メイリオ"/>
                <a:ea typeface="メイリオ"/>
                <a:cs typeface="メイリオ"/>
              </a:rPr>
              <a:t>3b</a:t>
            </a:r>
          </a:p>
        </p:txBody>
      </p:sp>
      <p:grpSp>
        <p:nvGrpSpPr>
          <p:cNvPr id="210" name="Group 26"/>
          <p:cNvGrpSpPr/>
          <p:nvPr/>
        </p:nvGrpSpPr>
        <p:grpSpPr>
          <a:xfrm>
            <a:off x="6811863" y="2906750"/>
            <a:ext cx="195755" cy="195755"/>
            <a:chOff x="11170108" y="836094"/>
            <a:chExt cx="365678" cy="365678"/>
          </a:xfrm>
        </p:grpSpPr>
        <p:sp>
          <p:nvSpPr>
            <p:cNvPr id="211" name="Oval 366"/>
            <p:cNvSpPr/>
            <p:nvPr/>
          </p:nvSpPr>
          <p:spPr>
            <a:xfrm>
              <a:off x="11170108" y="836094"/>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350"/>
            <p:cNvGrpSpPr/>
            <p:nvPr/>
          </p:nvGrpSpPr>
          <p:grpSpPr>
            <a:xfrm>
              <a:off x="11240909" y="871769"/>
              <a:ext cx="257077" cy="265814"/>
              <a:chOff x="4446645" y="5328269"/>
              <a:chExt cx="393701" cy="407081"/>
            </a:xfrm>
          </p:grpSpPr>
          <p:sp>
            <p:nvSpPr>
              <p:cNvPr id="213"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14" name="Rectangle 352"/>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16" name="Rectangle 354"/>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17" name="Rectangle 355"/>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18" name="Rectangle 356"/>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19" name="Rectangle 357"/>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20" name="Rectangle 358"/>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21" name="Rectangle 359"/>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22" name="Rectangle 360"/>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23" name="Rectangle 361"/>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224" name="Group 362"/>
              <p:cNvGrpSpPr>
                <a:grpSpLocks noChangeAspect="1"/>
              </p:cNvGrpSpPr>
              <p:nvPr/>
            </p:nvGrpSpPr>
            <p:grpSpPr>
              <a:xfrm>
                <a:off x="4616915" y="5503457"/>
                <a:ext cx="168922" cy="155424"/>
                <a:chOff x="9231726" y="3248067"/>
                <a:chExt cx="1060101" cy="975395"/>
              </a:xfrm>
              <a:solidFill>
                <a:schemeClr val="accent6"/>
              </a:solidFill>
            </p:grpSpPr>
            <p:sp>
              <p:nvSpPr>
                <p:cNvPr id="225"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28" name="Group 368"/>
          <p:cNvGrpSpPr/>
          <p:nvPr/>
        </p:nvGrpSpPr>
        <p:grpSpPr>
          <a:xfrm>
            <a:off x="7550372" y="2370613"/>
            <a:ext cx="195755" cy="195755"/>
            <a:chOff x="11170108" y="836094"/>
            <a:chExt cx="365678" cy="365678"/>
          </a:xfrm>
        </p:grpSpPr>
        <p:sp>
          <p:nvSpPr>
            <p:cNvPr id="229" name="Oval 369"/>
            <p:cNvSpPr/>
            <p:nvPr/>
          </p:nvSpPr>
          <p:spPr>
            <a:xfrm>
              <a:off x="11170108" y="836094"/>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0" name="Group 370"/>
            <p:cNvGrpSpPr/>
            <p:nvPr/>
          </p:nvGrpSpPr>
          <p:grpSpPr>
            <a:xfrm>
              <a:off x="11240909" y="871769"/>
              <a:ext cx="257077" cy="265814"/>
              <a:chOff x="4446645" y="5328269"/>
              <a:chExt cx="393701" cy="407081"/>
            </a:xfrm>
          </p:grpSpPr>
          <p:sp>
            <p:nvSpPr>
              <p:cNvPr id="231"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32" name="Rectangle 372"/>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3"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234" name="Rectangle 374"/>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35" name="Rectangle 375"/>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236" name="Rectangle 376"/>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37" name="Rectangle 377"/>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38" name="Rectangle 378"/>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39" name="Rectangle 379"/>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40" name="Rectangle 380"/>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241" name="Rectangle 381"/>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242" name="Group 382"/>
              <p:cNvGrpSpPr>
                <a:grpSpLocks noChangeAspect="1"/>
              </p:cNvGrpSpPr>
              <p:nvPr/>
            </p:nvGrpSpPr>
            <p:grpSpPr>
              <a:xfrm>
                <a:off x="4616915" y="5503457"/>
                <a:ext cx="168922" cy="155424"/>
                <a:chOff x="9231726" y="3248067"/>
                <a:chExt cx="1060101" cy="975395"/>
              </a:xfrm>
              <a:solidFill>
                <a:schemeClr val="accent6"/>
              </a:solidFill>
            </p:grpSpPr>
            <p:sp>
              <p:nvSpPr>
                <p:cNvPr id="243"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246" name="Rectangle 276"/>
          <p:cNvSpPr/>
          <p:nvPr/>
        </p:nvSpPr>
        <p:spPr>
          <a:xfrm>
            <a:off x="2129183" y="2563753"/>
            <a:ext cx="816471" cy="157149"/>
          </a:xfrm>
          <a:prstGeom prst="rect">
            <a:avLst/>
          </a:prstGeom>
          <a:noFill/>
          <a:ln>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247" name="Rectangle 386"/>
          <p:cNvSpPr/>
          <p:nvPr/>
        </p:nvSpPr>
        <p:spPr>
          <a:xfrm>
            <a:off x="2993869" y="2557966"/>
            <a:ext cx="816471" cy="157149"/>
          </a:xfrm>
          <a:prstGeom prst="rect">
            <a:avLst/>
          </a:prstGeom>
          <a:noFill/>
          <a:ln>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nvGrpSpPr>
          <p:cNvPr id="248" name="Group 5"/>
          <p:cNvGrpSpPr/>
          <p:nvPr/>
        </p:nvGrpSpPr>
        <p:grpSpPr>
          <a:xfrm>
            <a:off x="860881" y="1908144"/>
            <a:ext cx="1254174" cy="490154"/>
            <a:chOff x="4131931" y="2854775"/>
            <a:chExt cx="1254174" cy="490154"/>
          </a:xfrm>
        </p:grpSpPr>
        <p:sp>
          <p:nvSpPr>
            <p:cNvPr id="249" name="Rectangle 344"/>
            <p:cNvSpPr/>
            <p:nvPr/>
          </p:nvSpPr>
          <p:spPr>
            <a:xfrm>
              <a:off x="4131931" y="2854775"/>
              <a:ext cx="1254174" cy="490154"/>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nvGrpSpPr>
            <p:cNvPr id="250" name="Group 270"/>
            <p:cNvGrpSpPr/>
            <p:nvPr/>
          </p:nvGrpSpPr>
          <p:grpSpPr>
            <a:xfrm>
              <a:off x="4198949" y="2973208"/>
              <a:ext cx="1103379" cy="265813"/>
              <a:chOff x="4198189" y="2972100"/>
              <a:chExt cx="1103379" cy="265813"/>
            </a:xfrm>
          </p:grpSpPr>
          <p:grpSp>
            <p:nvGrpSpPr>
              <p:cNvPr id="251" name="Group 272"/>
              <p:cNvGrpSpPr/>
              <p:nvPr/>
            </p:nvGrpSpPr>
            <p:grpSpPr>
              <a:xfrm>
                <a:off x="4198189" y="2972100"/>
                <a:ext cx="257079" cy="265813"/>
                <a:chOff x="3798941" y="5187096"/>
                <a:chExt cx="393704" cy="407080"/>
              </a:xfrm>
            </p:grpSpPr>
            <p:sp>
              <p:nvSpPr>
                <p:cNvPr id="253"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254" name="Rectangle 275"/>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メイリオ"/>
                    <a:ea typeface="メイリオ"/>
                    <a:cs typeface="メイリオ"/>
                  </a:endParaRPr>
                </a:p>
              </p:txBody>
            </p:sp>
            <p:sp>
              <p:nvSpPr>
                <p:cNvPr id="255"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676767"/>
                    </a:solidFill>
                    <a:effectLst/>
                    <a:uLnTx/>
                    <a:uFillTx/>
                    <a:latin typeface="メイリオ"/>
                    <a:ea typeface="メイリオ"/>
                    <a:cs typeface="メイリオ"/>
                  </a:endParaRPr>
                </a:p>
              </p:txBody>
            </p:sp>
            <p:sp>
              <p:nvSpPr>
                <p:cNvPr id="256" name="Rectangle 279"/>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257" name="Rectangle 280"/>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676767"/>
                    </a:solidFill>
                    <a:effectLst/>
                    <a:uLnTx/>
                    <a:uFillTx/>
                    <a:latin typeface="メイリオ"/>
                    <a:ea typeface="メイリオ"/>
                    <a:cs typeface="メイリオ"/>
                  </a:endParaRPr>
                </a:p>
              </p:txBody>
            </p:sp>
            <p:sp>
              <p:nvSpPr>
                <p:cNvPr id="258" name="Rectangle 281"/>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59" name="Rectangle 284"/>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60" name="Rectangle 285"/>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61" name="Rectangle 294"/>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62" name="Rectangle 299"/>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sp>
              <p:nvSpPr>
                <p:cNvPr id="263" name="Rectangle 300"/>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メイリオ"/>
                    <a:ea typeface="メイリオ"/>
                    <a:cs typeface="メイリオ"/>
                  </a:endParaRPr>
                </a:p>
              </p:txBody>
            </p:sp>
          </p:grpSp>
          <p:sp>
            <p:nvSpPr>
              <p:cNvPr id="252" name="TextBox 273"/>
              <p:cNvSpPr txBox="1"/>
              <p:nvPr/>
            </p:nvSpPr>
            <p:spPr>
              <a:xfrm>
                <a:off x="4433965" y="2984833"/>
                <a:ext cx="867603" cy="230832"/>
              </a:xfrm>
              <a:prstGeom prst="rect">
                <a:avLst/>
              </a:prstGeom>
              <a:noFill/>
            </p:spPr>
            <p:txBody>
              <a:bodyPr wrap="square" rtlCol="0">
                <a:spAutoFit/>
              </a:bodyPr>
              <a:lstStyle/>
              <a:p>
                <a:r>
                  <a:rPr lang="en-US" sz="900" b="1" dirty="0">
                    <a:latin typeface="メイリオ"/>
                    <a:ea typeface="メイリオ"/>
                    <a:cs typeface="メイリオ"/>
                  </a:rPr>
                  <a:t>Duplicate</a:t>
                </a:r>
              </a:p>
            </p:txBody>
          </p:sp>
        </p:grpSp>
      </p:grpSp>
      <p:sp>
        <p:nvSpPr>
          <p:cNvPr id="264" name="Freeform 195"/>
          <p:cNvSpPr>
            <a:spLocks/>
          </p:cNvSpPr>
          <p:nvPr/>
        </p:nvSpPr>
        <p:spPr bwMode="auto">
          <a:xfrm>
            <a:off x="1816608" y="2073649"/>
            <a:ext cx="161678" cy="280019"/>
          </a:xfrm>
          <a:custGeom>
            <a:avLst/>
            <a:gdLst>
              <a:gd name="T0" fmla="*/ 12 w 194"/>
              <a:gd name="T1" fmla="*/ 0 h 336"/>
              <a:gd name="T2" fmla="*/ 22 w 194"/>
              <a:gd name="T3" fmla="*/ 8 h 336"/>
              <a:gd name="T4" fmla="*/ 30 w 194"/>
              <a:gd name="T5" fmla="*/ 18 h 336"/>
              <a:gd name="T6" fmla="*/ 64 w 194"/>
              <a:gd name="T7" fmla="*/ 58 h 336"/>
              <a:gd name="T8" fmla="*/ 96 w 194"/>
              <a:gd name="T9" fmla="*/ 96 h 336"/>
              <a:gd name="T10" fmla="*/ 126 w 194"/>
              <a:gd name="T11" fmla="*/ 132 h 336"/>
              <a:gd name="T12" fmla="*/ 160 w 194"/>
              <a:gd name="T13" fmla="*/ 172 h 336"/>
              <a:gd name="T14" fmla="*/ 190 w 194"/>
              <a:gd name="T15" fmla="*/ 210 h 336"/>
              <a:gd name="T16" fmla="*/ 194 w 194"/>
              <a:gd name="T17" fmla="*/ 220 h 336"/>
              <a:gd name="T18" fmla="*/ 194 w 194"/>
              <a:gd name="T19" fmla="*/ 224 h 336"/>
              <a:gd name="T20" fmla="*/ 188 w 194"/>
              <a:gd name="T21" fmla="*/ 228 h 336"/>
              <a:gd name="T22" fmla="*/ 184 w 194"/>
              <a:gd name="T23" fmla="*/ 228 h 336"/>
              <a:gd name="T24" fmla="*/ 174 w 194"/>
              <a:gd name="T25" fmla="*/ 228 h 336"/>
              <a:gd name="T26" fmla="*/ 112 w 194"/>
              <a:gd name="T27" fmla="*/ 216 h 336"/>
              <a:gd name="T28" fmla="*/ 110 w 194"/>
              <a:gd name="T29" fmla="*/ 214 h 336"/>
              <a:gd name="T30" fmla="*/ 114 w 194"/>
              <a:gd name="T31" fmla="*/ 228 h 336"/>
              <a:gd name="T32" fmla="*/ 126 w 194"/>
              <a:gd name="T33" fmla="*/ 266 h 336"/>
              <a:gd name="T34" fmla="*/ 138 w 194"/>
              <a:gd name="T35" fmla="*/ 296 h 336"/>
              <a:gd name="T36" fmla="*/ 142 w 194"/>
              <a:gd name="T37" fmla="*/ 310 h 336"/>
              <a:gd name="T38" fmla="*/ 138 w 194"/>
              <a:gd name="T39" fmla="*/ 326 h 336"/>
              <a:gd name="T40" fmla="*/ 124 w 194"/>
              <a:gd name="T41" fmla="*/ 336 h 336"/>
              <a:gd name="T42" fmla="*/ 122 w 194"/>
              <a:gd name="T43" fmla="*/ 336 h 336"/>
              <a:gd name="T44" fmla="*/ 116 w 194"/>
              <a:gd name="T45" fmla="*/ 336 h 336"/>
              <a:gd name="T46" fmla="*/ 116 w 194"/>
              <a:gd name="T47" fmla="*/ 336 h 336"/>
              <a:gd name="T48" fmla="*/ 110 w 194"/>
              <a:gd name="T49" fmla="*/ 334 h 336"/>
              <a:gd name="T50" fmla="*/ 100 w 194"/>
              <a:gd name="T51" fmla="*/ 326 h 336"/>
              <a:gd name="T52" fmla="*/ 98 w 194"/>
              <a:gd name="T53" fmla="*/ 320 h 336"/>
              <a:gd name="T54" fmla="*/ 86 w 194"/>
              <a:gd name="T55" fmla="*/ 286 h 336"/>
              <a:gd name="T56" fmla="*/ 68 w 194"/>
              <a:gd name="T57" fmla="*/ 238 h 336"/>
              <a:gd name="T58" fmla="*/ 66 w 194"/>
              <a:gd name="T59" fmla="*/ 228 h 336"/>
              <a:gd name="T60" fmla="*/ 64 w 194"/>
              <a:gd name="T61" fmla="*/ 230 h 336"/>
              <a:gd name="T62" fmla="*/ 36 w 194"/>
              <a:gd name="T63" fmla="*/ 268 h 336"/>
              <a:gd name="T64" fmla="*/ 18 w 194"/>
              <a:gd name="T65" fmla="*/ 292 h 336"/>
              <a:gd name="T66" fmla="*/ 12 w 194"/>
              <a:gd name="T67" fmla="*/ 296 h 336"/>
              <a:gd name="T68" fmla="*/ 4 w 194"/>
              <a:gd name="T69" fmla="*/ 294 h 336"/>
              <a:gd name="T70" fmla="*/ 0 w 194"/>
              <a:gd name="T71" fmla="*/ 288 h 336"/>
              <a:gd name="T72" fmla="*/ 0 w 194"/>
              <a:gd name="T73" fmla="*/ 282 h 336"/>
              <a:gd name="T74" fmla="*/ 0 w 194"/>
              <a:gd name="T75" fmla="*/ 14 h 336"/>
              <a:gd name="T76" fmla="*/ 2 w 194"/>
              <a:gd name="T77" fmla="*/ 6 h 336"/>
              <a:gd name="T78" fmla="*/ 8 w 194"/>
              <a:gd name="T79" fmla="*/ 0 h 336"/>
              <a:gd name="T80" fmla="*/ 12 w 194"/>
              <a:gd name="T8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36">
                <a:moveTo>
                  <a:pt x="12" y="0"/>
                </a:moveTo>
                <a:lnTo>
                  <a:pt x="12" y="0"/>
                </a:lnTo>
                <a:lnTo>
                  <a:pt x="18" y="4"/>
                </a:lnTo>
                <a:lnTo>
                  <a:pt x="22" y="8"/>
                </a:lnTo>
                <a:lnTo>
                  <a:pt x="30" y="18"/>
                </a:lnTo>
                <a:lnTo>
                  <a:pt x="30" y="18"/>
                </a:lnTo>
                <a:lnTo>
                  <a:pt x="64" y="58"/>
                </a:lnTo>
                <a:lnTo>
                  <a:pt x="64" y="58"/>
                </a:lnTo>
                <a:lnTo>
                  <a:pt x="96" y="96"/>
                </a:lnTo>
                <a:lnTo>
                  <a:pt x="96" y="96"/>
                </a:lnTo>
                <a:lnTo>
                  <a:pt x="126" y="132"/>
                </a:lnTo>
                <a:lnTo>
                  <a:pt x="126" y="132"/>
                </a:lnTo>
                <a:lnTo>
                  <a:pt x="160" y="172"/>
                </a:lnTo>
                <a:lnTo>
                  <a:pt x="160" y="172"/>
                </a:lnTo>
                <a:lnTo>
                  <a:pt x="190" y="210"/>
                </a:lnTo>
                <a:lnTo>
                  <a:pt x="190" y="210"/>
                </a:lnTo>
                <a:lnTo>
                  <a:pt x="194" y="214"/>
                </a:lnTo>
                <a:lnTo>
                  <a:pt x="194" y="220"/>
                </a:lnTo>
                <a:lnTo>
                  <a:pt x="194" y="220"/>
                </a:lnTo>
                <a:lnTo>
                  <a:pt x="194" y="224"/>
                </a:lnTo>
                <a:lnTo>
                  <a:pt x="192" y="226"/>
                </a:lnTo>
                <a:lnTo>
                  <a:pt x="188" y="228"/>
                </a:lnTo>
                <a:lnTo>
                  <a:pt x="184" y="228"/>
                </a:lnTo>
                <a:lnTo>
                  <a:pt x="184" y="228"/>
                </a:lnTo>
                <a:lnTo>
                  <a:pt x="174" y="228"/>
                </a:lnTo>
                <a:lnTo>
                  <a:pt x="174" y="228"/>
                </a:lnTo>
                <a:lnTo>
                  <a:pt x="112" y="216"/>
                </a:lnTo>
                <a:lnTo>
                  <a:pt x="112" y="216"/>
                </a:lnTo>
                <a:lnTo>
                  <a:pt x="110" y="214"/>
                </a:lnTo>
                <a:lnTo>
                  <a:pt x="110" y="214"/>
                </a:lnTo>
                <a:lnTo>
                  <a:pt x="114" y="228"/>
                </a:lnTo>
                <a:lnTo>
                  <a:pt x="114" y="228"/>
                </a:lnTo>
                <a:lnTo>
                  <a:pt x="126" y="266"/>
                </a:lnTo>
                <a:lnTo>
                  <a:pt x="126" y="266"/>
                </a:lnTo>
                <a:lnTo>
                  <a:pt x="138" y="296"/>
                </a:lnTo>
                <a:lnTo>
                  <a:pt x="138" y="296"/>
                </a:lnTo>
                <a:lnTo>
                  <a:pt x="142" y="310"/>
                </a:lnTo>
                <a:lnTo>
                  <a:pt x="142" y="310"/>
                </a:lnTo>
                <a:lnTo>
                  <a:pt x="142" y="318"/>
                </a:lnTo>
                <a:lnTo>
                  <a:pt x="138" y="326"/>
                </a:lnTo>
                <a:lnTo>
                  <a:pt x="132" y="332"/>
                </a:lnTo>
                <a:lnTo>
                  <a:pt x="124" y="336"/>
                </a:lnTo>
                <a:lnTo>
                  <a:pt x="124" y="336"/>
                </a:lnTo>
                <a:lnTo>
                  <a:pt x="122" y="336"/>
                </a:lnTo>
                <a:lnTo>
                  <a:pt x="122" y="336"/>
                </a:lnTo>
                <a:lnTo>
                  <a:pt x="116" y="336"/>
                </a:lnTo>
                <a:lnTo>
                  <a:pt x="116" y="336"/>
                </a:lnTo>
                <a:lnTo>
                  <a:pt x="116" y="336"/>
                </a:lnTo>
                <a:lnTo>
                  <a:pt x="116" y="336"/>
                </a:lnTo>
                <a:lnTo>
                  <a:pt x="110" y="334"/>
                </a:lnTo>
                <a:lnTo>
                  <a:pt x="104" y="330"/>
                </a:lnTo>
                <a:lnTo>
                  <a:pt x="100" y="326"/>
                </a:lnTo>
                <a:lnTo>
                  <a:pt x="98" y="320"/>
                </a:lnTo>
                <a:lnTo>
                  <a:pt x="98" y="320"/>
                </a:lnTo>
                <a:lnTo>
                  <a:pt x="86" y="286"/>
                </a:lnTo>
                <a:lnTo>
                  <a:pt x="86" y="286"/>
                </a:lnTo>
                <a:lnTo>
                  <a:pt x="68" y="238"/>
                </a:lnTo>
                <a:lnTo>
                  <a:pt x="68" y="238"/>
                </a:lnTo>
                <a:lnTo>
                  <a:pt x="66" y="228"/>
                </a:lnTo>
                <a:lnTo>
                  <a:pt x="66" y="228"/>
                </a:lnTo>
                <a:lnTo>
                  <a:pt x="64" y="230"/>
                </a:lnTo>
                <a:lnTo>
                  <a:pt x="64" y="230"/>
                </a:lnTo>
                <a:lnTo>
                  <a:pt x="36" y="268"/>
                </a:lnTo>
                <a:lnTo>
                  <a:pt x="36" y="268"/>
                </a:lnTo>
                <a:lnTo>
                  <a:pt x="18" y="292"/>
                </a:lnTo>
                <a:lnTo>
                  <a:pt x="18" y="292"/>
                </a:lnTo>
                <a:lnTo>
                  <a:pt x="16" y="294"/>
                </a:lnTo>
                <a:lnTo>
                  <a:pt x="12" y="296"/>
                </a:lnTo>
                <a:lnTo>
                  <a:pt x="8" y="296"/>
                </a:lnTo>
                <a:lnTo>
                  <a:pt x="4" y="294"/>
                </a:lnTo>
                <a:lnTo>
                  <a:pt x="4" y="294"/>
                </a:lnTo>
                <a:lnTo>
                  <a:pt x="0" y="288"/>
                </a:lnTo>
                <a:lnTo>
                  <a:pt x="0" y="282"/>
                </a:lnTo>
                <a:lnTo>
                  <a:pt x="0" y="282"/>
                </a:lnTo>
                <a:lnTo>
                  <a:pt x="0" y="14"/>
                </a:lnTo>
                <a:lnTo>
                  <a:pt x="0" y="14"/>
                </a:lnTo>
                <a:lnTo>
                  <a:pt x="0" y="8"/>
                </a:lnTo>
                <a:lnTo>
                  <a:pt x="2" y="6"/>
                </a:lnTo>
                <a:lnTo>
                  <a:pt x="4" y="2"/>
                </a:lnTo>
                <a:lnTo>
                  <a:pt x="8" y="0"/>
                </a:lnTo>
                <a:lnTo>
                  <a:pt x="8" y="0"/>
                </a:lnTo>
                <a:lnTo>
                  <a:pt x="12" y="0"/>
                </a:lnTo>
                <a:lnTo>
                  <a:pt x="12" y="0"/>
                </a:lnTo>
                <a:close/>
              </a:path>
            </a:pathLst>
          </a:custGeom>
          <a:solidFill>
            <a:schemeClr val="bg1"/>
          </a:solidFill>
          <a:ln w="19050">
            <a:solidFill>
              <a:schemeClr val="accent5"/>
            </a:solidFill>
          </a:ln>
        </p:spPr>
        <p:txBody>
          <a:bodyPr vert="horz" wrap="square" lIns="91440" tIns="45720" rIns="91440" bIns="45720" numCol="1" anchor="t" anchorCtr="0" compatLnSpc="1">
            <a:prstTxWarp prst="textNoShape">
              <a:avLst/>
            </a:prstTxWarp>
          </a:bodyPr>
          <a:lstStyle/>
          <a:p>
            <a:endParaRPr lang="en-US" sz="1600">
              <a:latin typeface="メイリオ"/>
              <a:ea typeface="メイリオ"/>
              <a:cs typeface="メイリオ"/>
            </a:endParaRPr>
          </a:p>
        </p:txBody>
      </p:sp>
      <p:pic>
        <p:nvPicPr>
          <p:cNvPr id="265" name="Picture 4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6903" y="2798812"/>
            <a:ext cx="2283009" cy="2335159"/>
          </a:xfrm>
          <a:prstGeom prst="rect">
            <a:avLst/>
          </a:prstGeom>
        </p:spPr>
      </p:pic>
      <p:sp>
        <p:nvSpPr>
          <p:cNvPr id="266" name="Rounded Rectangle 187"/>
          <p:cNvSpPr/>
          <p:nvPr/>
        </p:nvSpPr>
        <p:spPr>
          <a:xfrm>
            <a:off x="3150453" y="2805615"/>
            <a:ext cx="640080"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latin typeface="メイリオ"/>
                <a:ea typeface="メイリオ"/>
                <a:cs typeface="メイリオ"/>
              </a:rPr>
              <a:t>Rename Policy</a:t>
            </a:r>
          </a:p>
        </p:txBody>
      </p:sp>
      <p:sp>
        <p:nvSpPr>
          <p:cNvPr id="267" name="Rounded Rectangle 191"/>
          <p:cNvSpPr/>
          <p:nvPr/>
        </p:nvSpPr>
        <p:spPr>
          <a:xfrm>
            <a:off x="3153487" y="3193141"/>
            <a:ext cx="640080"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latin typeface="メイリオ"/>
                <a:ea typeface="メイリオ"/>
                <a:cs typeface="メイリオ"/>
              </a:rPr>
              <a:t>Edit Policy</a:t>
            </a:r>
          </a:p>
        </p:txBody>
      </p:sp>
      <p:sp>
        <p:nvSpPr>
          <p:cNvPr id="268" name="Rectangle 199"/>
          <p:cNvSpPr/>
          <p:nvPr/>
        </p:nvSpPr>
        <p:spPr>
          <a:xfrm>
            <a:off x="468951" y="702562"/>
            <a:ext cx="7735333" cy="31394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latin typeface="メイリオ"/>
                <a:ea typeface="メイリオ"/>
                <a:cs typeface="メイリオ"/>
              </a:rPr>
              <a:t>不整合の修正</a:t>
            </a:r>
            <a:endParaRPr lang="en-US" dirty="0">
              <a:latin typeface="メイリオ"/>
              <a:ea typeface="メイリオ"/>
              <a:cs typeface="メイリオ"/>
            </a:endParaRPr>
          </a:p>
        </p:txBody>
      </p:sp>
    </p:spTree>
    <p:extLst>
      <p:ext uri="{BB962C8B-B14F-4D97-AF65-F5344CB8AC3E}">
        <p14:creationId xmlns:p14="http://schemas.microsoft.com/office/powerpoint/2010/main" val="363359447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grpId="0" nodeType="withEffect">
                                  <p:stCondLst>
                                    <p:cond delay="0"/>
                                  </p:stCondLst>
                                  <p:childTnLst>
                                    <p:animMotion origin="layout" path="M 2.08333E-6 1.85185E-6 L 0.00156 0.02754 C 0.00221 0.03287 0.00104 0.04074 -0.00039 0.0493 C -0.00196 0.05856 -0.00417 0.06481 -0.00638 0.06921 L -0.0168 0.09051 " pathEditMode="relative" rAng="6480000" ptsTypes="AAAAA">
                                      <p:cBhvr>
                                        <p:cTn id="6" dur="750" fill="hold"/>
                                        <p:tgtEl>
                                          <p:spTgt spid="264"/>
                                        </p:tgtEl>
                                        <p:attrNameLst>
                                          <p:attrName>ppt_x</p:attrName>
                                          <p:attrName>ppt_y</p:attrName>
                                        </p:attrNameLst>
                                      </p:cBhvr>
                                      <p:rCtr x="-443" y="4745"/>
                                    </p:animMotion>
                                  </p:childTnLst>
                                </p:cTn>
                              </p:par>
                              <p:par>
                                <p:cTn id="7" presetID="1" presetClass="entr" presetSubtype="0" fill="hold" grpId="0" nodeType="withEffect">
                                  <p:stCondLst>
                                    <p:cond delay="750"/>
                                  </p:stCondLst>
                                  <p:childTnLst>
                                    <p:set>
                                      <p:cBhvr>
                                        <p:cTn id="8" dur="1" fill="hold">
                                          <p:stCondLst>
                                            <p:cond delay="0"/>
                                          </p:stCondLst>
                                        </p:cTn>
                                        <p:tgtEl>
                                          <p:spTgt spid="205"/>
                                        </p:tgtEl>
                                        <p:attrNameLst>
                                          <p:attrName>style.visibility</p:attrName>
                                        </p:attrNameLst>
                                      </p:cBhvr>
                                      <p:to>
                                        <p:strVal val="visible"/>
                                      </p:to>
                                    </p:set>
                                  </p:childTnLst>
                                </p:cTn>
                              </p:par>
                              <p:par>
                                <p:cTn id="9" presetID="1" presetClass="entr" presetSubtype="0" fill="hold" grpId="0" nodeType="withEffect">
                                  <p:stCondLst>
                                    <p:cond delay="750"/>
                                  </p:stCondLst>
                                  <p:childTnLst>
                                    <p:set>
                                      <p:cBhvr>
                                        <p:cTn id="10" dur="1" fill="hold">
                                          <p:stCondLst>
                                            <p:cond delay="0"/>
                                          </p:stCondLst>
                                        </p:cTn>
                                        <p:tgtEl>
                                          <p:spTgt spid="206"/>
                                        </p:tgtEl>
                                        <p:attrNameLst>
                                          <p:attrName>style.visibility</p:attrName>
                                        </p:attrNameLst>
                                      </p:cBhvr>
                                      <p:to>
                                        <p:strVal val="visible"/>
                                      </p:to>
                                    </p:set>
                                  </p:childTnLst>
                                </p:cTn>
                              </p:par>
                              <p:par>
                                <p:cTn id="11" presetID="1" presetClass="entr" presetSubtype="0" fill="hold" grpId="0" nodeType="withEffect">
                                  <p:stCondLst>
                                    <p:cond delay="750"/>
                                  </p:stCondLst>
                                  <p:childTnLst>
                                    <p:set>
                                      <p:cBhvr>
                                        <p:cTn id="12" dur="1" fill="hold">
                                          <p:stCondLst>
                                            <p:cond delay="0"/>
                                          </p:stCondLst>
                                        </p:cTn>
                                        <p:tgtEl>
                                          <p:spTgt spid="207"/>
                                        </p:tgtEl>
                                        <p:attrNameLst>
                                          <p:attrName>style.visibility</p:attrName>
                                        </p:attrNameLst>
                                      </p:cBhvr>
                                      <p:to>
                                        <p:strVal val="visible"/>
                                      </p:to>
                                    </p:set>
                                  </p:childTnLst>
                                </p:cTn>
                              </p:par>
                              <p:par>
                                <p:cTn id="13" presetID="1" presetClass="entr" presetSubtype="0" fill="hold" nodeType="withEffect">
                                  <p:stCondLst>
                                    <p:cond delay="750"/>
                                  </p:stCondLst>
                                  <p:childTnLst>
                                    <p:set>
                                      <p:cBhvr>
                                        <p:cTn id="14" dur="1" fill="hold">
                                          <p:stCondLst>
                                            <p:cond delay="0"/>
                                          </p:stCondLst>
                                        </p:cTn>
                                        <p:tgtEl>
                                          <p:spTgt spid="248"/>
                                        </p:tgtEl>
                                        <p:attrNameLst>
                                          <p:attrName>style.visibility</p:attrName>
                                        </p:attrNameLst>
                                      </p:cBhvr>
                                      <p:to>
                                        <p:strVal val="visible"/>
                                      </p:to>
                                    </p:set>
                                  </p:childTnLst>
                                </p:cTn>
                              </p:par>
                              <p:par>
                                <p:cTn id="15" presetID="1" presetClass="entr" presetSubtype="0" fill="hold" grpId="0" nodeType="withEffect">
                                  <p:stCondLst>
                                    <p:cond delay="1250"/>
                                  </p:stCondLst>
                                  <p:childTnLst>
                                    <p:set>
                                      <p:cBhvr>
                                        <p:cTn id="16" dur="1" fill="hold">
                                          <p:stCondLst>
                                            <p:cond delay="0"/>
                                          </p:stCondLst>
                                        </p:cTn>
                                        <p:tgtEl>
                                          <p:spTgt spid="208"/>
                                        </p:tgtEl>
                                        <p:attrNameLst>
                                          <p:attrName>style.visibility</p:attrName>
                                        </p:attrNameLst>
                                      </p:cBhvr>
                                      <p:to>
                                        <p:strVal val="visible"/>
                                      </p:to>
                                    </p:set>
                                  </p:childTnLst>
                                </p:cTn>
                              </p:par>
                              <p:par>
                                <p:cTn id="17" presetID="1" presetClass="entr" presetSubtype="0" fill="hold" nodeType="withEffect">
                                  <p:stCondLst>
                                    <p:cond delay="1250"/>
                                  </p:stCondLst>
                                  <p:childTnLst>
                                    <p:set>
                                      <p:cBhvr>
                                        <p:cTn id="18" dur="1" fill="hold">
                                          <p:stCondLst>
                                            <p:cond delay="0"/>
                                          </p:stCondLst>
                                        </p:cTn>
                                        <p:tgtEl>
                                          <p:spTgt spid="210"/>
                                        </p:tgtEl>
                                        <p:attrNameLst>
                                          <p:attrName>style.visibility</p:attrName>
                                        </p:attrNameLst>
                                      </p:cBhvr>
                                      <p:to>
                                        <p:strVal val="visible"/>
                                      </p:to>
                                    </p:set>
                                  </p:childTnLst>
                                </p:cTn>
                              </p:par>
                              <p:par>
                                <p:cTn id="19" presetID="1" presetClass="entr" presetSubtype="0" fill="hold" grpId="0" nodeType="withEffect">
                                  <p:stCondLst>
                                    <p:cond delay="2000"/>
                                  </p:stCondLst>
                                  <p:childTnLst>
                                    <p:set>
                                      <p:cBhvr>
                                        <p:cTn id="20" dur="1" fill="hold">
                                          <p:stCondLst>
                                            <p:cond delay="0"/>
                                          </p:stCondLst>
                                        </p:cTn>
                                        <p:tgtEl>
                                          <p:spTgt spid="209"/>
                                        </p:tgtEl>
                                        <p:attrNameLst>
                                          <p:attrName>style.visibility</p:attrName>
                                        </p:attrNameLst>
                                      </p:cBhvr>
                                      <p:to>
                                        <p:strVal val="visible"/>
                                      </p:to>
                                    </p:set>
                                  </p:childTnLst>
                                </p:cTn>
                              </p:par>
                              <p:par>
                                <p:cTn id="21" presetID="1" presetClass="entr" presetSubtype="0" fill="hold" nodeType="withEffect">
                                  <p:stCondLst>
                                    <p:cond delay="2250"/>
                                  </p:stCondLst>
                                  <p:childTnLst>
                                    <p:set>
                                      <p:cBhvr>
                                        <p:cTn id="22" dur="1" fill="hold">
                                          <p:stCondLst>
                                            <p:cond delay="0"/>
                                          </p:stCondLst>
                                        </p:cTn>
                                        <p:tgtEl>
                                          <p:spTgt spid="228"/>
                                        </p:tgtEl>
                                        <p:attrNameLst>
                                          <p:attrName>style.visibility</p:attrName>
                                        </p:attrNameLst>
                                      </p:cBhvr>
                                      <p:to>
                                        <p:strVal val="visible"/>
                                      </p:to>
                                    </p:set>
                                  </p:childTnLst>
                                </p:cTn>
                              </p:par>
                              <p:par>
                                <p:cTn id="23" presetID="22" presetClass="entr" presetSubtype="8" fill="hold" grpId="0" nodeType="withEffect">
                                  <p:stCondLst>
                                    <p:cond delay="2750"/>
                                  </p:stCondLst>
                                  <p:childTnLst>
                                    <p:set>
                                      <p:cBhvr>
                                        <p:cTn id="24" dur="1" fill="hold">
                                          <p:stCondLst>
                                            <p:cond delay="0"/>
                                          </p:stCondLst>
                                        </p:cTn>
                                        <p:tgtEl>
                                          <p:spTgt spid="246"/>
                                        </p:tgtEl>
                                        <p:attrNameLst>
                                          <p:attrName>style.visibility</p:attrName>
                                        </p:attrNameLst>
                                      </p:cBhvr>
                                      <p:to>
                                        <p:strVal val="visible"/>
                                      </p:to>
                                    </p:set>
                                    <p:animEffect transition="in" filter="wipe(left)">
                                      <p:cBhvr>
                                        <p:cTn id="25" dur="250"/>
                                        <p:tgtEl>
                                          <p:spTgt spid="246"/>
                                        </p:tgtEl>
                                      </p:cBhvr>
                                    </p:animEffect>
                                  </p:childTnLst>
                                </p:cTn>
                              </p:par>
                              <p:par>
                                <p:cTn id="26" presetID="22" presetClass="entr" presetSubtype="8" fill="hold" grpId="0" nodeType="withEffect">
                                  <p:stCondLst>
                                    <p:cond delay="2750"/>
                                  </p:stCondLst>
                                  <p:childTnLst>
                                    <p:set>
                                      <p:cBhvr>
                                        <p:cTn id="27" dur="1" fill="hold">
                                          <p:stCondLst>
                                            <p:cond delay="0"/>
                                          </p:stCondLst>
                                        </p:cTn>
                                        <p:tgtEl>
                                          <p:spTgt spid="247"/>
                                        </p:tgtEl>
                                        <p:attrNameLst>
                                          <p:attrName>style.visibility</p:attrName>
                                        </p:attrNameLst>
                                      </p:cBhvr>
                                      <p:to>
                                        <p:strVal val="visible"/>
                                      </p:to>
                                    </p:set>
                                    <p:animEffect transition="in" filter="wipe(left)">
                                      <p:cBhvr>
                                        <p:cTn id="28" dur="250"/>
                                        <p:tgtEl>
                                          <p:spTgt spid="247"/>
                                        </p:tgtEl>
                                      </p:cBhvr>
                                    </p:animEffect>
                                  </p:childTnLst>
                                </p:cTn>
                              </p:par>
                              <p:par>
                                <p:cTn id="29" presetID="1" presetClass="entr" presetSubtype="0" fill="hold" grpId="0" nodeType="withEffect">
                                  <p:stCondLst>
                                    <p:cond delay="2750"/>
                                  </p:stCondLst>
                                  <p:childTnLst>
                                    <p:set>
                                      <p:cBhvr>
                                        <p:cTn id="30" dur="1" fill="hold">
                                          <p:stCondLst>
                                            <p:cond delay="0"/>
                                          </p:stCondLst>
                                        </p:cTn>
                                        <p:tgtEl>
                                          <p:spTgt spid="266"/>
                                        </p:tgtEl>
                                        <p:attrNameLst>
                                          <p:attrName>style.visibility</p:attrName>
                                        </p:attrNameLst>
                                      </p:cBhvr>
                                      <p:to>
                                        <p:strVal val="visible"/>
                                      </p:to>
                                    </p:set>
                                  </p:childTnLst>
                                </p:cTn>
                              </p:par>
                              <p:par>
                                <p:cTn id="31" presetID="1" presetClass="entr" presetSubtype="0" fill="hold" grpId="0" nodeType="withEffect">
                                  <p:stCondLst>
                                    <p:cond delay="2750"/>
                                  </p:stCondLst>
                                  <p:childTnLst>
                                    <p:set>
                                      <p:cBhvr>
                                        <p:cTn id="32" dur="1" fill="hold">
                                          <p:stCondLst>
                                            <p:cond delay="0"/>
                                          </p:stCondLst>
                                        </p:cTn>
                                        <p:tgtEl>
                                          <p:spTgt spid="2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 grpId="0" animBg="1"/>
      <p:bldP spid="206" grpId="0" animBg="1"/>
      <p:bldP spid="207" grpId="0" animBg="1"/>
      <p:bldP spid="208" grpId="0" animBg="1"/>
      <p:bldP spid="209" grpId="0" animBg="1"/>
      <p:bldP spid="246" grpId="0" animBg="1"/>
      <p:bldP spid="247" grpId="0" animBg="1"/>
      <p:bldP spid="264" grpId="0" animBg="1"/>
      <p:bldP spid="266" grpId="0" animBg="1"/>
      <p:bldP spid="26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277608" cy="443295"/>
          </a:xfrm>
        </p:spPr>
        <p:txBody>
          <a:bodyPr/>
          <a:lstStyle/>
          <a:p>
            <a:r>
              <a:rPr kumimoji="1" lang="ja-JP" altLang="en-US" dirty="0"/>
              <a:t>ポリシーやオブジェクトを効果的に分析</a:t>
            </a:r>
          </a:p>
        </p:txBody>
      </p:sp>
      <p:sp>
        <p:nvSpPr>
          <p:cNvPr id="447" name="Rectangle 41"/>
          <p:cNvSpPr/>
          <p:nvPr/>
        </p:nvSpPr>
        <p:spPr>
          <a:xfrm>
            <a:off x="864456" y="1586031"/>
            <a:ext cx="3125203" cy="2194671"/>
          </a:xfrm>
          <a:prstGeom prst="rect">
            <a:avLst/>
          </a:prstGeom>
          <a:solidFill>
            <a:srgbClr val="FFFFFF"/>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8" name="Rectangle 52"/>
          <p:cNvSpPr/>
          <p:nvPr/>
        </p:nvSpPr>
        <p:spPr>
          <a:xfrm>
            <a:off x="810889" y="1455149"/>
            <a:ext cx="1272932" cy="477478"/>
          </a:xfrm>
          <a:prstGeom prst="rect">
            <a:avLst/>
          </a:prstGeom>
          <a:solidFill>
            <a:srgbClr val="FFFFFF">
              <a:lumMod val="95000"/>
            </a:srgbClr>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49" name="Freeform 88"/>
          <p:cNvSpPr>
            <a:spLocks noEditPoints="1"/>
          </p:cNvSpPr>
          <p:nvPr/>
        </p:nvSpPr>
        <p:spPr bwMode="black">
          <a:xfrm>
            <a:off x="651710" y="1275001"/>
            <a:ext cx="3466450" cy="2939532"/>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450" name="Rectangle 185"/>
          <p:cNvSpPr/>
          <p:nvPr/>
        </p:nvSpPr>
        <p:spPr>
          <a:xfrm>
            <a:off x="286128" y="677192"/>
            <a:ext cx="8058149"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1" name="Group 4"/>
          <p:cNvGrpSpPr/>
          <p:nvPr/>
        </p:nvGrpSpPr>
        <p:grpSpPr>
          <a:xfrm>
            <a:off x="4971730" y="1184048"/>
            <a:ext cx="3706139" cy="3706142"/>
            <a:chOff x="7695877" y="1819682"/>
            <a:chExt cx="4127270" cy="4127274"/>
          </a:xfrm>
        </p:grpSpPr>
        <p:sp>
          <p:nvSpPr>
            <p:cNvPr id="452" name="Oval 186"/>
            <p:cNvSpPr/>
            <p:nvPr/>
          </p:nvSpPr>
          <p:spPr>
            <a:xfrm>
              <a:off x="7695877" y="1819682"/>
              <a:ext cx="4127270" cy="4127274"/>
            </a:xfrm>
            <a:prstGeom prst="ellipse">
              <a:avLst/>
            </a:prstGeom>
            <a:solidFill>
              <a:srgbClr val="FFFFFF"/>
            </a:solidFill>
            <a:ln w="38100" cap="flat" cmpd="sng" algn="ctr">
              <a:solidFill>
                <a:sysClr val="window" lastClr="FFFFFF">
                  <a:lumMod val="65000"/>
                </a:sysClr>
              </a:solidFill>
              <a:prstDash val="solid"/>
            </a:ln>
            <a:effectLst/>
          </p:spPr>
          <p:txBody>
            <a:bodyPr rtlCol="0" anchor="ctr"/>
            <a:lstStyle/>
            <a:p>
              <a:pPr algn="ctr" defTabSz="746150">
                <a:defRPr/>
              </a:pPr>
              <a:endParaRPr lang="en-US" sz="1469" kern="0" dirty="0">
                <a:solidFill>
                  <a:srgbClr val="FFFFFF"/>
                </a:solidFill>
                <a:latin typeface="+mj-lt"/>
              </a:endParaRPr>
            </a:p>
          </p:txBody>
        </p:sp>
        <p:sp>
          <p:nvSpPr>
            <p:cNvPr id="453" name="Freeform 5"/>
            <p:cNvSpPr>
              <a:spLocks noEditPoints="1"/>
            </p:cNvSpPr>
            <p:nvPr/>
          </p:nvSpPr>
          <p:spPr bwMode="auto">
            <a:xfrm>
              <a:off x="7777374" y="1903894"/>
              <a:ext cx="3969017" cy="3975919"/>
            </a:xfrm>
            <a:custGeom>
              <a:avLst/>
              <a:gdLst>
                <a:gd name="T0" fmla="*/ 3483 w 4600"/>
                <a:gd name="T1" fmla="*/ 324 h 4608"/>
                <a:gd name="T2" fmla="*/ 1030 w 4600"/>
                <a:gd name="T3" fmla="*/ 391 h 4608"/>
                <a:gd name="T4" fmla="*/ 1224 w 4600"/>
                <a:gd name="T5" fmla="*/ 735 h 4608"/>
                <a:gd name="T6" fmla="*/ 4472 w 4600"/>
                <a:gd name="T7" fmla="*/ 2015 h 4608"/>
                <a:gd name="T8" fmla="*/ 4278 w 4600"/>
                <a:gd name="T9" fmla="*/ 1298 h 4608"/>
                <a:gd name="T10" fmla="*/ 4001 w 4600"/>
                <a:gd name="T11" fmla="*/ 836 h 4608"/>
                <a:gd name="T12" fmla="*/ 3970 w 4600"/>
                <a:gd name="T13" fmla="*/ 770 h 4608"/>
                <a:gd name="T14" fmla="*/ 3785 w 4600"/>
                <a:gd name="T15" fmla="*/ 539 h 4608"/>
                <a:gd name="T16" fmla="*/ 3551 w 4600"/>
                <a:gd name="T17" fmla="*/ 370 h 4608"/>
                <a:gd name="T18" fmla="*/ 3581 w 4600"/>
                <a:gd name="T19" fmla="*/ 432 h 4608"/>
                <a:gd name="T20" fmla="*/ 2328 w 4600"/>
                <a:gd name="T21" fmla="*/ 0 h 4608"/>
                <a:gd name="T22" fmla="*/ 1338 w 4600"/>
                <a:gd name="T23" fmla="*/ 309 h 4608"/>
                <a:gd name="T24" fmla="*/ 1071 w 4600"/>
                <a:gd name="T25" fmla="*/ 448 h 4608"/>
                <a:gd name="T26" fmla="*/ 137 w 4600"/>
                <a:gd name="T27" fmla="*/ 1519 h 4608"/>
                <a:gd name="T28" fmla="*/ 1048 w 4600"/>
                <a:gd name="T29" fmla="*/ 4231 h 4608"/>
                <a:gd name="T30" fmla="*/ 3629 w 4600"/>
                <a:gd name="T31" fmla="*/ 4183 h 4608"/>
                <a:gd name="T32" fmla="*/ 3904 w 4600"/>
                <a:gd name="T33" fmla="*/ 786 h 4608"/>
                <a:gd name="T34" fmla="*/ 3442 w 4600"/>
                <a:gd name="T35" fmla="*/ 1400 h 4608"/>
                <a:gd name="T36" fmla="*/ 2915 w 4600"/>
                <a:gd name="T37" fmla="*/ 84 h 4608"/>
                <a:gd name="T38" fmla="*/ 2930 w 4600"/>
                <a:gd name="T39" fmla="*/ 333 h 4608"/>
                <a:gd name="T40" fmla="*/ 3346 w 4600"/>
                <a:gd name="T41" fmla="*/ 544 h 4608"/>
                <a:gd name="T42" fmla="*/ 3063 w 4600"/>
                <a:gd name="T43" fmla="*/ 729 h 4608"/>
                <a:gd name="T44" fmla="*/ 2665 w 4600"/>
                <a:gd name="T45" fmla="*/ 498 h 4608"/>
                <a:gd name="T46" fmla="*/ 2752 w 4600"/>
                <a:gd name="T47" fmla="*/ 795 h 4608"/>
                <a:gd name="T48" fmla="*/ 2930 w 4600"/>
                <a:gd name="T49" fmla="*/ 816 h 4608"/>
                <a:gd name="T50" fmla="*/ 2412 w 4600"/>
                <a:gd name="T51" fmla="*/ 470 h 4608"/>
                <a:gd name="T52" fmla="*/ 2613 w 4600"/>
                <a:gd name="T53" fmla="*/ 489 h 4608"/>
                <a:gd name="T54" fmla="*/ 2449 w 4600"/>
                <a:gd name="T55" fmla="*/ 594 h 4608"/>
                <a:gd name="T56" fmla="*/ 2316 w 4600"/>
                <a:gd name="T57" fmla="*/ 631 h 4608"/>
                <a:gd name="T58" fmla="*/ 2234 w 4600"/>
                <a:gd name="T59" fmla="*/ 621 h 4608"/>
                <a:gd name="T60" fmla="*/ 1886 w 4600"/>
                <a:gd name="T61" fmla="*/ 566 h 4608"/>
                <a:gd name="T62" fmla="*/ 1967 w 4600"/>
                <a:gd name="T63" fmla="*/ 724 h 4608"/>
                <a:gd name="T64" fmla="*/ 4063 w 4600"/>
                <a:gd name="T65" fmla="*/ 3413 h 4608"/>
                <a:gd name="T66" fmla="*/ 3309 w 4600"/>
                <a:gd name="T67" fmla="*/ 4181 h 4608"/>
                <a:gd name="T68" fmla="*/ 2771 w 4600"/>
                <a:gd name="T69" fmla="*/ 4508 h 4608"/>
                <a:gd name="T70" fmla="*/ 2807 w 4600"/>
                <a:gd name="T71" fmla="*/ 4279 h 4608"/>
                <a:gd name="T72" fmla="*/ 2730 w 4600"/>
                <a:gd name="T73" fmla="*/ 3290 h 4608"/>
                <a:gd name="T74" fmla="*/ 2690 w 4600"/>
                <a:gd name="T75" fmla="*/ 2942 h 4608"/>
                <a:gd name="T76" fmla="*/ 2376 w 4600"/>
                <a:gd name="T77" fmla="*/ 2721 h 4608"/>
                <a:gd name="T78" fmla="*/ 1629 w 4600"/>
                <a:gd name="T79" fmla="*/ 2102 h 4608"/>
                <a:gd name="T80" fmla="*/ 1562 w 4600"/>
                <a:gd name="T81" fmla="*/ 2195 h 4608"/>
                <a:gd name="T82" fmla="*/ 1403 w 4600"/>
                <a:gd name="T83" fmla="*/ 1405 h 4608"/>
                <a:gd name="T84" fmla="*/ 1210 w 4600"/>
                <a:gd name="T85" fmla="*/ 775 h 4608"/>
                <a:gd name="T86" fmla="*/ 1076 w 4600"/>
                <a:gd name="T87" fmla="*/ 667 h 4608"/>
                <a:gd name="T88" fmla="*/ 1471 w 4600"/>
                <a:gd name="T89" fmla="*/ 468 h 4608"/>
                <a:gd name="T90" fmla="*/ 1967 w 4600"/>
                <a:gd name="T91" fmla="*/ 754 h 4608"/>
                <a:gd name="T92" fmla="*/ 2485 w 4600"/>
                <a:gd name="T93" fmla="*/ 775 h 4608"/>
                <a:gd name="T94" fmla="*/ 2627 w 4600"/>
                <a:gd name="T95" fmla="*/ 1252 h 4608"/>
                <a:gd name="T96" fmla="*/ 3223 w 4600"/>
                <a:gd name="T97" fmla="*/ 1154 h 4608"/>
                <a:gd name="T98" fmla="*/ 3104 w 4600"/>
                <a:gd name="T99" fmla="*/ 1517 h 4608"/>
                <a:gd name="T100" fmla="*/ 2869 w 4600"/>
                <a:gd name="T101" fmla="*/ 1743 h 4608"/>
                <a:gd name="T102" fmla="*/ 2583 w 4600"/>
                <a:gd name="T103" fmla="*/ 2113 h 4608"/>
                <a:gd name="T104" fmla="*/ 2234 w 4600"/>
                <a:gd name="T105" fmla="*/ 2547 h 4608"/>
                <a:gd name="T106" fmla="*/ 2439 w 4600"/>
                <a:gd name="T107" fmla="*/ 2650 h 4608"/>
                <a:gd name="T108" fmla="*/ 2690 w 4600"/>
                <a:gd name="T109" fmla="*/ 2911 h 4608"/>
                <a:gd name="T110" fmla="*/ 3131 w 4600"/>
                <a:gd name="T111" fmla="*/ 2830 h 4608"/>
                <a:gd name="T112" fmla="*/ 3780 w 4600"/>
                <a:gd name="T113" fmla="*/ 2947 h 4608"/>
                <a:gd name="T114" fmla="*/ 3063 w 4600"/>
                <a:gd name="T115" fmla="*/ 2522 h 4608"/>
                <a:gd name="T116" fmla="*/ 2674 w 4600"/>
                <a:gd name="T117" fmla="*/ 2378 h 4608"/>
                <a:gd name="T118" fmla="*/ 2627 w 4600"/>
                <a:gd name="T119" fmla="*/ 4519 h 4608"/>
                <a:gd name="T120" fmla="*/ 4324 w 4600"/>
                <a:gd name="T121" fmla="*/ 1266 h 4608"/>
                <a:gd name="T122" fmla="*/ 4164 w 4600"/>
                <a:gd name="T123" fmla="*/ 1001 h 4608"/>
                <a:gd name="T124" fmla="*/ 4267 w 4600"/>
                <a:gd name="T125" fmla="*/ 1119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0" h="4608">
                  <a:moveTo>
                    <a:pt x="1117" y="329"/>
                  </a:moveTo>
                  <a:lnTo>
                    <a:pt x="1101" y="345"/>
                  </a:lnTo>
                  <a:lnTo>
                    <a:pt x="1128" y="329"/>
                  </a:lnTo>
                  <a:lnTo>
                    <a:pt x="1131" y="329"/>
                  </a:lnTo>
                  <a:lnTo>
                    <a:pt x="1137" y="324"/>
                  </a:lnTo>
                  <a:lnTo>
                    <a:pt x="1117" y="329"/>
                  </a:lnTo>
                  <a:close/>
                  <a:moveTo>
                    <a:pt x="1055" y="375"/>
                  </a:moveTo>
                  <a:lnTo>
                    <a:pt x="1046" y="386"/>
                  </a:lnTo>
                  <a:lnTo>
                    <a:pt x="1066" y="381"/>
                  </a:lnTo>
                  <a:lnTo>
                    <a:pt x="1087" y="375"/>
                  </a:lnTo>
                  <a:lnTo>
                    <a:pt x="1101" y="375"/>
                  </a:lnTo>
                  <a:lnTo>
                    <a:pt x="1137" y="356"/>
                  </a:lnTo>
                  <a:lnTo>
                    <a:pt x="1142" y="345"/>
                  </a:lnTo>
                  <a:lnTo>
                    <a:pt x="1122" y="356"/>
                  </a:lnTo>
                  <a:lnTo>
                    <a:pt x="1106" y="356"/>
                  </a:lnTo>
                  <a:lnTo>
                    <a:pt x="1147" y="329"/>
                  </a:lnTo>
                  <a:lnTo>
                    <a:pt x="1163" y="320"/>
                  </a:lnTo>
                  <a:lnTo>
                    <a:pt x="1131" y="329"/>
                  </a:lnTo>
                  <a:lnTo>
                    <a:pt x="1131" y="329"/>
                  </a:lnTo>
                  <a:lnTo>
                    <a:pt x="1083" y="361"/>
                  </a:lnTo>
                  <a:lnTo>
                    <a:pt x="1035" y="391"/>
                  </a:lnTo>
                  <a:lnTo>
                    <a:pt x="1041" y="386"/>
                  </a:lnTo>
                  <a:lnTo>
                    <a:pt x="1055" y="375"/>
                  </a:lnTo>
                  <a:close/>
                  <a:moveTo>
                    <a:pt x="2787" y="4560"/>
                  </a:moveTo>
                  <a:lnTo>
                    <a:pt x="2782" y="4560"/>
                  </a:lnTo>
                  <a:lnTo>
                    <a:pt x="2777" y="4560"/>
                  </a:lnTo>
                  <a:lnTo>
                    <a:pt x="2777" y="4560"/>
                  </a:lnTo>
                  <a:lnTo>
                    <a:pt x="2750" y="4565"/>
                  </a:lnTo>
                  <a:lnTo>
                    <a:pt x="2725" y="4571"/>
                  </a:lnTo>
                  <a:lnTo>
                    <a:pt x="2700" y="4576"/>
                  </a:lnTo>
                  <a:lnTo>
                    <a:pt x="2674" y="4581"/>
                  </a:lnTo>
                  <a:lnTo>
                    <a:pt x="2674" y="4581"/>
                  </a:lnTo>
                  <a:lnTo>
                    <a:pt x="2732" y="4572"/>
                  </a:lnTo>
                  <a:lnTo>
                    <a:pt x="2761" y="4567"/>
                  </a:lnTo>
                  <a:lnTo>
                    <a:pt x="2787" y="4560"/>
                  </a:lnTo>
                  <a:lnTo>
                    <a:pt x="2787" y="4560"/>
                  </a:lnTo>
                  <a:close/>
                  <a:moveTo>
                    <a:pt x="3483" y="324"/>
                  </a:moveTo>
                  <a:lnTo>
                    <a:pt x="3483" y="324"/>
                  </a:lnTo>
                  <a:lnTo>
                    <a:pt x="3483" y="324"/>
                  </a:lnTo>
                  <a:lnTo>
                    <a:pt x="3488" y="327"/>
                  </a:lnTo>
                  <a:lnTo>
                    <a:pt x="3492" y="329"/>
                  </a:lnTo>
                  <a:lnTo>
                    <a:pt x="3504" y="334"/>
                  </a:lnTo>
                  <a:lnTo>
                    <a:pt x="3504" y="334"/>
                  </a:lnTo>
                  <a:lnTo>
                    <a:pt x="3497" y="334"/>
                  </a:lnTo>
                  <a:lnTo>
                    <a:pt x="3492" y="331"/>
                  </a:lnTo>
                  <a:lnTo>
                    <a:pt x="3483" y="324"/>
                  </a:lnTo>
                  <a:lnTo>
                    <a:pt x="3483" y="324"/>
                  </a:lnTo>
                  <a:close/>
                  <a:moveTo>
                    <a:pt x="1957" y="612"/>
                  </a:moveTo>
                  <a:lnTo>
                    <a:pt x="1978" y="606"/>
                  </a:lnTo>
                  <a:lnTo>
                    <a:pt x="1998" y="601"/>
                  </a:lnTo>
                  <a:lnTo>
                    <a:pt x="1998" y="601"/>
                  </a:lnTo>
                  <a:lnTo>
                    <a:pt x="1967" y="606"/>
                  </a:lnTo>
                  <a:lnTo>
                    <a:pt x="1957" y="612"/>
                  </a:lnTo>
                  <a:close/>
                  <a:moveTo>
                    <a:pt x="3300" y="228"/>
                  </a:moveTo>
                  <a:lnTo>
                    <a:pt x="3278" y="217"/>
                  </a:lnTo>
                  <a:lnTo>
                    <a:pt x="3278" y="217"/>
                  </a:lnTo>
                  <a:lnTo>
                    <a:pt x="3278" y="217"/>
                  </a:lnTo>
                  <a:lnTo>
                    <a:pt x="3284" y="221"/>
                  </a:lnTo>
                  <a:lnTo>
                    <a:pt x="3289" y="222"/>
                  </a:lnTo>
                  <a:lnTo>
                    <a:pt x="3294" y="224"/>
                  </a:lnTo>
                  <a:lnTo>
                    <a:pt x="3300" y="228"/>
                  </a:lnTo>
                  <a:lnTo>
                    <a:pt x="3300" y="228"/>
                  </a:lnTo>
                  <a:close/>
                  <a:moveTo>
                    <a:pt x="3551" y="365"/>
                  </a:moveTo>
                  <a:lnTo>
                    <a:pt x="3551" y="365"/>
                  </a:lnTo>
                  <a:lnTo>
                    <a:pt x="3554" y="368"/>
                  </a:lnTo>
                  <a:lnTo>
                    <a:pt x="3556" y="370"/>
                  </a:lnTo>
                  <a:lnTo>
                    <a:pt x="3561" y="370"/>
                  </a:lnTo>
                  <a:lnTo>
                    <a:pt x="3561" y="370"/>
                  </a:lnTo>
                  <a:lnTo>
                    <a:pt x="3558" y="370"/>
                  </a:lnTo>
                  <a:lnTo>
                    <a:pt x="3556" y="368"/>
                  </a:lnTo>
                  <a:lnTo>
                    <a:pt x="3554" y="366"/>
                  </a:lnTo>
                  <a:lnTo>
                    <a:pt x="3551" y="365"/>
                  </a:lnTo>
                  <a:lnTo>
                    <a:pt x="3551" y="365"/>
                  </a:lnTo>
                  <a:close/>
                  <a:moveTo>
                    <a:pt x="3561" y="370"/>
                  </a:moveTo>
                  <a:lnTo>
                    <a:pt x="3561" y="370"/>
                  </a:lnTo>
                  <a:lnTo>
                    <a:pt x="3561" y="370"/>
                  </a:lnTo>
                  <a:lnTo>
                    <a:pt x="3561" y="370"/>
                  </a:lnTo>
                  <a:close/>
                  <a:moveTo>
                    <a:pt x="1030" y="391"/>
                  </a:moveTo>
                  <a:lnTo>
                    <a:pt x="1030" y="391"/>
                  </a:lnTo>
                  <a:lnTo>
                    <a:pt x="1009" y="404"/>
                  </a:lnTo>
                  <a:lnTo>
                    <a:pt x="987" y="416"/>
                  </a:lnTo>
                  <a:lnTo>
                    <a:pt x="971" y="430"/>
                  </a:lnTo>
                  <a:lnTo>
                    <a:pt x="959" y="443"/>
                  </a:lnTo>
                  <a:lnTo>
                    <a:pt x="959" y="443"/>
                  </a:lnTo>
                  <a:lnTo>
                    <a:pt x="977" y="429"/>
                  </a:lnTo>
                  <a:lnTo>
                    <a:pt x="996" y="414"/>
                  </a:lnTo>
                  <a:lnTo>
                    <a:pt x="1030" y="391"/>
                  </a:lnTo>
                  <a:lnTo>
                    <a:pt x="1030" y="391"/>
                  </a:lnTo>
                  <a:close/>
                  <a:moveTo>
                    <a:pt x="3561" y="370"/>
                  </a:moveTo>
                  <a:lnTo>
                    <a:pt x="3570" y="381"/>
                  </a:lnTo>
                  <a:lnTo>
                    <a:pt x="3570" y="381"/>
                  </a:lnTo>
                  <a:lnTo>
                    <a:pt x="3570" y="377"/>
                  </a:lnTo>
                  <a:lnTo>
                    <a:pt x="3568" y="375"/>
                  </a:lnTo>
                  <a:lnTo>
                    <a:pt x="3561" y="370"/>
                  </a:lnTo>
                  <a:lnTo>
                    <a:pt x="3561" y="370"/>
                  </a:lnTo>
                  <a:close/>
                  <a:moveTo>
                    <a:pt x="3458" y="315"/>
                  </a:moveTo>
                  <a:lnTo>
                    <a:pt x="3458" y="315"/>
                  </a:lnTo>
                  <a:lnTo>
                    <a:pt x="3469" y="322"/>
                  </a:lnTo>
                  <a:lnTo>
                    <a:pt x="3479" y="329"/>
                  </a:lnTo>
                  <a:lnTo>
                    <a:pt x="3479" y="329"/>
                  </a:lnTo>
                  <a:lnTo>
                    <a:pt x="3474" y="324"/>
                  </a:lnTo>
                  <a:lnTo>
                    <a:pt x="3470" y="318"/>
                  </a:lnTo>
                  <a:lnTo>
                    <a:pt x="3465" y="315"/>
                  </a:lnTo>
                  <a:lnTo>
                    <a:pt x="3458" y="315"/>
                  </a:lnTo>
                  <a:lnTo>
                    <a:pt x="3458" y="315"/>
                  </a:lnTo>
                  <a:close/>
                  <a:moveTo>
                    <a:pt x="3832" y="580"/>
                  </a:moveTo>
                  <a:lnTo>
                    <a:pt x="3832" y="580"/>
                  </a:lnTo>
                  <a:lnTo>
                    <a:pt x="3817" y="567"/>
                  </a:lnTo>
                  <a:lnTo>
                    <a:pt x="3810" y="562"/>
                  </a:lnTo>
                  <a:lnTo>
                    <a:pt x="3807" y="555"/>
                  </a:lnTo>
                  <a:lnTo>
                    <a:pt x="3807" y="555"/>
                  </a:lnTo>
                  <a:lnTo>
                    <a:pt x="3814" y="560"/>
                  </a:lnTo>
                  <a:lnTo>
                    <a:pt x="3819" y="566"/>
                  </a:lnTo>
                  <a:lnTo>
                    <a:pt x="3832" y="580"/>
                  </a:lnTo>
                  <a:lnTo>
                    <a:pt x="3832" y="580"/>
                  </a:lnTo>
                  <a:close/>
                  <a:moveTo>
                    <a:pt x="1251" y="724"/>
                  </a:moveTo>
                  <a:lnTo>
                    <a:pt x="1224" y="735"/>
                  </a:lnTo>
                  <a:lnTo>
                    <a:pt x="1245" y="735"/>
                  </a:lnTo>
                  <a:lnTo>
                    <a:pt x="1251" y="724"/>
                  </a:lnTo>
                  <a:close/>
                  <a:moveTo>
                    <a:pt x="4600" y="2451"/>
                  </a:moveTo>
                  <a:lnTo>
                    <a:pt x="4600" y="2451"/>
                  </a:lnTo>
                  <a:lnTo>
                    <a:pt x="4600" y="2458"/>
                  </a:lnTo>
                  <a:lnTo>
                    <a:pt x="4598" y="2461"/>
                  </a:lnTo>
                  <a:lnTo>
                    <a:pt x="4595" y="2465"/>
                  </a:lnTo>
                  <a:lnTo>
                    <a:pt x="4595" y="2470"/>
                  </a:lnTo>
                  <a:lnTo>
                    <a:pt x="4589" y="2465"/>
                  </a:lnTo>
                  <a:lnTo>
                    <a:pt x="4586" y="2445"/>
                  </a:lnTo>
                  <a:lnTo>
                    <a:pt x="4580" y="2435"/>
                  </a:lnTo>
                  <a:lnTo>
                    <a:pt x="4575" y="2419"/>
                  </a:lnTo>
                  <a:lnTo>
                    <a:pt x="4559" y="2413"/>
                  </a:lnTo>
                  <a:lnTo>
                    <a:pt x="4559" y="2369"/>
                  </a:lnTo>
                  <a:lnTo>
                    <a:pt x="4548" y="2353"/>
                  </a:lnTo>
                  <a:lnTo>
                    <a:pt x="4545" y="2342"/>
                  </a:lnTo>
                  <a:lnTo>
                    <a:pt x="4540" y="2342"/>
                  </a:lnTo>
                  <a:lnTo>
                    <a:pt x="4534" y="2337"/>
                  </a:lnTo>
                  <a:lnTo>
                    <a:pt x="4534" y="2317"/>
                  </a:lnTo>
                  <a:lnTo>
                    <a:pt x="4529" y="2317"/>
                  </a:lnTo>
                  <a:lnTo>
                    <a:pt x="4524" y="2307"/>
                  </a:lnTo>
                  <a:lnTo>
                    <a:pt x="4518" y="2296"/>
                  </a:lnTo>
                  <a:lnTo>
                    <a:pt x="4518" y="2291"/>
                  </a:lnTo>
                  <a:lnTo>
                    <a:pt x="4513" y="2285"/>
                  </a:lnTo>
                  <a:lnTo>
                    <a:pt x="4513" y="2285"/>
                  </a:lnTo>
                  <a:lnTo>
                    <a:pt x="4511" y="2280"/>
                  </a:lnTo>
                  <a:lnTo>
                    <a:pt x="4509" y="2273"/>
                  </a:lnTo>
                  <a:lnTo>
                    <a:pt x="4508" y="2255"/>
                  </a:lnTo>
                  <a:lnTo>
                    <a:pt x="4508" y="2236"/>
                  </a:lnTo>
                  <a:lnTo>
                    <a:pt x="4499" y="2214"/>
                  </a:lnTo>
                  <a:lnTo>
                    <a:pt x="4493" y="2204"/>
                  </a:lnTo>
                  <a:lnTo>
                    <a:pt x="4499" y="2189"/>
                  </a:lnTo>
                  <a:lnTo>
                    <a:pt x="4499" y="2132"/>
                  </a:lnTo>
                  <a:lnTo>
                    <a:pt x="4493" y="2116"/>
                  </a:lnTo>
                  <a:lnTo>
                    <a:pt x="4493" y="2102"/>
                  </a:lnTo>
                  <a:lnTo>
                    <a:pt x="4488" y="2067"/>
                  </a:lnTo>
                  <a:lnTo>
                    <a:pt x="4488" y="2067"/>
                  </a:lnTo>
                  <a:lnTo>
                    <a:pt x="4481" y="2038"/>
                  </a:lnTo>
                  <a:lnTo>
                    <a:pt x="4472" y="2015"/>
                  </a:lnTo>
                  <a:lnTo>
                    <a:pt x="4467" y="1994"/>
                  </a:lnTo>
                  <a:lnTo>
                    <a:pt x="4461" y="1979"/>
                  </a:lnTo>
                  <a:lnTo>
                    <a:pt x="4452" y="1969"/>
                  </a:lnTo>
                  <a:lnTo>
                    <a:pt x="4452" y="1969"/>
                  </a:lnTo>
                  <a:lnTo>
                    <a:pt x="4449" y="1962"/>
                  </a:lnTo>
                  <a:lnTo>
                    <a:pt x="4447" y="1953"/>
                  </a:lnTo>
                  <a:lnTo>
                    <a:pt x="4445" y="1946"/>
                  </a:lnTo>
                  <a:lnTo>
                    <a:pt x="4442" y="1939"/>
                  </a:lnTo>
                  <a:lnTo>
                    <a:pt x="4442" y="1901"/>
                  </a:lnTo>
                  <a:lnTo>
                    <a:pt x="4436" y="1892"/>
                  </a:lnTo>
                  <a:lnTo>
                    <a:pt x="4431" y="1866"/>
                  </a:lnTo>
                  <a:lnTo>
                    <a:pt x="4431" y="1830"/>
                  </a:lnTo>
                  <a:lnTo>
                    <a:pt x="4426" y="1810"/>
                  </a:lnTo>
                  <a:lnTo>
                    <a:pt x="4420" y="1784"/>
                  </a:lnTo>
                  <a:lnTo>
                    <a:pt x="4417" y="1759"/>
                  </a:lnTo>
                  <a:lnTo>
                    <a:pt x="4417" y="1738"/>
                  </a:lnTo>
                  <a:lnTo>
                    <a:pt x="4406" y="1697"/>
                  </a:lnTo>
                  <a:lnTo>
                    <a:pt x="4406" y="1677"/>
                  </a:lnTo>
                  <a:lnTo>
                    <a:pt x="4411" y="1661"/>
                  </a:lnTo>
                  <a:lnTo>
                    <a:pt x="4406" y="1626"/>
                  </a:lnTo>
                  <a:lnTo>
                    <a:pt x="4406" y="1563"/>
                  </a:lnTo>
                  <a:lnTo>
                    <a:pt x="4385" y="1522"/>
                  </a:lnTo>
                  <a:lnTo>
                    <a:pt x="4385" y="1522"/>
                  </a:lnTo>
                  <a:lnTo>
                    <a:pt x="4381" y="1508"/>
                  </a:lnTo>
                  <a:lnTo>
                    <a:pt x="4376" y="1496"/>
                  </a:lnTo>
                  <a:lnTo>
                    <a:pt x="4365" y="1473"/>
                  </a:lnTo>
                  <a:lnTo>
                    <a:pt x="4355" y="1441"/>
                  </a:lnTo>
                  <a:lnTo>
                    <a:pt x="4355" y="1441"/>
                  </a:lnTo>
                  <a:lnTo>
                    <a:pt x="4355" y="1428"/>
                  </a:lnTo>
                  <a:lnTo>
                    <a:pt x="4351" y="1416"/>
                  </a:lnTo>
                  <a:lnTo>
                    <a:pt x="4344" y="1389"/>
                  </a:lnTo>
                  <a:lnTo>
                    <a:pt x="4344" y="1389"/>
                  </a:lnTo>
                  <a:lnTo>
                    <a:pt x="4330" y="1359"/>
                  </a:lnTo>
                  <a:lnTo>
                    <a:pt x="4323" y="1341"/>
                  </a:lnTo>
                  <a:lnTo>
                    <a:pt x="4319" y="1323"/>
                  </a:lnTo>
                  <a:lnTo>
                    <a:pt x="4319" y="1313"/>
                  </a:lnTo>
                  <a:lnTo>
                    <a:pt x="4303" y="1318"/>
                  </a:lnTo>
                  <a:lnTo>
                    <a:pt x="4292" y="1313"/>
                  </a:lnTo>
                  <a:lnTo>
                    <a:pt x="4278" y="1298"/>
                  </a:lnTo>
                  <a:lnTo>
                    <a:pt x="4273" y="1304"/>
                  </a:lnTo>
                  <a:lnTo>
                    <a:pt x="4278" y="1318"/>
                  </a:lnTo>
                  <a:lnTo>
                    <a:pt x="4273" y="1318"/>
                  </a:lnTo>
                  <a:lnTo>
                    <a:pt x="4273" y="1329"/>
                  </a:lnTo>
                  <a:lnTo>
                    <a:pt x="4257" y="1304"/>
                  </a:lnTo>
                  <a:lnTo>
                    <a:pt x="4242" y="1282"/>
                  </a:lnTo>
                  <a:lnTo>
                    <a:pt x="4232" y="1272"/>
                  </a:lnTo>
                  <a:lnTo>
                    <a:pt x="4242" y="1252"/>
                  </a:lnTo>
                  <a:lnTo>
                    <a:pt x="4237" y="1236"/>
                  </a:lnTo>
                  <a:lnTo>
                    <a:pt x="4237" y="1236"/>
                  </a:lnTo>
                  <a:lnTo>
                    <a:pt x="4226" y="1220"/>
                  </a:lnTo>
                  <a:lnTo>
                    <a:pt x="4216" y="1206"/>
                  </a:lnTo>
                  <a:lnTo>
                    <a:pt x="4205" y="1190"/>
                  </a:lnTo>
                  <a:lnTo>
                    <a:pt x="4202" y="1184"/>
                  </a:lnTo>
                  <a:lnTo>
                    <a:pt x="4202" y="1184"/>
                  </a:lnTo>
                  <a:lnTo>
                    <a:pt x="4194" y="1177"/>
                  </a:lnTo>
                  <a:lnTo>
                    <a:pt x="4189" y="1170"/>
                  </a:lnTo>
                  <a:lnTo>
                    <a:pt x="4180" y="1154"/>
                  </a:lnTo>
                  <a:lnTo>
                    <a:pt x="4170" y="1144"/>
                  </a:lnTo>
                  <a:lnTo>
                    <a:pt x="4161" y="1108"/>
                  </a:lnTo>
                  <a:lnTo>
                    <a:pt x="4170" y="1097"/>
                  </a:lnTo>
                  <a:lnTo>
                    <a:pt x="4175" y="1083"/>
                  </a:lnTo>
                  <a:lnTo>
                    <a:pt x="4180" y="1078"/>
                  </a:lnTo>
                  <a:lnTo>
                    <a:pt x="4180" y="1048"/>
                  </a:lnTo>
                  <a:lnTo>
                    <a:pt x="4164" y="1026"/>
                  </a:lnTo>
                  <a:lnTo>
                    <a:pt x="4120" y="964"/>
                  </a:lnTo>
                  <a:lnTo>
                    <a:pt x="4098" y="944"/>
                  </a:lnTo>
                  <a:lnTo>
                    <a:pt x="4082" y="939"/>
                  </a:lnTo>
                  <a:lnTo>
                    <a:pt x="4073" y="944"/>
                  </a:lnTo>
                  <a:lnTo>
                    <a:pt x="4052" y="923"/>
                  </a:lnTo>
                  <a:lnTo>
                    <a:pt x="4047" y="914"/>
                  </a:lnTo>
                  <a:lnTo>
                    <a:pt x="4057" y="903"/>
                  </a:lnTo>
                  <a:lnTo>
                    <a:pt x="4033" y="877"/>
                  </a:lnTo>
                  <a:lnTo>
                    <a:pt x="4041" y="877"/>
                  </a:lnTo>
                  <a:lnTo>
                    <a:pt x="4022" y="832"/>
                  </a:lnTo>
                  <a:lnTo>
                    <a:pt x="4001" y="811"/>
                  </a:lnTo>
                  <a:lnTo>
                    <a:pt x="4001" y="816"/>
                  </a:lnTo>
                  <a:lnTo>
                    <a:pt x="4006" y="836"/>
                  </a:lnTo>
                  <a:lnTo>
                    <a:pt x="4001" y="836"/>
                  </a:lnTo>
                  <a:lnTo>
                    <a:pt x="4011" y="857"/>
                  </a:lnTo>
                  <a:lnTo>
                    <a:pt x="4006" y="863"/>
                  </a:lnTo>
                  <a:lnTo>
                    <a:pt x="4017" y="882"/>
                  </a:lnTo>
                  <a:lnTo>
                    <a:pt x="4011" y="882"/>
                  </a:lnTo>
                  <a:lnTo>
                    <a:pt x="3992" y="841"/>
                  </a:lnTo>
                  <a:lnTo>
                    <a:pt x="3986" y="827"/>
                  </a:lnTo>
                  <a:lnTo>
                    <a:pt x="3981" y="836"/>
                  </a:lnTo>
                  <a:lnTo>
                    <a:pt x="3965" y="827"/>
                  </a:lnTo>
                  <a:lnTo>
                    <a:pt x="3960" y="806"/>
                  </a:lnTo>
                  <a:lnTo>
                    <a:pt x="3945" y="816"/>
                  </a:lnTo>
                  <a:lnTo>
                    <a:pt x="3924" y="795"/>
                  </a:lnTo>
                  <a:lnTo>
                    <a:pt x="3929" y="781"/>
                  </a:lnTo>
                  <a:lnTo>
                    <a:pt x="3919" y="770"/>
                  </a:lnTo>
                  <a:lnTo>
                    <a:pt x="3899" y="759"/>
                  </a:lnTo>
                  <a:lnTo>
                    <a:pt x="3899" y="770"/>
                  </a:lnTo>
                  <a:lnTo>
                    <a:pt x="3888" y="765"/>
                  </a:lnTo>
                  <a:lnTo>
                    <a:pt x="3872" y="749"/>
                  </a:lnTo>
                  <a:lnTo>
                    <a:pt x="3864" y="745"/>
                  </a:lnTo>
                  <a:lnTo>
                    <a:pt x="3878" y="765"/>
                  </a:lnTo>
                  <a:lnTo>
                    <a:pt x="3853" y="745"/>
                  </a:lnTo>
                  <a:lnTo>
                    <a:pt x="3837" y="735"/>
                  </a:lnTo>
                  <a:lnTo>
                    <a:pt x="3812" y="708"/>
                  </a:lnTo>
                  <a:lnTo>
                    <a:pt x="3785" y="672"/>
                  </a:lnTo>
                  <a:lnTo>
                    <a:pt x="3785" y="658"/>
                  </a:lnTo>
                  <a:lnTo>
                    <a:pt x="3812" y="694"/>
                  </a:lnTo>
                  <a:lnTo>
                    <a:pt x="3807" y="678"/>
                  </a:lnTo>
                  <a:lnTo>
                    <a:pt x="3807" y="667"/>
                  </a:lnTo>
                  <a:lnTo>
                    <a:pt x="3826" y="688"/>
                  </a:lnTo>
                  <a:lnTo>
                    <a:pt x="3848" y="713"/>
                  </a:lnTo>
                  <a:lnTo>
                    <a:pt x="3853" y="704"/>
                  </a:lnTo>
                  <a:lnTo>
                    <a:pt x="3888" y="724"/>
                  </a:lnTo>
                  <a:lnTo>
                    <a:pt x="3894" y="718"/>
                  </a:lnTo>
                  <a:lnTo>
                    <a:pt x="3894" y="718"/>
                  </a:lnTo>
                  <a:lnTo>
                    <a:pt x="3913" y="733"/>
                  </a:lnTo>
                  <a:lnTo>
                    <a:pt x="3924" y="740"/>
                  </a:lnTo>
                  <a:lnTo>
                    <a:pt x="3935" y="745"/>
                  </a:lnTo>
                  <a:lnTo>
                    <a:pt x="3940" y="735"/>
                  </a:lnTo>
                  <a:lnTo>
                    <a:pt x="3960" y="754"/>
                  </a:lnTo>
                  <a:lnTo>
                    <a:pt x="3970" y="770"/>
                  </a:lnTo>
                  <a:lnTo>
                    <a:pt x="3981" y="775"/>
                  </a:lnTo>
                  <a:lnTo>
                    <a:pt x="3976" y="770"/>
                  </a:lnTo>
                  <a:lnTo>
                    <a:pt x="3929" y="718"/>
                  </a:lnTo>
                  <a:lnTo>
                    <a:pt x="3913" y="699"/>
                  </a:lnTo>
                  <a:lnTo>
                    <a:pt x="3908" y="688"/>
                  </a:lnTo>
                  <a:lnTo>
                    <a:pt x="3904" y="683"/>
                  </a:lnTo>
                  <a:lnTo>
                    <a:pt x="3899" y="672"/>
                  </a:lnTo>
                  <a:lnTo>
                    <a:pt x="3883" y="658"/>
                  </a:lnTo>
                  <a:lnTo>
                    <a:pt x="3883" y="658"/>
                  </a:lnTo>
                  <a:lnTo>
                    <a:pt x="3876" y="653"/>
                  </a:lnTo>
                  <a:lnTo>
                    <a:pt x="3869" y="647"/>
                  </a:lnTo>
                  <a:lnTo>
                    <a:pt x="3865" y="642"/>
                  </a:lnTo>
                  <a:lnTo>
                    <a:pt x="3864" y="637"/>
                  </a:lnTo>
                  <a:lnTo>
                    <a:pt x="3848" y="626"/>
                  </a:lnTo>
                  <a:lnTo>
                    <a:pt x="3848" y="626"/>
                  </a:lnTo>
                  <a:lnTo>
                    <a:pt x="3835" y="617"/>
                  </a:lnTo>
                  <a:lnTo>
                    <a:pt x="3824" y="608"/>
                  </a:lnTo>
                  <a:lnTo>
                    <a:pt x="3812" y="601"/>
                  </a:lnTo>
                  <a:lnTo>
                    <a:pt x="3801" y="590"/>
                  </a:lnTo>
                  <a:lnTo>
                    <a:pt x="3796" y="580"/>
                  </a:lnTo>
                  <a:lnTo>
                    <a:pt x="3796" y="580"/>
                  </a:lnTo>
                  <a:lnTo>
                    <a:pt x="3776" y="560"/>
                  </a:lnTo>
                  <a:lnTo>
                    <a:pt x="3791" y="571"/>
                  </a:lnTo>
                  <a:lnTo>
                    <a:pt x="3801" y="580"/>
                  </a:lnTo>
                  <a:lnTo>
                    <a:pt x="3812" y="585"/>
                  </a:lnTo>
                  <a:lnTo>
                    <a:pt x="3826" y="596"/>
                  </a:lnTo>
                  <a:lnTo>
                    <a:pt x="3848" y="617"/>
                  </a:lnTo>
                  <a:lnTo>
                    <a:pt x="3864" y="626"/>
                  </a:lnTo>
                  <a:lnTo>
                    <a:pt x="3872" y="637"/>
                  </a:lnTo>
                  <a:lnTo>
                    <a:pt x="3872" y="631"/>
                  </a:lnTo>
                  <a:lnTo>
                    <a:pt x="3883" y="642"/>
                  </a:lnTo>
                  <a:lnTo>
                    <a:pt x="3872" y="626"/>
                  </a:lnTo>
                  <a:lnTo>
                    <a:pt x="3864" y="617"/>
                  </a:lnTo>
                  <a:lnTo>
                    <a:pt x="3867" y="617"/>
                  </a:lnTo>
                  <a:lnTo>
                    <a:pt x="3832" y="585"/>
                  </a:lnTo>
                  <a:lnTo>
                    <a:pt x="3832" y="580"/>
                  </a:lnTo>
                  <a:lnTo>
                    <a:pt x="3807" y="555"/>
                  </a:lnTo>
                  <a:lnTo>
                    <a:pt x="3801" y="550"/>
                  </a:lnTo>
                  <a:lnTo>
                    <a:pt x="3785" y="539"/>
                  </a:lnTo>
                  <a:lnTo>
                    <a:pt x="3785" y="539"/>
                  </a:lnTo>
                  <a:lnTo>
                    <a:pt x="3784" y="539"/>
                  </a:lnTo>
                  <a:lnTo>
                    <a:pt x="3780" y="537"/>
                  </a:lnTo>
                  <a:lnTo>
                    <a:pt x="3778" y="535"/>
                  </a:lnTo>
                  <a:lnTo>
                    <a:pt x="3776" y="535"/>
                  </a:lnTo>
                  <a:lnTo>
                    <a:pt x="3760" y="519"/>
                  </a:lnTo>
                  <a:lnTo>
                    <a:pt x="3760" y="519"/>
                  </a:lnTo>
                  <a:lnTo>
                    <a:pt x="3743" y="503"/>
                  </a:lnTo>
                  <a:lnTo>
                    <a:pt x="3725" y="489"/>
                  </a:lnTo>
                  <a:lnTo>
                    <a:pt x="3725" y="489"/>
                  </a:lnTo>
                  <a:lnTo>
                    <a:pt x="3743" y="503"/>
                  </a:lnTo>
                  <a:lnTo>
                    <a:pt x="3760" y="519"/>
                  </a:lnTo>
                  <a:lnTo>
                    <a:pt x="3760" y="519"/>
                  </a:lnTo>
                  <a:lnTo>
                    <a:pt x="3764" y="521"/>
                  </a:lnTo>
                  <a:lnTo>
                    <a:pt x="3768" y="525"/>
                  </a:lnTo>
                  <a:lnTo>
                    <a:pt x="3776" y="535"/>
                  </a:lnTo>
                  <a:lnTo>
                    <a:pt x="3776" y="535"/>
                  </a:lnTo>
                  <a:lnTo>
                    <a:pt x="3780" y="535"/>
                  </a:lnTo>
                  <a:lnTo>
                    <a:pt x="3785" y="539"/>
                  </a:lnTo>
                  <a:lnTo>
                    <a:pt x="3785" y="539"/>
                  </a:lnTo>
                  <a:lnTo>
                    <a:pt x="3789" y="541"/>
                  </a:lnTo>
                  <a:lnTo>
                    <a:pt x="3794" y="542"/>
                  </a:lnTo>
                  <a:lnTo>
                    <a:pt x="3801" y="550"/>
                  </a:lnTo>
                  <a:lnTo>
                    <a:pt x="3807" y="550"/>
                  </a:lnTo>
                  <a:lnTo>
                    <a:pt x="3807" y="550"/>
                  </a:lnTo>
                  <a:lnTo>
                    <a:pt x="3780" y="526"/>
                  </a:lnTo>
                  <a:lnTo>
                    <a:pt x="3752" y="503"/>
                  </a:lnTo>
                  <a:lnTo>
                    <a:pt x="3695" y="459"/>
                  </a:lnTo>
                  <a:lnTo>
                    <a:pt x="3636" y="418"/>
                  </a:lnTo>
                  <a:lnTo>
                    <a:pt x="3575" y="375"/>
                  </a:lnTo>
                  <a:lnTo>
                    <a:pt x="3575" y="375"/>
                  </a:lnTo>
                  <a:lnTo>
                    <a:pt x="3602" y="393"/>
                  </a:lnTo>
                  <a:lnTo>
                    <a:pt x="3627" y="411"/>
                  </a:lnTo>
                  <a:lnTo>
                    <a:pt x="3616" y="411"/>
                  </a:lnTo>
                  <a:lnTo>
                    <a:pt x="3611" y="407"/>
                  </a:lnTo>
                  <a:lnTo>
                    <a:pt x="3616" y="411"/>
                  </a:lnTo>
                  <a:lnTo>
                    <a:pt x="3616" y="411"/>
                  </a:lnTo>
                  <a:lnTo>
                    <a:pt x="3616" y="411"/>
                  </a:lnTo>
                  <a:lnTo>
                    <a:pt x="3551" y="370"/>
                  </a:lnTo>
                  <a:lnTo>
                    <a:pt x="3517" y="347"/>
                  </a:lnTo>
                  <a:lnTo>
                    <a:pt x="3483" y="324"/>
                  </a:lnTo>
                  <a:lnTo>
                    <a:pt x="3483" y="324"/>
                  </a:lnTo>
                  <a:lnTo>
                    <a:pt x="3474" y="317"/>
                  </a:lnTo>
                  <a:lnTo>
                    <a:pt x="3463" y="309"/>
                  </a:lnTo>
                  <a:lnTo>
                    <a:pt x="3458" y="315"/>
                  </a:lnTo>
                  <a:lnTo>
                    <a:pt x="3458" y="315"/>
                  </a:lnTo>
                  <a:lnTo>
                    <a:pt x="3485" y="331"/>
                  </a:lnTo>
                  <a:lnTo>
                    <a:pt x="3499" y="340"/>
                  </a:lnTo>
                  <a:lnTo>
                    <a:pt x="3515" y="350"/>
                  </a:lnTo>
                  <a:lnTo>
                    <a:pt x="3515" y="350"/>
                  </a:lnTo>
                  <a:lnTo>
                    <a:pt x="3545" y="370"/>
                  </a:lnTo>
                  <a:lnTo>
                    <a:pt x="3574" y="391"/>
                  </a:lnTo>
                  <a:lnTo>
                    <a:pt x="3602" y="413"/>
                  </a:lnTo>
                  <a:lnTo>
                    <a:pt x="3632" y="432"/>
                  </a:lnTo>
                  <a:lnTo>
                    <a:pt x="3648" y="443"/>
                  </a:lnTo>
                  <a:lnTo>
                    <a:pt x="3657" y="448"/>
                  </a:lnTo>
                  <a:lnTo>
                    <a:pt x="3693" y="473"/>
                  </a:lnTo>
                  <a:lnTo>
                    <a:pt x="3709" y="489"/>
                  </a:lnTo>
                  <a:lnTo>
                    <a:pt x="3709" y="489"/>
                  </a:lnTo>
                  <a:lnTo>
                    <a:pt x="3785" y="550"/>
                  </a:lnTo>
                  <a:lnTo>
                    <a:pt x="3791" y="560"/>
                  </a:lnTo>
                  <a:lnTo>
                    <a:pt x="3801" y="571"/>
                  </a:lnTo>
                  <a:lnTo>
                    <a:pt x="3801" y="571"/>
                  </a:lnTo>
                  <a:lnTo>
                    <a:pt x="3785" y="560"/>
                  </a:lnTo>
                  <a:lnTo>
                    <a:pt x="3771" y="551"/>
                  </a:lnTo>
                  <a:lnTo>
                    <a:pt x="3739" y="535"/>
                  </a:lnTo>
                  <a:lnTo>
                    <a:pt x="3725" y="530"/>
                  </a:lnTo>
                  <a:lnTo>
                    <a:pt x="3766" y="571"/>
                  </a:lnTo>
                  <a:lnTo>
                    <a:pt x="3780" y="590"/>
                  </a:lnTo>
                  <a:lnTo>
                    <a:pt x="3771" y="590"/>
                  </a:lnTo>
                  <a:lnTo>
                    <a:pt x="3771" y="590"/>
                  </a:lnTo>
                  <a:lnTo>
                    <a:pt x="3721" y="560"/>
                  </a:lnTo>
                  <a:lnTo>
                    <a:pt x="3696" y="542"/>
                  </a:lnTo>
                  <a:lnTo>
                    <a:pt x="3673" y="525"/>
                  </a:lnTo>
                  <a:lnTo>
                    <a:pt x="3652" y="503"/>
                  </a:lnTo>
                  <a:lnTo>
                    <a:pt x="3622" y="462"/>
                  </a:lnTo>
                  <a:lnTo>
                    <a:pt x="3581" y="432"/>
                  </a:lnTo>
                  <a:lnTo>
                    <a:pt x="3581" y="432"/>
                  </a:lnTo>
                  <a:lnTo>
                    <a:pt x="3554" y="411"/>
                  </a:lnTo>
                  <a:lnTo>
                    <a:pt x="3524" y="391"/>
                  </a:lnTo>
                  <a:lnTo>
                    <a:pt x="3465" y="350"/>
                  </a:lnTo>
                  <a:lnTo>
                    <a:pt x="3341" y="274"/>
                  </a:lnTo>
                  <a:lnTo>
                    <a:pt x="3330" y="258"/>
                  </a:lnTo>
                  <a:lnTo>
                    <a:pt x="3294" y="237"/>
                  </a:lnTo>
                  <a:lnTo>
                    <a:pt x="3278" y="233"/>
                  </a:lnTo>
                  <a:lnTo>
                    <a:pt x="3259" y="217"/>
                  </a:lnTo>
                  <a:lnTo>
                    <a:pt x="3248" y="206"/>
                  </a:lnTo>
                  <a:lnTo>
                    <a:pt x="3268" y="217"/>
                  </a:lnTo>
                  <a:lnTo>
                    <a:pt x="3278" y="217"/>
                  </a:lnTo>
                  <a:lnTo>
                    <a:pt x="3278" y="217"/>
                  </a:lnTo>
                  <a:lnTo>
                    <a:pt x="3252" y="206"/>
                  </a:lnTo>
                  <a:lnTo>
                    <a:pt x="3223" y="192"/>
                  </a:lnTo>
                  <a:lnTo>
                    <a:pt x="3278" y="217"/>
                  </a:lnTo>
                  <a:lnTo>
                    <a:pt x="3278" y="217"/>
                  </a:lnTo>
                  <a:lnTo>
                    <a:pt x="3259" y="206"/>
                  </a:lnTo>
                  <a:lnTo>
                    <a:pt x="3259" y="206"/>
                  </a:lnTo>
                  <a:lnTo>
                    <a:pt x="3248" y="203"/>
                  </a:lnTo>
                  <a:lnTo>
                    <a:pt x="3241" y="196"/>
                  </a:lnTo>
                  <a:lnTo>
                    <a:pt x="3232" y="190"/>
                  </a:lnTo>
                  <a:lnTo>
                    <a:pt x="3223" y="187"/>
                  </a:lnTo>
                  <a:lnTo>
                    <a:pt x="3223" y="187"/>
                  </a:lnTo>
                  <a:lnTo>
                    <a:pt x="3145" y="153"/>
                  </a:lnTo>
                  <a:lnTo>
                    <a:pt x="3068" y="124"/>
                  </a:lnTo>
                  <a:lnTo>
                    <a:pt x="2990" y="98"/>
                  </a:lnTo>
                  <a:lnTo>
                    <a:pt x="2910" y="73"/>
                  </a:lnTo>
                  <a:lnTo>
                    <a:pt x="2910" y="73"/>
                  </a:lnTo>
                  <a:lnTo>
                    <a:pt x="2860" y="60"/>
                  </a:lnTo>
                  <a:lnTo>
                    <a:pt x="2809" y="48"/>
                  </a:lnTo>
                  <a:lnTo>
                    <a:pt x="2706" y="27"/>
                  </a:lnTo>
                  <a:lnTo>
                    <a:pt x="2706" y="27"/>
                  </a:lnTo>
                  <a:lnTo>
                    <a:pt x="2652" y="20"/>
                  </a:lnTo>
                  <a:lnTo>
                    <a:pt x="2599" y="14"/>
                  </a:lnTo>
                  <a:lnTo>
                    <a:pt x="2545" y="9"/>
                  </a:lnTo>
                  <a:lnTo>
                    <a:pt x="2490" y="5"/>
                  </a:lnTo>
                  <a:lnTo>
                    <a:pt x="2437" y="2"/>
                  </a:lnTo>
                  <a:lnTo>
                    <a:pt x="2384" y="2"/>
                  </a:lnTo>
                  <a:lnTo>
                    <a:pt x="2328" y="0"/>
                  </a:lnTo>
                  <a:lnTo>
                    <a:pt x="2275" y="2"/>
                  </a:lnTo>
                  <a:lnTo>
                    <a:pt x="2220" y="4"/>
                  </a:lnTo>
                  <a:lnTo>
                    <a:pt x="2167" y="5"/>
                  </a:lnTo>
                  <a:lnTo>
                    <a:pt x="2111" y="11"/>
                  </a:lnTo>
                  <a:lnTo>
                    <a:pt x="2058" y="16"/>
                  </a:lnTo>
                  <a:lnTo>
                    <a:pt x="2005" y="21"/>
                  </a:lnTo>
                  <a:lnTo>
                    <a:pt x="1951" y="28"/>
                  </a:lnTo>
                  <a:lnTo>
                    <a:pt x="1898" y="37"/>
                  </a:lnTo>
                  <a:lnTo>
                    <a:pt x="1845" y="48"/>
                  </a:lnTo>
                  <a:lnTo>
                    <a:pt x="1845" y="48"/>
                  </a:lnTo>
                  <a:lnTo>
                    <a:pt x="1770" y="64"/>
                  </a:lnTo>
                  <a:lnTo>
                    <a:pt x="1733" y="73"/>
                  </a:lnTo>
                  <a:lnTo>
                    <a:pt x="1695" y="84"/>
                  </a:lnTo>
                  <a:lnTo>
                    <a:pt x="1706" y="84"/>
                  </a:lnTo>
                  <a:lnTo>
                    <a:pt x="1676" y="94"/>
                  </a:lnTo>
                  <a:lnTo>
                    <a:pt x="1676" y="94"/>
                  </a:lnTo>
                  <a:lnTo>
                    <a:pt x="1667" y="94"/>
                  </a:lnTo>
                  <a:lnTo>
                    <a:pt x="1660" y="96"/>
                  </a:lnTo>
                  <a:lnTo>
                    <a:pt x="1653" y="98"/>
                  </a:lnTo>
                  <a:lnTo>
                    <a:pt x="1644" y="100"/>
                  </a:lnTo>
                  <a:lnTo>
                    <a:pt x="1644" y="114"/>
                  </a:lnTo>
                  <a:lnTo>
                    <a:pt x="1558" y="146"/>
                  </a:lnTo>
                  <a:lnTo>
                    <a:pt x="1558" y="146"/>
                  </a:lnTo>
                  <a:lnTo>
                    <a:pt x="1521" y="160"/>
                  </a:lnTo>
                  <a:lnTo>
                    <a:pt x="1475" y="181"/>
                  </a:lnTo>
                  <a:lnTo>
                    <a:pt x="1450" y="206"/>
                  </a:lnTo>
                  <a:lnTo>
                    <a:pt x="1430" y="217"/>
                  </a:lnTo>
                  <a:lnTo>
                    <a:pt x="1409" y="228"/>
                  </a:lnTo>
                  <a:lnTo>
                    <a:pt x="1387" y="237"/>
                  </a:lnTo>
                  <a:lnTo>
                    <a:pt x="1368" y="247"/>
                  </a:lnTo>
                  <a:lnTo>
                    <a:pt x="1368" y="253"/>
                  </a:lnTo>
                  <a:lnTo>
                    <a:pt x="1357" y="263"/>
                  </a:lnTo>
                  <a:lnTo>
                    <a:pt x="1343" y="279"/>
                  </a:lnTo>
                  <a:lnTo>
                    <a:pt x="1343" y="293"/>
                  </a:lnTo>
                  <a:lnTo>
                    <a:pt x="1306" y="315"/>
                  </a:lnTo>
                  <a:lnTo>
                    <a:pt x="1316" y="320"/>
                  </a:lnTo>
                  <a:lnTo>
                    <a:pt x="1338" y="304"/>
                  </a:lnTo>
                  <a:lnTo>
                    <a:pt x="1352" y="299"/>
                  </a:lnTo>
                  <a:lnTo>
                    <a:pt x="1338" y="309"/>
                  </a:lnTo>
                  <a:lnTo>
                    <a:pt x="1338" y="324"/>
                  </a:lnTo>
                  <a:lnTo>
                    <a:pt x="1316" y="350"/>
                  </a:lnTo>
                  <a:lnTo>
                    <a:pt x="1302" y="365"/>
                  </a:lnTo>
                  <a:lnTo>
                    <a:pt x="1302" y="365"/>
                  </a:lnTo>
                  <a:lnTo>
                    <a:pt x="1288" y="381"/>
                  </a:lnTo>
                  <a:lnTo>
                    <a:pt x="1275" y="397"/>
                  </a:lnTo>
                  <a:lnTo>
                    <a:pt x="1263" y="414"/>
                  </a:lnTo>
                  <a:lnTo>
                    <a:pt x="1251" y="432"/>
                  </a:lnTo>
                  <a:lnTo>
                    <a:pt x="1229" y="443"/>
                  </a:lnTo>
                  <a:lnTo>
                    <a:pt x="1224" y="452"/>
                  </a:lnTo>
                  <a:lnTo>
                    <a:pt x="1245" y="438"/>
                  </a:lnTo>
                  <a:lnTo>
                    <a:pt x="1251" y="457"/>
                  </a:lnTo>
                  <a:lnTo>
                    <a:pt x="1229" y="489"/>
                  </a:lnTo>
                  <a:lnTo>
                    <a:pt x="1210" y="489"/>
                  </a:lnTo>
                  <a:lnTo>
                    <a:pt x="1194" y="478"/>
                  </a:lnTo>
                  <a:lnTo>
                    <a:pt x="1163" y="498"/>
                  </a:lnTo>
                  <a:lnTo>
                    <a:pt x="1153" y="498"/>
                  </a:lnTo>
                  <a:lnTo>
                    <a:pt x="1153" y="489"/>
                  </a:lnTo>
                  <a:lnTo>
                    <a:pt x="1163" y="473"/>
                  </a:lnTo>
                  <a:lnTo>
                    <a:pt x="1169" y="457"/>
                  </a:lnTo>
                  <a:lnTo>
                    <a:pt x="1183" y="448"/>
                  </a:lnTo>
                  <a:lnTo>
                    <a:pt x="1188" y="438"/>
                  </a:lnTo>
                  <a:lnTo>
                    <a:pt x="1183" y="432"/>
                  </a:lnTo>
                  <a:lnTo>
                    <a:pt x="1199" y="416"/>
                  </a:lnTo>
                  <a:lnTo>
                    <a:pt x="1215" y="411"/>
                  </a:lnTo>
                  <a:lnTo>
                    <a:pt x="1199" y="407"/>
                  </a:lnTo>
                  <a:lnTo>
                    <a:pt x="1183" y="421"/>
                  </a:lnTo>
                  <a:lnTo>
                    <a:pt x="1169" y="427"/>
                  </a:lnTo>
                  <a:lnTo>
                    <a:pt x="1169" y="427"/>
                  </a:lnTo>
                  <a:lnTo>
                    <a:pt x="1163" y="427"/>
                  </a:lnTo>
                  <a:lnTo>
                    <a:pt x="1147" y="427"/>
                  </a:lnTo>
                  <a:lnTo>
                    <a:pt x="1153" y="416"/>
                  </a:lnTo>
                  <a:lnTo>
                    <a:pt x="1131" y="438"/>
                  </a:lnTo>
                  <a:lnTo>
                    <a:pt x="1112" y="462"/>
                  </a:lnTo>
                  <a:lnTo>
                    <a:pt x="1106" y="462"/>
                  </a:lnTo>
                  <a:lnTo>
                    <a:pt x="1090" y="473"/>
                  </a:lnTo>
                  <a:lnTo>
                    <a:pt x="1082" y="478"/>
                  </a:lnTo>
                  <a:lnTo>
                    <a:pt x="1090" y="457"/>
                  </a:lnTo>
                  <a:lnTo>
                    <a:pt x="1071" y="448"/>
                  </a:lnTo>
                  <a:lnTo>
                    <a:pt x="1071" y="443"/>
                  </a:lnTo>
                  <a:lnTo>
                    <a:pt x="1041" y="443"/>
                  </a:lnTo>
                  <a:lnTo>
                    <a:pt x="1025" y="448"/>
                  </a:lnTo>
                  <a:lnTo>
                    <a:pt x="1049" y="427"/>
                  </a:lnTo>
                  <a:lnTo>
                    <a:pt x="1035" y="416"/>
                  </a:lnTo>
                  <a:lnTo>
                    <a:pt x="1049" y="407"/>
                  </a:lnTo>
                  <a:lnTo>
                    <a:pt x="1041" y="407"/>
                  </a:lnTo>
                  <a:lnTo>
                    <a:pt x="1055" y="391"/>
                  </a:lnTo>
                  <a:lnTo>
                    <a:pt x="1035" y="402"/>
                  </a:lnTo>
                  <a:lnTo>
                    <a:pt x="1014" y="411"/>
                  </a:lnTo>
                  <a:lnTo>
                    <a:pt x="1000" y="421"/>
                  </a:lnTo>
                  <a:lnTo>
                    <a:pt x="984" y="438"/>
                  </a:lnTo>
                  <a:lnTo>
                    <a:pt x="948" y="462"/>
                  </a:lnTo>
                  <a:lnTo>
                    <a:pt x="953" y="452"/>
                  </a:lnTo>
                  <a:lnTo>
                    <a:pt x="932" y="462"/>
                  </a:lnTo>
                  <a:lnTo>
                    <a:pt x="918" y="478"/>
                  </a:lnTo>
                  <a:lnTo>
                    <a:pt x="918" y="473"/>
                  </a:lnTo>
                  <a:lnTo>
                    <a:pt x="891" y="493"/>
                  </a:lnTo>
                  <a:lnTo>
                    <a:pt x="902" y="484"/>
                  </a:lnTo>
                  <a:lnTo>
                    <a:pt x="902" y="484"/>
                  </a:lnTo>
                  <a:lnTo>
                    <a:pt x="895" y="487"/>
                  </a:lnTo>
                  <a:lnTo>
                    <a:pt x="888" y="493"/>
                  </a:lnTo>
                  <a:lnTo>
                    <a:pt x="882" y="500"/>
                  </a:lnTo>
                  <a:lnTo>
                    <a:pt x="881" y="503"/>
                  </a:lnTo>
                  <a:lnTo>
                    <a:pt x="881" y="503"/>
                  </a:lnTo>
                  <a:lnTo>
                    <a:pt x="809" y="562"/>
                  </a:lnTo>
                  <a:lnTo>
                    <a:pt x="740" y="622"/>
                  </a:lnTo>
                  <a:lnTo>
                    <a:pt x="674" y="686"/>
                  </a:lnTo>
                  <a:lnTo>
                    <a:pt x="610" y="751"/>
                  </a:lnTo>
                  <a:lnTo>
                    <a:pt x="550" y="820"/>
                  </a:lnTo>
                  <a:lnTo>
                    <a:pt x="491" y="889"/>
                  </a:lnTo>
                  <a:lnTo>
                    <a:pt x="436" y="962"/>
                  </a:lnTo>
                  <a:lnTo>
                    <a:pt x="384" y="1037"/>
                  </a:lnTo>
                  <a:lnTo>
                    <a:pt x="334" y="1113"/>
                  </a:lnTo>
                  <a:lnTo>
                    <a:pt x="288" y="1192"/>
                  </a:lnTo>
                  <a:lnTo>
                    <a:pt x="245" y="1272"/>
                  </a:lnTo>
                  <a:lnTo>
                    <a:pt x="206" y="1352"/>
                  </a:lnTo>
                  <a:lnTo>
                    <a:pt x="171" y="1435"/>
                  </a:lnTo>
                  <a:lnTo>
                    <a:pt x="137" y="1519"/>
                  </a:lnTo>
                  <a:lnTo>
                    <a:pt x="109" y="1606"/>
                  </a:lnTo>
                  <a:lnTo>
                    <a:pt x="82" y="1691"/>
                  </a:lnTo>
                  <a:lnTo>
                    <a:pt x="82" y="1691"/>
                  </a:lnTo>
                  <a:lnTo>
                    <a:pt x="60" y="1777"/>
                  </a:lnTo>
                  <a:lnTo>
                    <a:pt x="43" y="1862"/>
                  </a:lnTo>
                  <a:lnTo>
                    <a:pt x="27" y="1949"/>
                  </a:lnTo>
                  <a:lnTo>
                    <a:pt x="16" y="2036"/>
                  </a:lnTo>
                  <a:lnTo>
                    <a:pt x="7" y="2122"/>
                  </a:lnTo>
                  <a:lnTo>
                    <a:pt x="2" y="2211"/>
                  </a:lnTo>
                  <a:lnTo>
                    <a:pt x="0" y="2298"/>
                  </a:lnTo>
                  <a:lnTo>
                    <a:pt x="2" y="2385"/>
                  </a:lnTo>
                  <a:lnTo>
                    <a:pt x="5" y="2472"/>
                  </a:lnTo>
                  <a:lnTo>
                    <a:pt x="14" y="2559"/>
                  </a:lnTo>
                  <a:lnTo>
                    <a:pt x="25" y="2646"/>
                  </a:lnTo>
                  <a:lnTo>
                    <a:pt x="39" y="2732"/>
                  </a:lnTo>
                  <a:lnTo>
                    <a:pt x="57" y="2817"/>
                  </a:lnTo>
                  <a:lnTo>
                    <a:pt x="76" y="2902"/>
                  </a:lnTo>
                  <a:lnTo>
                    <a:pt x="101" y="2986"/>
                  </a:lnTo>
                  <a:lnTo>
                    <a:pt x="128" y="3070"/>
                  </a:lnTo>
                  <a:lnTo>
                    <a:pt x="128" y="3070"/>
                  </a:lnTo>
                  <a:lnTo>
                    <a:pt x="157" y="3144"/>
                  </a:lnTo>
                  <a:lnTo>
                    <a:pt x="187" y="3219"/>
                  </a:lnTo>
                  <a:lnTo>
                    <a:pt x="221" y="3292"/>
                  </a:lnTo>
                  <a:lnTo>
                    <a:pt x="256" y="3363"/>
                  </a:lnTo>
                  <a:lnTo>
                    <a:pt x="295" y="3432"/>
                  </a:lnTo>
                  <a:lnTo>
                    <a:pt x="334" y="3502"/>
                  </a:lnTo>
                  <a:lnTo>
                    <a:pt x="379" y="3568"/>
                  </a:lnTo>
                  <a:lnTo>
                    <a:pt x="423" y="3633"/>
                  </a:lnTo>
                  <a:lnTo>
                    <a:pt x="471" y="3697"/>
                  </a:lnTo>
                  <a:lnTo>
                    <a:pt x="519" y="3758"/>
                  </a:lnTo>
                  <a:lnTo>
                    <a:pt x="571" y="3818"/>
                  </a:lnTo>
                  <a:lnTo>
                    <a:pt x="624" y="3877"/>
                  </a:lnTo>
                  <a:lnTo>
                    <a:pt x="680" y="3934"/>
                  </a:lnTo>
                  <a:lnTo>
                    <a:pt x="736" y="3989"/>
                  </a:lnTo>
                  <a:lnTo>
                    <a:pt x="797" y="4041"/>
                  </a:lnTo>
                  <a:lnTo>
                    <a:pt x="857" y="4092"/>
                  </a:lnTo>
                  <a:lnTo>
                    <a:pt x="920" y="4140"/>
                  </a:lnTo>
                  <a:lnTo>
                    <a:pt x="984" y="4187"/>
                  </a:lnTo>
                  <a:lnTo>
                    <a:pt x="1048" y="4231"/>
                  </a:lnTo>
                  <a:lnTo>
                    <a:pt x="1115" y="4274"/>
                  </a:lnTo>
                  <a:lnTo>
                    <a:pt x="1183" y="4313"/>
                  </a:lnTo>
                  <a:lnTo>
                    <a:pt x="1252" y="4352"/>
                  </a:lnTo>
                  <a:lnTo>
                    <a:pt x="1323" y="4387"/>
                  </a:lnTo>
                  <a:lnTo>
                    <a:pt x="1396" y="4419"/>
                  </a:lnTo>
                  <a:lnTo>
                    <a:pt x="1469" y="4450"/>
                  </a:lnTo>
                  <a:lnTo>
                    <a:pt x="1544" y="4478"/>
                  </a:lnTo>
                  <a:lnTo>
                    <a:pt x="1619" y="4503"/>
                  </a:lnTo>
                  <a:lnTo>
                    <a:pt x="1695" y="4526"/>
                  </a:lnTo>
                  <a:lnTo>
                    <a:pt x="1772" y="4548"/>
                  </a:lnTo>
                  <a:lnTo>
                    <a:pt x="1850" y="4564"/>
                  </a:lnTo>
                  <a:lnTo>
                    <a:pt x="1928" y="4580"/>
                  </a:lnTo>
                  <a:lnTo>
                    <a:pt x="2008" y="4590"/>
                  </a:lnTo>
                  <a:lnTo>
                    <a:pt x="2008" y="4590"/>
                  </a:lnTo>
                  <a:lnTo>
                    <a:pt x="2085" y="4599"/>
                  </a:lnTo>
                  <a:lnTo>
                    <a:pt x="2163" y="4604"/>
                  </a:lnTo>
                  <a:lnTo>
                    <a:pt x="2241" y="4608"/>
                  </a:lnTo>
                  <a:lnTo>
                    <a:pt x="2321" y="4608"/>
                  </a:lnTo>
                  <a:lnTo>
                    <a:pt x="2400" y="4606"/>
                  </a:lnTo>
                  <a:lnTo>
                    <a:pt x="2478" y="4601"/>
                  </a:lnTo>
                  <a:lnTo>
                    <a:pt x="2556" y="4594"/>
                  </a:lnTo>
                  <a:lnTo>
                    <a:pt x="2633" y="4587"/>
                  </a:lnTo>
                  <a:lnTo>
                    <a:pt x="2633" y="4587"/>
                  </a:lnTo>
                  <a:lnTo>
                    <a:pt x="2707" y="4571"/>
                  </a:lnTo>
                  <a:lnTo>
                    <a:pt x="2741" y="4565"/>
                  </a:lnTo>
                  <a:lnTo>
                    <a:pt x="2777" y="4560"/>
                  </a:lnTo>
                  <a:lnTo>
                    <a:pt x="2777" y="4560"/>
                  </a:lnTo>
                  <a:lnTo>
                    <a:pt x="2853" y="4542"/>
                  </a:lnTo>
                  <a:lnTo>
                    <a:pt x="2930" y="4523"/>
                  </a:lnTo>
                  <a:lnTo>
                    <a:pt x="3004" y="4500"/>
                  </a:lnTo>
                  <a:lnTo>
                    <a:pt x="3079" y="4475"/>
                  </a:lnTo>
                  <a:lnTo>
                    <a:pt x="3152" y="4446"/>
                  </a:lnTo>
                  <a:lnTo>
                    <a:pt x="3223" y="4416"/>
                  </a:lnTo>
                  <a:lnTo>
                    <a:pt x="3294" y="4382"/>
                  </a:lnTo>
                  <a:lnTo>
                    <a:pt x="3364" y="4347"/>
                  </a:lnTo>
                  <a:lnTo>
                    <a:pt x="3433" y="4309"/>
                  </a:lnTo>
                  <a:lnTo>
                    <a:pt x="3499" y="4270"/>
                  </a:lnTo>
                  <a:lnTo>
                    <a:pt x="3565" y="4227"/>
                  </a:lnTo>
                  <a:lnTo>
                    <a:pt x="3629" y="4183"/>
                  </a:lnTo>
                  <a:lnTo>
                    <a:pt x="3693" y="4137"/>
                  </a:lnTo>
                  <a:lnTo>
                    <a:pt x="3753" y="4089"/>
                  </a:lnTo>
                  <a:lnTo>
                    <a:pt x="3812" y="4039"/>
                  </a:lnTo>
                  <a:lnTo>
                    <a:pt x="3871" y="3987"/>
                  </a:lnTo>
                  <a:lnTo>
                    <a:pt x="3926" y="3932"/>
                  </a:lnTo>
                  <a:lnTo>
                    <a:pt x="3981" y="3877"/>
                  </a:lnTo>
                  <a:lnTo>
                    <a:pt x="4033" y="3820"/>
                  </a:lnTo>
                  <a:lnTo>
                    <a:pt x="4084" y="3760"/>
                  </a:lnTo>
                  <a:lnTo>
                    <a:pt x="4132" y="3699"/>
                  </a:lnTo>
                  <a:lnTo>
                    <a:pt x="4178" y="3637"/>
                  </a:lnTo>
                  <a:lnTo>
                    <a:pt x="4223" y="3573"/>
                  </a:lnTo>
                  <a:lnTo>
                    <a:pt x="4266" y="3507"/>
                  </a:lnTo>
                  <a:lnTo>
                    <a:pt x="4305" y="3440"/>
                  </a:lnTo>
                  <a:lnTo>
                    <a:pt x="4342" y="3372"/>
                  </a:lnTo>
                  <a:lnTo>
                    <a:pt x="4378" y="3303"/>
                  </a:lnTo>
                  <a:lnTo>
                    <a:pt x="4411" y="3231"/>
                  </a:lnTo>
                  <a:lnTo>
                    <a:pt x="4442" y="3160"/>
                  </a:lnTo>
                  <a:lnTo>
                    <a:pt x="4470" y="3086"/>
                  </a:lnTo>
                  <a:lnTo>
                    <a:pt x="4495" y="3013"/>
                  </a:lnTo>
                  <a:lnTo>
                    <a:pt x="4518" y="2936"/>
                  </a:lnTo>
                  <a:lnTo>
                    <a:pt x="4518" y="2936"/>
                  </a:lnTo>
                  <a:lnTo>
                    <a:pt x="4534" y="2881"/>
                  </a:lnTo>
                  <a:lnTo>
                    <a:pt x="4548" y="2824"/>
                  </a:lnTo>
                  <a:lnTo>
                    <a:pt x="4563" y="2767"/>
                  </a:lnTo>
                  <a:lnTo>
                    <a:pt x="4573" y="2710"/>
                  </a:lnTo>
                  <a:lnTo>
                    <a:pt x="4582" y="2652"/>
                  </a:lnTo>
                  <a:lnTo>
                    <a:pt x="4589" y="2593"/>
                  </a:lnTo>
                  <a:lnTo>
                    <a:pt x="4596" y="2534"/>
                  </a:lnTo>
                  <a:lnTo>
                    <a:pt x="4600" y="2476"/>
                  </a:lnTo>
                  <a:lnTo>
                    <a:pt x="4600" y="2451"/>
                  </a:lnTo>
                  <a:close/>
                  <a:moveTo>
                    <a:pt x="3684" y="457"/>
                  </a:moveTo>
                  <a:lnTo>
                    <a:pt x="3684" y="457"/>
                  </a:lnTo>
                  <a:lnTo>
                    <a:pt x="3684" y="457"/>
                  </a:lnTo>
                  <a:lnTo>
                    <a:pt x="3687" y="461"/>
                  </a:lnTo>
                  <a:lnTo>
                    <a:pt x="3689" y="462"/>
                  </a:lnTo>
                  <a:lnTo>
                    <a:pt x="3693" y="462"/>
                  </a:lnTo>
                  <a:lnTo>
                    <a:pt x="3684" y="457"/>
                  </a:lnTo>
                  <a:close/>
                  <a:moveTo>
                    <a:pt x="3883" y="781"/>
                  </a:moveTo>
                  <a:lnTo>
                    <a:pt x="3904" y="786"/>
                  </a:lnTo>
                  <a:lnTo>
                    <a:pt x="3945" y="827"/>
                  </a:lnTo>
                  <a:lnTo>
                    <a:pt x="3965" y="857"/>
                  </a:lnTo>
                  <a:lnTo>
                    <a:pt x="3965" y="887"/>
                  </a:lnTo>
                  <a:lnTo>
                    <a:pt x="3954" y="898"/>
                  </a:lnTo>
                  <a:lnTo>
                    <a:pt x="3935" y="863"/>
                  </a:lnTo>
                  <a:lnTo>
                    <a:pt x="3908" y="841"/>
                  </a:lnTo>
                  <a:lnTo>
                    <a:pt x="3908" y="841"/>
                  </a:lnTo>
                  <a:lnTo>
                    <a:pt x="3894" y="815"/>
                  </a:lnTo>
                  <a:lnTo>
                    <a:pt x="3888" y="802"/>
                  </a:lnTo>
                  <a:lnTo>
                    <a:pt x="3883" y="791"/>
                  </a:lnTo>
                  <a:lnTo>
                    <a:pt x="3883" y="781"/>
                  </a:lnTo>
                  <a:lnTo>
                    <a:pt x="3883" y="781"/>
                  </a:lnTo>
                  <a:close/>
                  <a:moveTo>
                    <a:pt x="3474" y="626"/>
                  </a:moveTo>
                  <a:lnTo>
                    <a:pt x="3504" y="631"/>
                  </a:lnTo>
                  <a:lnTo>
                    <a:pt x="3499" y="612"/>
                  </a:lnTo>
                  <a:lnTo>
                    <a:pt x="3520" y="612"/>
                  </a:lnTo>
                  <a:lnTo>
                    <a:pt x="3504" y="590"/>
                  </a:lnTo>
                  <a:lnTo>
                    <a:pt x="3515" y="580"/>
                  </a:lnTo>
                  <a:lnTo>
                    <a:pt x="3534" y="596"/>
                  </a:lnTo>
                  <a:lnTo>
                    <a:pt x="3561" y="606"/>
                  </a:lnTo>
                  <a:lnTo>
                    <a:pt x="3581" y="631"/>
                  </a:lnTo>
                  <a:lnTo>
                    <a:pt x="3586" y="667"/>
                  </a:lnTo>
                  <a:lnTo>
                    <a:pt x="3586" y="678"/>
                  </a:lnTo>
                  <a:lnTo>
                    <a:pt x="3586" y="678"/>
                  </a:lnTo>
                  <a:lnTo>
                    <a:pt x="3565" y="686"/>
                  </a:lnTo>
                  <a:lnTo>
                    <a:pt x="3545" y="699"/>
                  </a:lnTo>
                  <a:lnTo>
                    <a:pt x="3534" y="672"/>
                  </a:lnTo>
                  <a:lnTo>
                    <a:pt x="3504" y="678"/>
                  </a:lnTo>
                  <a:lnTo>
                    <a:pt x="3515" y="663"/>
                  </a:lnTo>
                  <a:lnTo>
                    <a:pt x="3504" y="658"/>
                  </a:lnTo>
                  <a:lnTo>
                    <a:pt x="3483" y="667"/>
                  </a:lnTo>
                  <a:lnTo>
                    <a:pt x="3469" y="647"/>
                  </a:lnTo>
                  <a:lnTo>
                    <a:pt x="3474" y="626"/>
                  </a:lnTo>
                  <a:close/>
                  <a:moveTo>
                    <a:pt x="3401" y="1334"/>
                  </a:moveTo>
                  <a:lnTo>
                    <a:pt x="3417" y="1323"/>
                  </a:lnTo>
                  <a:lnTo>
                    <a:pt x="3428" y="1345"/>
                  </a:lnTo>
                  <a:lnTo>
                    <a:pt x="3447" y="1364"/>
                  </a:lnTo>
                  <a:lnTo>
                    <a:pt x="3453" y="1394"/>
                  </a:lnTo>
                  <a:lnTo>
                    <a:pt x="3442" y="1400"/>
                  </a:lnTo>
                  <a:lnTo>
                    <a:pt x="3422" y="1394"/>
                  </a:lnTo>
                  <a:lnTo>
                    <a:pt x="3412" y="1369"/>
                  </a:lnTo>
                  <a:lnTo>
                    <a:pt x="3401" y="1364"/>
                  </a:lnTo>
                  <a:lnTo>
                    <a:pt x="3387" y="1400"/>
                  </a:lnTo>
                  <a:lnTo>
                    <a:pt x="3371" y="1400"/>
                  </a:lnTo>
                  <a:lnTo>
                    <a:pt x="3382" y="1380"/>
                  </a:lnTo>
                  <a:lnTo>
                    <a:pt x="3355" y="1375"/>
                  </a:lnTo>
                  <a:lnTo>
                    <a:pt x="3335" y="1385"/>
                  </a:lnTo>
                  <a:lnTo>
                    <a:pt x="3289" y="1394"/>
                  </a:lnTo>
                  <a:lnTo>
                    <a:pt x="3278" y="1385"/>
                  </a:lnTo>
                  <a:lnTo>
                    <a:pt x="3289" y="1369"/>
                  </a:lnTo>
                  <a:lnTo>
                    <a:pt x="3273" y="1359"/>
                  </a:lnTo>
                  <a:lnTo>
                    <a:pt x="3289" y="1339"/>
                  </a:lnTo>
                  <a:lnTo>
                    <a:pt x="3294" y="1277"/>
                  </a:lnTo>
                  <a:lnTo>
                    <a:pt x="3300" y="1257"/>
                  </a:lnTo>
                  <a:lnTo>
                    <a:pt x="3314" y="1241"/>
                  </a:lnTo>
                  <a:lnTo>
                    <a:pt x="3325" y="1241"/>
                  </a:lnTo>
                  <a:lnTo>
                    <a:pt x="3325" y="1252"/>
                  </a:lnTo>
                  <a:lnTo>
                    <a:pt x="3325" y="1252"/>
                  </a:lnTo>
                  <a:lnTo>
                    <a:pt x="3325" y="1266"/>
                  </a:lnTo>
                  <a:lnTo>
                    <a:pt x="3323" y="1280"/>
                  </a:lnTo>
                  <a:lnTo>
                    <a:pt x="3321" y="1293"/>
                  </a:lnTo>
                  <a:lnTo>
                    <a:pt x="3319" y="1307"/>
                  </a:lnTo>
                  <a:lnTo>
                    <a:pt x="3330" y="1293"/>
                  </a:lnTo>
                  <a:lnTo>
                    <a:pt x="3351" y="1298"/>
                  </a:lnTo>
                  <a:lnTo>
                    <a:pt x="3346" y="1313"/>
                  </a:lnTo>
                  <a:lnTo>
                    <a:pt x="3366" y="1318"/>
                  </a:lnTo>
                  <a:lnTo>
                    <a:pt x="3371" y="1307"/>
                  </a:lnTo>
                  <a:lnTo>
                    <a:pt x="3396" y="1313"/>
                  </a:lnTo>
                  <a:lnTo>
                    <a:pt x="3401" y="1334"/>
                  </a:lnTo>
                  <a:close/>
                  <a:moveTo>
                    <a:pt x="2921" y="84"/>
                  </a:moveTo>
                  <a:lnTo>
                    <a:pt x="2921" y="84"/>
                  </a:lnTo>
                  <a:lnTo>
                    <a:pt x="2912" y="84"/>
                  </a:lnTo>
                  <a:lnTo>
                    <a:pt x="2908" y="82"/>
                  </a:lnTo>
                  <a:lnTo>
                    <a:pt x="2905" y="78"/>
                  </a:lnTo>
                  <a:lnTo>
                    <a:pt x="2905" y="78"/>
                  </a:lnTo>
                  <a:lnTo>
                    <a:pt x="2908" y="80"/>
                  </a:lnTo>
                  <a:lnTo>
                    <a:pt x="2912" y="82"/>
                  </a:lnTo>
                  <a:lnTo>
                    <a:pt x="2915" y="84"/>
                  </a:lnTo>
                  <a:lnTo>
                    <a:pt x="2921" y="84"/>
                  </a:lnTo>
                  <a:lnTo>
                    <a:pt x="2921" y="84"/>
                  </a:lnTo>
                  <a:close/>
                  <a:moveTo>
                    <a:pt x="2859" y="68"/>
                  </a:moveTo>
                  <a:lnTo>
                    <a:pt x="2859" y="68"/>
                  </a:lnTo>
                  <a:lnTo>
                    <a:pt x="2848" y="68"/>
                  </a:lnTo>
                  <a:lnTo>
                    <a:pt x="2839" y="66"/>
                  </a:lnTo>
                  <a:lnTo>
                    <a:pt x="2818" y="59"/>
                  </a:lnTo>
                  <a:lnTo>
                    <a:pt x="2818" y="59"/>
                  </a:lnTo>
                  <a:lnTo>
                    <a:pt x="2839" y="64"/>
                  </a:lnTo>
                  <a:lnTo>
                    <a:pt x="2859" y="68"/>
                  </a:lnTo>
                  <a:lnTo>
                    <a:pt x="2859" y="68"/>
                  </a:lnTo>
                  <a:close/>
                  <a:moveTo>
                    <a:pt x="2720" y="416"/>
                  </a:moveTo>
                  <a:lnTo>
                    <a:pt x="2741" y="407"/>
                  </a:lnTo>
                  <a:lnTo>
                    <a:pt x="2766" y="402"/>
                  </a:lnTo>
                  <a:lnTo>
                    <a:pt x="2787" y="407"/>
                  </a:lnTo>
                  <a:lnTo>
                    <a:pt x="2796" y="386"/>
                  </a:lnTo>
                  <a:lnTo>
                    <a:pt x="2823" y="391"/>
                  </a:lnTo>
                  <a:lnTo>
                    <a:pt x="2859" y="391"/>
                  </a:lnTo>
                  <a:lnTo>
                    <a:pt x="2828" y="386"/>
                  </a:lnTo>
                  <a:lnTo>
                    <a:pt x="2812" y="370"/>
                  </a:lnTo>
                  <a:lnTo>
                    <a:pt x="2823" y="350"/>
                  </a:lnTo>
                  <a:lnTo>
                    <a:pt x="2843" y="340"/>
                  </a:lnTo>
                  <a:lnTo>
                    <a:pt x="2839" y="329"/>
                  </a:lnTo>
                  <a:lnTo>
                    <a:pt x="2859" y="320"/>
                  </a:lnTo>
                  <a:lnTo>
                    <a:pt x="2859" y="320"/>
                  </a:lnTo>
                  <a:lnTo>
                    <a:pt x="2869" y="315"/>
                  </a:lnTo>
                  <a:lnTo>
                    <a:pt x="2880" y="309"/>
                  </a:lnTo>
                  <a:lnTo>
                    <a:pt x="2889" y="304"/>
                  </a:lnTo>
                  <a:lnTo>
                    <a:pt x="2899" y="299"/>
                  </a:lnTo>
                  <a:lnTo>
                    <a:pt x="2899" y="299"/>
                  </a:lnTo>
                  <a:lnTo>
                    <a:pt x="2912" y="299"/>
                  </a:lnTo>
                  <a:lnTo>
                    <a:pt x="2924" y="297"/>
                  </a:lnTo>
                  <a:lnTo>
                    <a:pt x="2939" y="295"/>
                  </a:lnTo>
                  <a:lnTo>
                    <a:pt x="2951" y="293"/>
                  </a:lnTo>
                  <a:lnTo>
                    <a:pt x="2956" y="309"/>
                  </a:lnTo>
                  <a:lnTo>
                    <a:pt x="2956" y="309"/>
                  </a:lnTo>
                  <a:lnTo>
                    <a:pt x="2946" y="317"/>
                  </a:lnTo>
                  <a:lnTo>
                    <a:pt x="2939" y="324"/>
                  </a:lnTo>
                  <a:lnTo>
                    <a:pt x="2930" y="333"/>
                  </a:lnTo>
                  <a:lnTo>
                    <a:pt x="2921" y="340"/>
                  </a:lnTo>
                  <a:lnTo>
                    <a:pt x="2930" y="340"/>
                  </a:lnTo>
                  <a:lnTo>
                    <a:pt x="2946" y="324"/>
                  </a:lnTo>
                  <a:lnTo>
                    <a:pt x="2967" y="320"/>
                  </a:lnTo>
                  <a:lnTo>
                    <a:pt x="2962" y="309"/>
                  </a:lnTo>
                  <a:lnTo>
                    <a:pt x="2981" y="309"/>
                  </a:lnTo>
                  <a:lnTo>
                    <a:pt x="2997" y="324"/>
                  </a:lnTo>
                  <a:lnTo>
                    <a:pt x="2997" y="288"/>
                  </a:lnTo>
                  <a:lnTo>
                    <a:pt x="3012" y="279"/>
                  </a:lnTo>
                  <a:lnTo>
                    <a:pt x="3033" y="283"/>
                  </a:lnTo>
                  <a:lnTo>
                    <a:pt x="3049" y="309"/>
                  </a:lnTo>
                  <a:lnTo>
                    <a:pt x="3052" y="315"/>
                  </a:lnTo>
                  <a:lnTo>
                    <a:pt x="3049" y="329"/>
                  </a:lnTo>
                  <a:lnTo>
                    <a:pt x="3058" y="320"/>
                  </a:lnTo>
                  <a:lnTo>
                    <a:pt x="3058" y="320"/>
                  </a:lnTo>
                  <a:lnTo>
                    <a:pt x="3079" y="334"/>
                  </a:lnTo>
                  <a:lnTo>
                    <a:pt x="3099" y="350"/>
                  </a:lnTo>
                  <a:lnTo>
                    <a:pt x="3136" y="370"/>
                  </a:lnTo>
                  <a:lnTo>
                    <a:pt x="3161" y="375"/>
                  </a:lnTo>
                  <a:lnTo>
                    <a:pt x="3156" y="386"/>
                  </a:lnTo>
                  <a:lnTo>
                    <a:pt x="3161" y="402"/>
                  </a:lnTo>
                  <a:lnTo>
                    <a:pt x="3186" y="402"/>
                  </a:lnTo>
                  <a:lnTo>
                    <a:pt x="3213" y="416"/>
                  </a:lnTo>
                  <a:lnTo>
                    <a:pt x="3213" y="421"/>
                  </a:lnTo>
                  <a:lnTo>
                    <a:pt x="3248" y="432"/>
                  </a:lnTo>
                  <a:lnTo>
                    <a:pt x="3237" y="448"/>
                  </a:lnTo>
                  <a:lnTo>
                    <a:pt x="3259" y="448"/>
                  </a:lnTo>
                  <a:lnTo>
                    <a:pt x="3268" y="457"/>
                  </a:lnTo>
                  <a:lnTo>
                    <a:pt x="3264" y="468"/>
                  </a:lnTo>
                  <a:lnTo>
                    <a:pt x="3253" y="478"/>
                  </a:lnTo>
                  <a:lnTo>
                    <a:pt x="3278" y="489"/>
                  </a:lnTo>
                  <a:lnTo>
                    <a:pt x="3294" y="498"/>
                  </a:lnTo>
                  <a:lnTo>
                    <a:pt x="3268" y="498"/>
                  </a:lnTo>
                  <a:lnTo>
                    <a:pt x="3278" y="509"/>
                  </a:lnTo>
                  <a:lnTo>
                    <a:pt x="3300" y="509"/>
                  </a:lnTo>
                  <a:lnTo>
                    <a:pt x="3325" y="514"/>
                  </a:lnTo>
                  <a:lnTo>
                    <a:pt x="3351" y="530"/>
                  </a:lnTo>
                  <a:lnTo>
                    <a:pt x="3346" y="544"/>
                  </a:lnTo>
                  <a:lnTo>
                    <a:pt x="3346" y="544"/>
                  </a:lnTo>
                  <a:lnTo>
                    <a:pt x="3325" y="537"/>
                  </a:lnTo>
                  <a:lnTo>
                    <a:pt x="3316" y="535"/>
                  </a:lnTo>
                  <a:lnTo>
                    <a:pt x="3305" y="535"/>
                  </a:lnTo>
                  <a:lnTo>
                    <a:pt x="3325" y="550"/>
                  </a:lnTo>
                  <a:lnTo>
                    <a:pt x="3335" y="571"/>
                  </a:lnTo>
                  <a:lnTo>
                    <a:pt x="3335" y="571"/>
                  </a:lnTo>
                  <a:lnTo>
                    <a:pt x="3351" y="560"/>
                  </a:lnTo>
                  <a:lnTo>
                    <a:pt x="3366" y="550"/>
                  </a:lnTo>
                  <a:lnTo>
                    <a:pt x="3376" y="580"/>
                  </a:lnTo>
                  <a:lnTo>
                    <a:pt x="3376" y="612"/>
                  </a:lnTo>
                  <a:lnTo>
                    <a:pt x="3355" y="631"/>
                  </a:lnTo>
                  <a:lnTo>
                    <a:pt x="3346" y="637"/>
                  </a:lnTo>
                  <a:lnTo>
                    <a:pt x="3346" y="653"/>
                  </a:lnTo>
                  <a:lnTo>
                    <a:pt x="3360" y="683"/>
                  </a:lnTo>
                  <a:lnTo>
                    <a:pt x="3355" y="708"/>
                  </a:lnTo>
                  <a:lnTo>
                    <a:pt x="3346" y="718"/>
                  </a:lnTo>
                  <a:lnTo>
                    <a:pt x="3335" y="735"/>
                  </a:lnTo>
                  <a:lnTo>
                    <a:pt x="3314" y="754"/>
                  </a:lnTo>
                  <a:lnTo>
                    <a:pt x="3319" y="775"/>
                  </a:lnTo>
                  <a:lnTo>
                    <a:pt x="3341" y="795"/>
                  </a:lnTo>
                  <a:lnTo>
                    <a:pt x="3351" y="816"/>
                  </a:lnTo>
                  <a:lnTo>
                    <a:pt x="3346" y="847"/>
                  </a:lnTo>
                  <a:lnTo>
                    <a:pt x="3366" y="868"/>
                  </a:lnTo>
                  <a:lnTo>
                    <a:pt x="3366" y="868"/>
                  </a:lnTo>
                  <a:lnTo>
                    <a:pt x="3380" y="896"/>
                  </a:lnTo>
                  <a:lnTo>
                    <a:pt x="3387" y="909"/>
                  </a:lnTo>
                  <a:lnTo>
                    <a:pt x="3392" y="923"/>
                  </a:lnTo>
                  <a:lnTo>
                    <a:pt x="3376" y="923"/>
                  </a:lnTo>
                  <a:lnTo>
                    <a:pt x="3335" y="903"/>
                  </a:lnTo>
                  <a:lnTo>
                    <a:pt x="3305" y="914"/>
                  </a:lnTo>
                  <a:lnTo>
                    <a:pt x="3278" y="903"/>
                  </a:lnTo>
                  <a:lnTo>
                    <a:pt x="3248" y="882"/>
                  </a:lnTo>
                  <a:lnTo>
                    <a:pt x="3191" y="857"/>
                  </a:lnTo>
                  <a:lnTo>
                    <a:pt x="3172" y="836"/>
                  </a:lnTo>
                  <a:lnTo>
                    <a:pt x="3150" y="816"/>
                  </a:lnTo>
                  <a:lnTo>
                    <a:pt x="3109" y="795"/>
                  </a:lnTo>
                  <a:lnTo>
                    <a:pt x="3095" y="770"/>
                  </a:lnTo>
                  <a:lnTo>
                    <a:pt x="3074" y="765"/>
                  </a:lnTo>
                  <a:lnTo>
                    <a:pt x="3063" y="729"/>
                  </a:lnTo>
                  <a:lnTo>
                    <a:pt x="3079" y="713"/>
                  </a:lnTo>
                  <a:lnTo>
                    <a:pt x="3074" y="699"/>
                  </a:lnTo>
                  <a:lnTo>
                    <a:pt x="3058" y="678"/>
                  </a:lnTo>
                  <a:lnTo>
                    <a:pt x="3058" y="699"/>
                  </a:lnTo>
                  <a:lnTo>
                    <a:pt x="3052" y="704"/>
                  </a:lnTo>
                  <a:lnTo>
                    <a:pt x="3044" y="708"/>
                  </a:lnTo>
                  <a:lnTo>
                    <a:pt x="3022" y="699"/>
                  </a:lnTo>
                  <a:lnTo>
                    <a:pt x="3008" y="678"/>
                  </a:lnTo>
                  <a:lnTo>
                    <a:pt x="3008" y="667"/>
                  </a:lnTo>
                  <a:lnTo>
                    <a:pt x="3022" y="663"/>
                  </a:lnTo>
                  <a:lnTo>
                    <a:pt x="3052" y="663"/>
                  </a:lnTo>
                  <a:lnTo>
                    <a:pt x="3052" y="663"/>
                  </a:lnTo>
                  <a:lnTo>
                    <a:pt x="3026" y="654"/>
                  </a:lnTo>
                  <a:lnTo>
                    <a:pt x="2997" y="642"/>
                  </a:lnTo>
                  <a:lnTo>
                    <a:pt x="2987" y="647"/>
                  </a:lnTo>
                  <a:lnTo>
                    <a:pt x="2971" y="642"/>
                  </a:lnTo>
                  <a:lnTo>
                    <a:pt x="2967" y="617"/>
                  </a:lnTo>
                  <a:lnTo>
                    <a:pt x="2951" y="606"/>
                  </a:lnTo>
                  <a:lnTo>
                    <a:pt x="2951" y="606"/>
                  </a:lnTo>
                  <a:lnTo>
                    <a:pt x="2935" y="596"/>
                  </a:lnTo>
                  <a:lnTo>
                    <a:pt x="2921" y="587"/>
                  </a:lnTo>
                  <a:lnTo>
                    <a:pt x="2889" y="571"/>
                  </a:lnTo>
                  <a:lnTo>
                    <a:pt x="2869" y="566"/>
                  </a:lnTo>
                  <a:lnTo>
                    <a:pt x="2859" y="560"/>
                  </a:lnTo>
                  <a:lnTo>
                    <a:pt x="2812" y="550"/>
                  </a:lnTo>
                  <a:lnTo>
                    <a:pt x="2787" y="555"/>
                  </a:lnTo>
                  <a:lnTo>
                    <a:pt x="2787" y="555"/>
                  </a:lnTo>
                  <a:lnTo>
                    <a:pt x="2755" y="562"/>
                  </a:lnTo>
                  <a:lnTo>
                    <a:pt x="2739" y="564"/>
                  </a:lnTo>
                  <a:lnTo>
                    <a:pt x="2720" y="566"/>
                  </a:lnTo>
                  <a:lnTo>
                    <a:pt x="2700" y="560"/>
                  </a:lnTo>
                  <a:lnTo>
                    <a:pt x="2668" y="544"/>
                  </a:lnTo>
                  <a:lnTo>
                    <a:pt x="2695" y="535"/>
                  </a:lnTo>
                  <a:lnTo>
                    <a:pt x="2714" y="530"/>
                  </a:lnTo>
                  <a:lnTo>
                    <a:pt x="2665" y="530"/>
                  </a:lnTo>
                  <a:lnTo>
                    <a:pt x="2633" y="519"/>
                  </a:lnTo>
                  <a:lnTo>
                    <a:pt x="2627" y="514"/>
                  </a:lnTo>
                  <a:lnTo>
                    <a:pt x="2627" y="514"/>
                  </a:lnTo>
                  <a:lnTo>
                    <a:pt x="2665" y="498"/>
                  </a:lnTo>
                  <a:lnTo>
                    <a:pt x="2700" y="484"/>
                  </a:lnTo>
                  <a:lnTo>
                    <a:pt x="2700" y="473"/>
                  </a:lnTo>
                  <a:lnTo>
                    <a:pt x="2665" y="468"/>
                  </a:lnTo>
                  <a:lnTo>
                    <a:pt x="2674" y="457"/>
                  </a:lnTo>
                  <a:lnTo>
                    <a:pt x="2695" y="438"/>
                  </a:lnTo>
                  <a:lnTo>
                    <a:pt x="2711" y="432"/>
                  </a:lnTo>
                  <a:lnTo>
                    <a:pt x="2700" y="427"/>
                  </a:lnTo>
                  <a:lnTo>
                    <a:pt x="2720" y="416"/>
                  </a:lnTo>
                  <a:close/>
                  <a:moveTo>
                    <a:pt x="2889" y="863"/>
                  </a:moveTo>
                  <a:lnTo>
                    <a:pt x="2921" y="873"/>
                  </a:lnTo>
                  <a:lnTo>
                    <a:pt x="2930" y="877"/>
                  </a:lnTo>
                  <a:lnTo>
                    <a:pt x="2956" y="903"/>
                  </a:lnTo>
                  <a:lnTo>
                    <a:pt x="2962" y="923"/>
                  </a:lnTo>
                  <a:lnTo>
                    <a:pt x="2930" y="923"/>
                  </a:lnTo>
                  <a:lnTo>
                    <a:pt x="2869" y="903"/>
                  </a:lnTo>
                  <a:lnTo>
                    <a:pt x="2869" y="903"/>
                  </a:lnTo>
                  <a:lnTo>
                    <a:pt x="2885" y="914"/>
                  </a:lnTo>
                  <a:lnTo>
                    <a:pt x="2903" y="923"/>
                  </a:lnTo>
                  <a:lnTo>
                    <a:pt x="2935" y="939"/>
                  </a:lnTo>
                  <a:lnTo>
                    <a:pt x="2946" y="950"/>
                  </a:lnTo>
                  <a:lnTo>
                    <a:pt x="2883" y="944"/>
                  </a:lnTo>
                  <a:lnTo>
                    <a:pt x="2834" y="928"/>
                  </a:lnTo>
                  <a:lnTo>
                    <a:pt x="2807" y="923"/>
                  </a:lnTo>
                  <a:lnTo>
                    <a:pt x="2812" y="914"/>
                  </a:lnTo>
                  <a:lnTo>
                    <a:pt x="2812" y="914"/>
                  </a:lnTo>
                  <a:lnTo>
                    <a:pt x="2796" y="905"/>
                  </a:lnTo>
                  <a:lnTo>
                    <a:pt x="2778" y="900"/>
                  </a:lnTo>
                  <a:lnTo>
                    <a:pt x="2762" y="895"/>
                  </a:lnTo>
                  <a:lnTo>
                    <a:pt x="2746" y="893"/>
                  </a:lnTo>
                  <a:lnTo>
                    <a:pt x="2752" y="903"/>
                  </a:lnTo>
                  <a:lnTo>
                    <a:pt x="2690" y="914"/>
                  </a:lnTo>
                  <a:lnTo>
                    <a:pt x="2668" y="903"/>
                  </a:lnTo>
                  <a:lnTo>
                    <a:pt x="2679" y="882"/>
                  </a:lnTo>
                  <a:lnTo>
                    <a:pt x="2714" y="873"/>
                  </a:lnTo>
                  <a:lnTo>
                    <a:pt x="2755" y="868"/>
                  </a:lnTo>
                  <a:lnTo>
                    <a:pt x="2746" y="857"/>
                  </a:lnTo>
                  <a:lnTo>
                    <a:pt x="2746" y="841"/>
                  </a:lnTo>
                  <a:lnTo>
                    <a:pt x="2761" y="811"/>
                  </a:lnTo>
                  <a:lnTo>
                    <a:pt x="2752" y="795"/>
                  </a:lnTo>
                  <a:lnTo>
                    <a:pt x="2736" y="781"/>
                  </a:lnTo>
                  <a:lnTo>
                    <a:pt x="2706" y="770"/>
                  </a:lnTo>
                  <a:lnTo>
                    <a:pt x="2665" y="765"/>
                  </a:lnTo>
                  <a:lnTo>
                    <a:pt x="2674" y="754"/>
                  </a:lnTo>
                  <a:lnTo>
                    <a:pt x="2654" y="735"/>
                  </a:lnTo>
                  <a:lnTo>
                    <a:pt x="2633" y="735"/>
                  </a:lnTo>
                  <a:lnTo>
                    <a:pt x="2613" y="724"/>
                  </a:lnTo>
                  <a:lnTo>
                    <a:pt x="2602" y="735"/>
                  </a:lnTo>
                  <a:lnTo>
                    <a:pt x="2572" y="740"/>
                  </a:lnTo>
                  <a:lnTo>
                    <a:pt x="2505" y="735"/>
                  </a:lnTo>
                  <a:lnTo>
                    <a:pt x="2505" y="735"/>
                  </a:lnTo>
                  <a:lnTo>
                    <a:pt x="2439" y="718"/>
                  </a:lnTo>
                  <a:lnTo>
                    <a:pt x="2423" y="708"/>
                  </a:lnTo>
                  <a:lnTo>
                    <a:pt x="2444" y="694"/>
                  </a:lnTo>
                  <a:lnTo>
                    <a:pt x="2417" y="694"/>
                  </a:lnTo>
                  <a:lnTo>
                    <a:pt x="2409" y="672"/>
                  </a:lnTo>
                  <a:lnTo>
                    <a:pt x="2423" y="653"/>
                  </a:lnTo>
                  <a:lnTo>
                    <a:pt x="2444" y="642"/>
                  </a:lnTo>
                  <a:lnTo>
                    <a:pt x="2485" y="637"/>
                  </a:lnTo>
                  <a:lnTo>
                    <a:pt x="2474" y="658"/>
                  </a:lnTo>
                  <a:lnTo>
                    <a:pt x="2490" y="678"/>
                  </a:lnTo>
                  <a:lnTo>
                    <a:pt x="2505" y="658"/>
                  </a:lnTo>
                  <a:lnTo>
                    <a:pt x="2545" y="647"/>
                  </a:lnTo>
                  <a:lnTo>
                    <a:pt x="2577" y="672"/>
                  </a:lnTo>
                  <a:lnTo>
                    <a:pt x="2577" y="694"/>
                  </a:lnTo>
                  <a:lnTo>
                    <a:pt x="2608" y="683"/>
                  </a:lnTo>
                  <a:lnTo>
                    <a:pt x="2624" y="672"/>
                  </a:lnTo>
                  <a:lnTo>
                    <a:pt x="2665" y="688"/>
                  </a:lnTo>
                  <a:lnTo>
                    <a:pt x="2690" y="699"/>
                  </a:lnTo>
                  <a:lnTo>
                    <a:pt x="2695" y="713"/>
                  </a:lnTo>
                  <a:lnTo>
                    <a:pt x="2720" y="704"/>
                  </a:lnTo>
                  <a:lnTo>
                    <a:pt x="2741" y="718"/>
                  </a:lnTo>
                  <a:lnTo>
                    <a:pt x="2787" y="724"/>
                  </a:lnTo>
                  <a:lnTo>
                    <a:pt x="2807" y="735"/>
                  </a:lnTo>
                  <a:lnTo>
                    <a:pt x="2834" y="754"/>
                  </a:lnTo>
                  <a:lnTo>
                    <a:pt x="2812" y="775"/>
                  </a:lnTo>
                  <a:lnTo>
                    <a:pt x="2864" y="791"/>
                  </a:lnTo>
                  <a:lnTo>
                    <a:pt x="2894" y="795"/>
                  </a:lnTo>
                  <a:lnTo>
                    <a:pt x="2930" y="816"/>
                  </a:lnTo>
                  <a:lnTo>
                    <a:pt x="2956" y="811"/>
                  </a:lnTo>
                  <a:lnTo>
                    <a:pt x="2962" y="832"/>
                  </a:lnTo>
                  <a:lnTo>
                    <a:pt x="2946" y="863"/>
                  </a:lnTo>
                  <a:lnTo>
                    <a:pt x="2921" y="852"/>
                  </a:lnTo>
                  <a:lnTo>
                    <a:pt x="2883" y="822"/>
                  </a:lnTo>
                  <a:lnTo>
                    <a:pt x="2864" y="827"/>
                  </a:lnTo>
                  <a:lnTo>
                    <a:pt x="2864" y="847"/>
                  </a:lnTo>
                  <a:lnTo>
                    <a:pt x="2889" y="863"/>
                  </a:lnTo>
                  <a:close/>
                  <a:moveTo>
                    <a:pt x="2638" y="923"/>
                  </a:moveTo>
                  <a:lnTo>
                    <a:pt x="2618" y="934"/>
                  </a:lnTo>
                  <a:lnTo>
                    <a:pt x="2583" y="923"/>
                  </a:lnTo>
                  <a:lnTo>
                    <a:pt x="2567" y="909"/>
                  </a:lnTo>
                  <a:lnTo>
                    <a:pt x="2545" y="928"/>
                  </a:lnTo>
                  <a:lnTo>
                    <a:pt x="2515" y="944"/>
                  </a:lnTo>
                  <a:lnTo>
                    <a:pt x="2510" y="923"/>
                  </a:lnTo>
                  <a:lnTo>
                    <a:pt x="2480" y="928"/>
                  </a:lnTo>
                  <a:lnTo>
                    <a:pt x="2499" y="914"/>
                  </a:lnTo>
                  <a:lnTo>
                    <a:pt x="2499" y="893"/>
                  </a:lnTo>
                  <a:lnTo>
                    <a:pt x="2505" y="868"/>
                  </a:lnTo>
                  <a:lnTo>
                    <a:pt x="2521" y="873"/>
                  </a:lnTo>
                  <a:lnTo>
                    <a:pt x="2526" y="887"/>
                  </a:lnTo>
                  <a:lnTo>
                    <a:pt x="2537" y="882"/>
                  </a:lnTo>
                  <a:lnTo>
                    <a:pt x="2551" y="893"/>
                  </a:lnTo>
                  <a:lnTo>
                    <a:pt x="2551" y="893"/>
                  </a:lnTo>
                  <a:lnTo>
                    <a:pt x="2565" y="898"/>
                  </a:lnTo>
                  <a:lnTo>
                    <a:pt x="2577" y="903"/>
                  </a:lnTo>
                  <a:lnTo>
                    <a:pt x="2588" y="909"/>
                  </a:lnTo>
                  <a:lnTo>
                    <a:pt x="2602" y="914"/>
                  </a:lnTo>
                  <a:lnTo>
                    <a:pt x="2608" y="928"/>
                  </a:lnTo>
                  <a:lnTo>
                    <a:pt x="2624" y="923"/>
                  </a:lnTo>
                  <a:lnTo>
                    <a:pt x="2638" y="923"/>
                  </a:lnTo>
                  <a:close/>
                  <a:moveTo>
                    <a:pt x="2336" y="462"/>
                  </a:moveTo>
                  <a:lnTo>
                    <a:pt x="2346" y="457"/>
                  </a:lnTo>
                  <a:lnTo>
                    <a:pt x="2362" y="457"/>
                  </a:lnTo>
                  <a:lnTo>
                    <a:pt x="2352" y="448"/>
                  </a:lnTo>
                  <a:lnTo>
                    <a:pt x="2376" y="448"/>
                  </a:lnTo>
                  <a:lnTo>
                    <a:pt x="2392" y="462"/>
                  </a:lnTo>
                  <a:lnTo>
                    <a:pt x="2392" y="462"/>
                  </a:lnTo>
                  <a:lnTo>
                    <a:pt x="2412" y="470"/>
                  </a:lnTo>
                  <a:lnTo>
                    <a:pt x="2423" y="471"/>
                  </a:lnTo>
                  <a:lnTo>
                    <a:pt x="2433" y="473"/>
                  </a:lnTo>
                  <a:lnTo>
                    <a:pt x="2444" y="489"/>
                  </a:lnTo>
                  <a:lnTo>
                    <a:pt x="2449" y="489"/>
                  </a:lnTo>
                  <a:lnTo>
                    <a:pt x="2444" y="478"/>
                  </a:lnTo>
                  <a:lnTo>
                    <a:pt x="2474" y="478"/>
                  </a:lnTo>
                  <a:lnTo>
                    <a:pt x="2485" y="484"/>
                  </a:lnTo>
                  <a:lnTo>
                    <a:pt x="2505" y="473"/>
                  </a:lnTo>
                  <a:lnTo>
                    <a:pt x="2439" y="473"/>
                  </a:lnTo>
                  <a:lnTo>
                    <a:pt x="2417" y="462"/>
                  </a:lnTo>
                  <a:lnTo>
                    <a:pt x="2409" y="452"/>
                  </a:lnTo>
                  <a:lnTo>
                    <a:pt x="2392" y="443"/>
                  </a:lnTo>
                  <a:lnTo>
                    <a:pt x="2387" y="432"/>
                  </a:lnTo>
                  <a:lnTo>
                    <a:pt x="2409" y="438"/>
                  </a:lnTo>
                  <a:lnTo>
                    <a:pt x="2423" y="438"/>
                  </a:lnTo>
                  <a:lnTo>
                    <a:pt x="2444" y="432"/>
                  </a:lnTo>
                  <a:lnTo>
                    <a:pt x="2458" y="421"/>
                  </a:lnTo>
                  <a:lnTo>
                    <a:pt x="2474" y="421"/>
                  </a:lnTo>
                  <a:lnTo>
                    <a:pt x="2490" y="427"/>
                  </a:lnTo>
                  <a:lnTo>
                    <a:pt x="2496" y="416"/>
                  </a:lnTo>
                  <a:lnTo>
                    <a:pt x="2510" y="411"/>
                  </a:lnTo>
                  <a:lnTo>
                    <a:pt x="2531" y="407"/>
                  </a:lnTo>
                  <a:lnTo>
                    <a:pt x="2556" y="402"/>
                  </a:lnTo>
                  <a:lnTo>
                    <a:pt x="2586" y="402"/>
                  </a:lnTo>
                  <a:lnTo>
                    <a:pt x="2586" y="402"/>
                  </a:lnTo>
                  <a:lnTo>
                    <a:pt x="2608" y="400"/>
                  </a:lnTo>
                  <a:lnTo>
                    <a:pt x="2631" y="398"/>
                  </a:lnTo>
                  <a:lnTo>
                    <a:pt x="2654" y="397"/>
                  </a:lnTo>
                  <a:lnTo>
                    <a:pt x="2674" y="397"/>
                  </a:lnTo>
                  <a:lnTo>
                    <a:pt x="2695" y="402"/>
                  </a:lnTo>
                  <a:lnTo>
                    <a:pt x="2700" y="407"/>
                  </a:lnTo>
                  <a:lnTo>
                    <a:pt x="2684" y="421"/>
                  </a:lnTo>
                  <a:lnTo>
                    <a:pt x="2665" y="432"/>
                  </a:lnTo>
                  <a:lnTo>
                    <a:pt x="2659" y="438"/>
                  </a:lnTo>
                  <a:lnTo>
                    <a:pt x="2674" y="438"/>
                  </a:lnTo>
                  <a:lnTo>
                    <a:pt x="2659" y="457"/>
                  </a:lnTo>
                  <a:lnTo>
                    <a:pt x="2649" y="462"/>
                  </a:lnTo>
                  <a:lnTo>
                    <a:pt x="2638" y="484"/>
                  </a:lnTo>
                  <a:lnTo>
                    <a:pt x="2613" y="489"/>
                  </a:lnTo>
                  <a:lnTo>
                    <a:pt x="2608" y="493"/>
                  </a:lnTo>
                  <a:lnTo>
                    <a:pt x="2572" y="498"/>
                  </a:lnTo>
                  <a:lnTo>
                    <a:pt x="2592" y="498"/>
                  </a:lnTo>
                  <a:lnTo>
                    <a:pt x="2586" y="503"/>
                  </a:lnTo>
                  <a:lnTo>
                    <a:pt x="2602" y="514"/>
                  </a:lnTo>
                  <a:lnTo>
                    <a:pt x="2592" y="525"/>
                  </a:lnTo>
                  <a:lnTo>
                    <a:pt x="2572" y="535"/>
                  </a:lnTo>
                  <a:lnTo>
                    <a:pt x="2567" y="544"/>
                  </a:lnTo>
                  <a:lnTo>
                    <a:pt x="2545" y="555"/>
                  </a:lnTo>
                  <a:lnTo>
                    <a:pt x="2551" y="560"/>
                  </a:lnTo>
                  <a:lnTo>
                    <a:pt x="2572" y="560"/>
                  </a:lnTo>
                  <a:lnTo>
                    <a:pt x="2572" y="566"/>
                  </a:lnTo>
                  <a:lnTo>
                    <a:pt x="2540" y="585"/>
                  </a:lnTo>
                  <a:lnTo>
                    <a:pt x="2545" y="585"/>
                  </a:lnTo>
                  <a:lnTo>
                    <a:pt x="2567" y="596"/>
                  </a:lnTo>
                  <a:lnTo>
                    <a:pt x="2572" y="606"/>
                  </a:lnTo>
                  <a:lnTo>
                    <a:pt x="2561" y="612"/>
                  </a:lnTo>
                  <a:lnTo>
                    <a:pt x="2540" y="617"/>
                  </a:lnTo>
                  <a:lnTo>
                    <a:pt x="2521" y="612"/>
                  </a:lnTo>
                  <a:lnTo>
                    <a:pt x="2469" y="617"/>
                  </a:lnTo>
                  <a:lnTo>
                    <a:pt x="2439" y="617"/>
                  </a:lnTo>
                  <a:lnTo>
                    <a:pt x="2412" y="612"/>
                  </a:lnTo>
                  <a:lnTo>
                    <a:pt x="2376" y="606"/>
                  </a:lnTo>
                  <a:lnTo>
                    <a:pt x="2371" y="590"/>
                  </a:lnTo>
                  <a:lnTo>
                    <a:pt x="2371" y="576"/>
                  </a:lnTo>
                  <a:lnTo>
                    <a:pt x="2352" y="566"/>
                  </a:lnTo>
                  <a:lnTo>
                    <a:pt x="2321" y="566"/>
                  </a:lnTo>
                  <a:lnTo>
                    <a:pt x="2305" y="555"/>
                  </a:lnTo>
                  <a:lnTo>
                    <a:pt x="2316" y="544"/>
                  </a:lnTo>
                  <a:lnTo>
                    <a:pt x="2341" y="550"/>
                  </a:lnTo>
                  <a:lnTo>
                    <a:pt x="2357" y="560"/>
                  </a:lnTo>
                  <a:lnTo>
                    <a:pt x="2382" y="560"/>
                  </a:lnTo>
                  <a:lnTo>
                    <a:pt x="2398" y="571"/>
                  </a:lnTo>
                  <a:lnTo>
                    <a:pt x="2398" y="580"/>
                  </a:lnTo>
                  <a:lnTo>
                    <a:pt x="2417" y="585"/>
                  </a:lnTo>
                  <a:lnTo>
                    <a:pt x="2428" y="590"/>
                  </a:lnTo>
                  <a:lnTo>
                    <a:pt x="2428" y="590"/>
                  </a:lnTo>
                  <a:lnTo>
                    <a:pt x="2439" y="592"/>
                  </a:lnTo>
                  <a:lnTo>
                    <a:pt x="2449" y="594"/>
                  </a:lnTo>
                  <a:lnTo>
                    <a:pt x="2460" y="596"/>
                  </a:lnTo>
                  <a:lnTo>
                    <a:pt x="2474" y="596"/>
                  </a:lnTo>
                  <a:lnTo>
                    <a:pt x="2496" y="590"/>
                  </a:lnTo>
                  <a:lnTo>
                    <a:pt x="2526" y="585"/>
                  </a:lnTo>
                  <a:lnTo>
                    <a:pt x="2540" y="585"/>
                  </a:lnTo>
                  <a:lnTo>
                    <a:pt x="2499" y="580"/>
                  </a:lnTo>
                  <a:lnTo>
                    <a:pt x="2458" y="585"/>
                  </a:lnTo>
                  <a:lnTo>
                    <a:pt x="2439" y="580"/>
                  </a:lnTo>
                  <a:lnTo>
                    <a:pt x="2412" y="580"/>
                  </a:lnTo>
                  <a:lnTo>
                    <a:pt x="2412" y="566"/>
                  </a:lnTo>
                  <a:lnTo>
                    <a:pt x="2439" y="560"/>
                  </a:lnTo>
                  <a:lnTo>
                    <a:pt x="2428" y="539"/>
                  </a:lnTo>
                  <a:lnTo>
                    <a:pt x="2439" y="539"/>
                  </a:lnTo>
                  <a:lnTo>
                    <a:pt x="2474" y="550"/>
                  </a:lnTo>
                  <a:lnTo>
                    <a:pt x="2455" y="535"/>
                  </a:lnTo>
                  <a:lnTo>
                    <a:pt x="2433" y="530"/>
                  </a:lnTo>
                  <a:lnTo>
                    <a:pt x="2444" y="519"/>
                  </a:lnTo>
                  <a:lnTo>
                    <a:pt x="2464" y="514"/>
                  </a:lnTo>
                  <a:lnTo>
                    <a:pt x="2469" y="503"/>
                  </a:lnTo>
                  <a:lnTo>
                    <a:pt x="2464" y="498"/>
                  </a:lnTo>
                  <a:lnTo>
                    <a:pt x="2444" y="509"/>
                  </a:lnTo>
                  <a:lnTo>
                    <a:pt x="2423" y="530"/>
                  </a:lnTo>
                  <a:lnTo>
                    <a:pt x="2403" y="530"/>
                  </a:lnTo>
                  <a:lnTo>
                    <a:pt x="2376" y="525"/>
                  </a:lnTo>
                  <a:lnTo>
                    <a:pt x="2357" y="509"/>
                  </a:lnTo>
                  <a:lnTo>
                    <a:pt x="2357" y="498"/>
                  </a:lnTo>
                  <a:lnTo>
                    <a:pt x="2368" y="493"/>
                  </a:lnTo>
                  <a:lnTo>
                    <a:pt x="2346" y="493"/>
                  </a:lnTo>
                  <a:lnTo>
                    <a:pt x="2330" y="484"/>
                  </a:lnTo>
                  <a:lnTo>
                    <a:pt x="2327" y="473"/>
                  </a:lnTo>
                  <a:lnTo>
                    <a:pt x="2336" y="462"/>
                  </a:lnTo>
                  <a:close/>
                  <a:moveTo>
                    <a:pt x="2403" y="631"/>
                  </a:moveTo>
                  <a:lnTo>
                    <a:pt x="2376" y="653"/>
                  </a:lnTo>
                  <a:lnTo>
                    <a:pt x="2357" y="658"/>
                  </a:lnTo>
                  <a:lnTo>
                    <a:pt x="2336" y="678"/>
                  </a:lnTo>
                  <a:lnTo>
                    <a:pt x="2316" y="678"/>
                  </a:lnTo>
                  <a:lnTo>
                    <a:pt x="2305" y="658"/>
                  </a:lnTo>
                  <a:lnTo>
                    <a:pt x="2305" y="642"/>
                  </a:lnTo>
                  <a:lnTo>
                    <a:pt x="2316" y="631"/>
                  </a:lnTo>
                  <a:lnTo>
                    <a:pt x="2336" y="626"/>
                  </a:lnTo>
                  <a:lnTo>
                    <a:pt x="2368" y="631"/>
                  </a:lnTo>
                  <a:lnTo>
                    <a:pt x="2403" y="631"/>
                  </a:lnTo>
                  <a:close/>
                  <a:moveTo>
                    <a:pt x="2295" y="503"/>
                  </a:moveTo>
                  <a:lnTo>
                    <a:pt x="2327" y="503"/>
                  </a:lnTo>
                  <a:lnTo>
                    <a:pt x="2341" y="514"/>
                  </a:lnTo>
                  <a:lnTo>
                    <a:pt x="2336" y="525"/>
                  </a:lnTo>
                  <a:lnTo>
                    <a:pt x="2316" y="530"/>
                  </a:lnTo>
                  <a:lnTo>
                    <a:pt x="2305" y="525"/>
                  </a:lnTo>
                  <a:lnTo>
                    <a:pt x="2295" y="514"/>
                  </a:lnTo>
                  <a:lnTo>
                    <a:pt x="2295" y="503"/>
                  </a:lnTo>
                  <a:close/>
                  <a:moveTo>
                    <a:pt x="2295" y="571"/>
                  </a:moveTo>
                  <a:lnTo>
                    <a:pt x="2295" y="585"/>
                  </a:lnTo>
                  <a:lnTo>
                    <a:pt x="2284" y="606"/>
                  </a:lnTo>
                  <a:lnTo>
                    <a:pt x="2259" y="606"/>
                  </a:lnTo>
                  <a:lnTo>
                    <a:pt x="2243" y="601"/>
                  </a:lnTo>
                  <a:lnTo>
                    <a:pt x="2248" y="585"/>
                  </a:lnTo>
                  <a:lnTo>
                    <a:pt x="2229" y="585"/>
                  </a:lnTo>
                  <a:lnTo>
                    <a:pt x="2234" y="566"/>
                  </a:lnTo>
                  <a:lnTo>
                    <a:pt x="2248" y="566"/>
                  </a:lnTo>
                  <a:lnTo>
                    <a:pt x="2270" y="560"/>
                  </a:lnTo>
                  <a:lnTo>
                    <a:pt x="2284" y="555"/>
                  </a:lnTo>
                  <a:lnTo>
                    <a:pt x="2295" y="571"/>
                  </a:lnTo>
                  <a:close/>
                  <a:moveTo>
                    <a:pt x="2213" y="478"/>
                  </a:moveTo>
                  <a:lnTo>
                    <a:pt x="2234" y="484"/>
                  </a:lnTo>
                  <a:lnTo>
                    <a:pt x="2264" y="498"/>
                  </a:lnTo>
                  <a:lnTo>
                    <a:pt x="2275" y="514"/>
                  </a:lnTo>
                  <a:lnTo>
                    <a:pt x="2280" y="525"/>
                  </a:lnTo>
                  <a:lnTo>
                    <a:pt x="2259" y="519"/>
                  </a:lnTo>
                  <a:lnTo>
                    <a:pt x="2240" y="509"/>
                  </a:lnTo>
                  <a:lnTo>
                    <a:pt x="2213" y="503"/>
                  </a:lnTo>
                  <a:lnTo>
                    <a:pt x="2229" y="498"/>
                  </a:lnTo>
                  <a:lnTo>
                    <a:pt x="2208" y="489"/>
                  </a:lnTo>
                  <a:lnTo>
                    <a:pt x="2213" y="478"/>
                  </a:lnTo>
                  <a:close/>
                  <a:moveTo>
                    <a:pt x="2188" y="647"/>
                  </a:moveTo>
                  <a:lnTo>
                    <a:pt x="2199" y="647"/>
                  </a:lnTo>
                  <a:lnTo>
                    <a:pt x="2229" y="653"/>
                  </a:lnTo>
                  <a:lnTo>
                    <a:pt x="2213" y="631"/>
                  </a:lnTo>
                  <a:lnTo>
                    <a:pt x="2234" y="621"/>
                  </a:lnTo>
                  <a:lnTo>
                    <a:pt x="2254" y="631"/>
                  </a:lnTo>
                  <a:lnTo>
                    <a:pt x="2280" y="631"/>
                  </a:lnTo>
                  <a:lnTo>
                    <a:pt x="2284" y="642"/>
                  </a:lnTo>
                  <a:lnTo>
                    <a:pt x="2264" y="653"/>
                  </a:lnTo>
                  <a:lnTo>
                    <a:pt x="2284" y="667"/>
                  </a:lnTo>
                  <a:lnTo>
                    <a:pt x="2280" y="688"/>
                  </a:lnTo>
                  <a:lnTo>
                    <a:pt x="2248" y="699"/>
                  </a:lnTo>
                  <a:lnTo>
                    <a:pt x="2234" y="694"/>
                  </a:lnTo>
                  <a:lnTo>
                    <a:pt x="2224" y="683"/>
                  </a:lnTo>
                  <a:lnTo>
                    <a:pt x="2188" y="663"/>
                  </a:lnTo>
                  <a:lnTo>
                    <a:pt x="2188" y="647"/>
                  </a:lnTo>
                  <a:lnTo>
                    <a:pt x="2188" y="647"/>
                  </a:lnTo>
                  <a:close/>
                  <a:moveTo>
                    <a:pt x="2033" y="535"/>
                  </a:moveTo>
                  <a:lnTo>
                    <a:pt x="2055" y="530"/>
                  </a:lnTo>
                  <a:lnTo>
                    <a:pt x="2085" y="544"/>
                  </a:lnTo>
                  <a:lnTo>
                    <a:pt x="2106" y="566"/>
                  </a:lnTo>
                  <a:lnTo>
                    <a:pt x="2126" y="571"/>
                  </a:lnTo>
                  <a:lnTo>
                    <a:pt x="2115" y="544"/>
                  </a:lnTo>
                  <a:lnTo>
                    <a:pt x="2136" y="539"/>
                  </a:lnTo>
                  <a:lnTo>
                    <a:pt x="2152" y="544"/>
                  </a:lnTo>
                  <a:lnTo>
                    <a:pt x="2152" y="571"/>
                  </a:lnTo>
                  <a:lnTo>
                    <a:pt x="2167" y="571"/>
                  </a:lnTo>
                  <a:lnTo>
                    <a:pt x="2183" y="576"/>
                  </a:lnTo>
                  <a:lnTo>
                    <a:pt x="2183" y="590"/>
                  </a:lnTo>
                  <a:lnTo>
                    <a:pt x="2167" y="601"/>
                  </a:lnTo>
                  <a:lnTo>
                    <a:pt x="2115" y="596"/>
                  </a:lnTo>
                  <a:lnTo>
                    <a:pt x="2074" y="601"/>
                  </a:lnTo>
                  <a:lnTo>
                    <a:pt x="2049" y="580"/>
                  </a:lnTo>
                  <a:lnTo>
                    <a:pt x="2055" y="571"/>
                  </a:lnTo>
                  <a:lnTo>
                    <a:pt x="2090" y="566"/>
                  </a:lnTo>
                  <a:lnTo>
                    <a:pt x="2090" y="566"/>
                  </a:lnTo>
                  <a:lnTo>
                    <a:pt x="2074" y="564"/>
                  </a:lnTo>
                  <a:lnTo>
                    <a:pt x="2056" y="562"/>
                  </a:lnTo>
                  <a:lnTo>
                    <a:pt x="2024" y="555"/>
                  </a:lnTo>
                  <a:lnTo>
                    <a:pt x="2003" y="550"/>
                  </a:lnTo>
                  <a:lnTo>
                    <a:pt x="2033" y="535"/>
                  </a:lnTo>
                  <a:close/>
                  <a:moveTo>
                    <a:pt x="1839" y="601"/>
                  </a:moveTo>
                  <a:lnTo>
                    <a:pt x="1864" y="580"/>
                  </a:lnTo>
                  <a:lnTo>
                    <a:pt x="1886" y="566"/>
                  </a:lnTo>
                  <a:lnTo>
                    <a:pt x="1886" y="544"/>
                  </a:lnTo>
                  <a:lnTo>
                    <a:pt x="1932" y="555"/>
                  </a:lnTo>
                  <a:lnTo>
                    <a:pt x="1946" y="566"/>
                  </a:lnTo>
                  <a:lnTo>
                    <a:pt x="1978" y="576"/>
                  </a:lnTo>
                  <a:lnTo>
                    <a:pt x="1987" y="585"/>
                  </a:lnTo>
                  <a:lnTo>
                    <a:pt x="1998" y="601"/>
                  </a:lnTo>
                  <a:lnTo>
                    <a:pt x="2019" y="596"/>
                  </a:lnTo>
                  <a:lnTo>
                    <a:pt x="2033" y="606"/>
                  </a:lnTo>
                  <a:lnTo>
                    <a:pt x="2019" y="617"/>
                  </a:lnTo>
                  <a:lnTo>
                    <a:pt x="2049" y="617"/>
                  </a:lnTo>
                  <a:lnTo>
                    <a:pt x="2065" y="637"/>
                  </a:lnTo>
                  <a:lnTo>
                    <a:pt x="2085" y="626"/>
                  </a:lnTo>
                  <a:lnTo>
                    <a:pt x="2095" y="637"/>
                  </a:lnTo>
                  <a:lnTo>
                    <a:pt x="2101" y="663"/>
                  </a:lnTo>
                  <a:lnTo>
                    <a:pt x="2115" y="653"/>
                  </a:lnTo>
                  <a:lnTo>
                    <a:pt x="2115" y="626"/>
                  </a:lnTo>
                  <a:lnTo>
                    <a:pt x="2131" y="626"/>
                  </a:lnTo>
                  <a:lnTo>
                    <a:pt x="2147" y="631"/>
                  </a:lnTo>
                  <a:lnTo>
                    <a:pt x="2161" y="647"/>
                  </a:lnTo>
                  <a:lnTo>
                    <a:pt x="2161" y="694"/>
                  </a:lnTo>
                  <a:lnTo>
                    <a:pt x="2161" y="694"/>
                  </a:lnTo>
                  <a:lnTo>
                    <a:pt x="2170" y="704"/>
                  </a:lnTo>
                  <a:lnTo>
                    <a:pt x="2181" y="713"/>
                  </a:lnTo>
                  <a:lnTo>
                    <a:pt x="2193" y="718"/>
                  </a:lnTo>
                  <a:lnTo>
                    <a:pt x="2208" y="724"/>
                  </a:lnTo>
                  <a:lnTo>
                    <a:pt x="2199" y="740"/>
                  </a:lnTo>
                  <a:lnTo>
                    <a:pt x="2167" y="740"/>
                  </a:lnTo>
                  <a:lnTo>
                    <a:pt x="2177" y="754"/>
                  </a:lnTo>
                  <a:lnTo>
                    <a:pt x="2167" y="765"/>
                  </a:lnTo>
                  <a:lnTo>
                    <a:pt x="2136" y="754"/>
                  </a:lnTo>
                  <a:lnTo>
                    <a:pt x="2111" y="740"/>
                  </a:lnTo>
                  <a:lnTo>
                    <a:pt x="2090" y="740"/>
                  </a:lnTo>
                  <a:lnTo>
                    <a:pt x="2049" y="745"/>
                  </a:lnTo>
                  <a:lnTo>
                    <a:pt x="2049" y="745"/>
                  </a:lnTo>
                  <a:lnTo>
                    <a:pt x="2030" y="743"/>
                  </a:lnTo>
                  <a:lnTo>
                    <a:pt x="2008" y="742"/>
                  </a:lnTo>
                  <a:lnTo>
                    <a:pt x="1989" y="740"/>
                  </a:lnTo>
                  <a:lnTo>
                    <a:pt x="1973" y="740"/>
                  </a:lnTo>
                  <a:lnTo>
                    <a:pt x="1967" y="724"/>
                  </a:lnTo>
                  <a:lnTo>
                    <a:pt x="1946" y="713"/>
                  </a:lnTo>
                  <a:lnTo>
                    <a:pt x="1926" y="713"/>
                  </a:lnTo>
                  <a:lnTo>
                    <a:pt x="1916" y="694"/>
                  </a:lnTo>
                  <a:lnTo>
                    <a:pt x="1957" y="694"/>
                  </a:lnTo>
                  <a:lnTo>
                    <a:pt x="1978" y="699"/>
                  </a:lnTo>
                  <a:lnTo>
                    <a:pt x="1998" y="699"/>
                  </a:lnTo>
                  <a:lnTo>
                    <a:pt x="1978" y="683"/>
                  </a:lnTo>
                  <a:lnTo>
                    <a:pt x="1946" y="672"/>
                  </a:lnTo>
                  <a:lnTo>
                    <a:pt x="1926" y="667"/>
                  </a:lnTo>
                  <a:lnTo>
                    <a:pt x="1926" y="658"/>
                  </a:lnTo>
                  <a:lnTo>
                    <a:pt x="1967" y="653"/>
                  </a:lnTo>
                  <a:lnTo>
                    <a:pt x="1946" y="647"/>
                  </a:lnTo>
                  <a:lnTo>
                    <a:pt x="1926" y="631"/>
                  </a:lnTo>
                  <a:lnTo>
                    <a:pt x="1946" y="617"/>
                  </a:lnTo>
                  <a:lnTo>
                    <a:pt x="1957" y="612"/>
                  </a:lnTo>
                  <a:lnTo>
                    <a:pt x="1937" y="617"/>
                  </a:lnTo>
                  <a:lnTo>
                    <a:pt x="1905" y="631"/>
                  </a:lnTo>
                  <a:lnTo>
                    <a:pt x="1905" y="631"/>
                  </a:lnTo>
                  <a:lnTo>
                    <a:pt x="1900" y="638"/>
                  </a:lnTo>
                  <a:lnTo>
                    <a:pt x="1898" y="642"/>
                  </a:lnTo>
                  <a:lnTo>
                    <a:pt x="1896" y="642"/>
                  </a:lnTo>
                  <a:lnTo>
                    <a:pt x="1850" y="647"/>
                  </a:lnTo>
                  <a:lnTo>
                    <a:pt x="1850" y="631"/>
                  </a:lnTo>
                  <a:lnTo>
                    <a:pt x="1829" y="612"/>
                  </a:lnTo>
                  <a:lnTo>
                    <a:pt x="1839" y="601"/>
                  </a:lnTo>
                  <a:close/>
                  <a:moveTo>
                    <a:pt x="1777" y="64"/>
                  </a:moveTo>
                  <a:lnTo>
                    <a:pt x="1777" y="64"/>
                  </a:lnTo>
                  <a:lnTo>
                    <a:pt x="1773" y="66"/>
                  </a:lnTo>
                  <a:lnTo>
                    <a:pt x="1770" y="68"/>
                  </a:lnTo>
                  <a:lnTo>
                    <a:pt x="1757" y="68"/>
                  </a:lnTo>
                  <a:lnTo>
                    <a:pt x="1757" y="68"/>
                  </a:lnTo>
                  <a:lnTo>
                    <a:pt x="1768" y="66"/>
                  </a:lnTo>
                  <a:lnTo>
                    <a:pt x="1777" y="64"/>
                  </a:lnTo>
                  <a:lnTo>
                    <a:pt x="1777" y="64"/>
                  </a:lnTo>
                  <a:close/>
                  <a:moveTo>
                    <a:pt x="4175" y="3224"/>
                  </a:moveTo>
                  <a:lnTo>
                    <a:pt x="4150" y="3285"/>
                  </a:lnTo>
                  <a:lnTo>
                    <a:pt x="4129" y="3310"/>
                  </a:lnTo>
                  <a:lnTo>
                    <a:pt x="4082" y="3372"/>
                  </a:lnTo>
                  <a:lnTo>
                    <a:pt x="4063" y="3413"/>
                  </a:lnTo>
                  <a:lnTo>
                    <a:pt x="4036" y="3448"/>
                  </a:lnTo>
                  <a:lnTo>
                    <a:pt x="4033" y="3454"/>
                  </a:lnTo>
                  <a:lnTo>
                    <a:pt x="4017" y="3480"/>
                  </a:lnTo>
                  <a:lnTo>
                    <a:pt x="3995" y="3541"/>
                  </a:lnTo>
                  <a:lnTo>
                    <a:pt x="3995" y="3541"/>
                  </a:lnTo>
                  <a:lnTo>
                    <a:pt x="3986" y="3557"/>
                  </a:lnTo>
                  <a:lnTo>
                    <a:pt x="3977" y="3575"/>
                  </a:lnTo>
                  <a:lnTo>
                    <a:pt x="3970" y="3591"/>
                  </a:lnTo>
                  <a:lnTo>
                    <a:pt x="3960" y="3609"/>
                  </a:lnTo>
                  <a:lnTo>
                    <a:pt x="3945" y="3623"/>
                  </a:lnTo>
                  <a:lnTo>
                    <a:pt x="3924" y="3664"/>
                  </a:lnTo>
                  <a:lnTo>
                    <a:pt x="3883" y="3710"/>
                  </a:lnTo>
                  <a:lnTo>
                    <a:pt x="3872" y="3740"/>
                  </a:lnTo>
                  <a:lnTo>
                    <a:pt x="3853" y="3761"/>
                  </a:lnTo>
                  <a:lnTo>
                    <a:pt x="3837" y="3781"/>
                  </a:lnTo>
                  <a:lnTo>
                    <a:pt x="3837" y="3781"/>
                  </a:lnTo>
                  <a:lnTo>
                    <a:pt x="3823" y="3786"/>
                  </a:lnTo>
                  <a:lnTo>
                    <a:pt x="3819" y="3788"/>
                  </a:lnTo>
                  <a:lnTo>
                    <a:pt x="3817" y="3792"/>
                  </a:lnTo>
                  <a:lnTo>
                    <a:pt x="3776" y="3813"/>
                  </a:lnTo>
                  <a:lnTo>
                    <a:pt x="3755" y="3833"/>
                  </a:lnTo>
                  <a:lnTo>
                    <a:pt x="3725" y="3854"/>
                  </a:lnTo>
                  <a:lnTo>
                    <a:pt x="3684" y="3884"/>
                  </a:lnTo>
                  <a:lnTo>
                    <a:pt x="3638" y="3914"/>
                  </a:lnTo>
                  <a:lnTo>
                    <a:pt x="3622" y="3936"/>
                  </a:lnTo>
                  <a:lnTo>
                    <a:pt x="3622" y="3946"/>
                  </a:lnTo>
                  <a:lnTo>
                    <a:pt x="3602" y="3971"/>
                  </a:lnTo>
                  <a:lnTo>
                    <a:pt x="3586" y="3987"/>
                  </a:lnTo>
                  <a:lnTo>
                    <a:pt x="3561" y="4007"/>
                  </a:lnTo>
                  <a:lnTo>
                    <a:pt x="3504" y="4058"/>
                  </a:lnTo>
                  <a:lnTo>
                    <a:pt x="3504" y="4058"/>
                  </a:lnTo>
                  <a:lnTo>
                    <a:pt x="3476" y="4078"/>
                  </a:lnTo>
                  <a:lnTo>
                    <a:pt x="3460" y="4087"/>
                  </a:lnTo>
                  <a:lnTo>
                    <a:pt x="3442" y="4094"/>
                  </a:lnTo>
                  <a:lnTo>
                    <a:pt x="3417" y="4115"/>
                  </a:lnTo>
                  <a:lnTo>
                    <a:pt x="3376" y="4156"/>
                  </a:lnTo>
                  <a:lnTo>
                    <a:pt x="3341" y="4176"/>
                  </a:lnTo>
                  <a:lnTo>
                    <a:pt x="3325" y="4176"/>
                  </a:lnTo>
                  <a:lnTo>
                    <a:pt x="3309" y="4181"/>
                  </a:lnTo>
                  <a:lnTo>
                    <a:pt x="3289" y="4176"/>
                  </a:lnTo>
                  <a:lnTo>
                    <a:pt x="3268" y="4181"/>
                  </a:lnTo>
                  <a:lnTo>
                    <a:pt x="3259" y="4170"/>
                  </a:lnTo>
                  <a:lnTo>
                    <a:pt x="3248" y="4187"/>
                  </a:lnTo>
                  <a:lnTo>
                    <a:pt x="3268" y="4203"/>
                  </a:lnTo>
                  <a:lnTo>
                    <a:pt x="3253" y="4217"/>
                  </a:lnTo>
                  <a:lnTo>
                    <a:pt x="3264" y="4222"/>
                  </a:lnTo>
                  <a:lnTo>
                    <a:pt x="3253" y="4233"/>
                  </a:lnTo>
                  <a:lnTo>
                    <a:pt x="3213" y="4263"/>
                  </a:lnTo>
                  <a:lnTo>
                    <a:pt x="3177" y="4274"/>
                  </a:lnTo>
                  <a:lnTo>
                    <a:pt x="3120" y="4290"/>
                  </a:lnTo>
                  <a:lnTo>
                    <a:pt x="3095" y="4293"/>
                  </a:lnTo>
                  <a:lnTo>
                    <a:pt x="3084" y="4304"/>
                  </a:lnTo>
                  <a:lnTo>
                    <a:pt x="3084" y="4315"/>
                  </a:lnTo>
                  <a:lnTo>
                    <a:pt x="3063" y="4325"/>
                  </a:lnTo>
                  <a:lnTo>
                    <a:pt x="3038" y="4331"/>
                  </a:lnTo>
                  <a:lnTo>
                    <a:pt x="3022" y="4320"/>
                  </a:lnTo>
                  <a:lnTo>
                    <a:pt x="3003" y="4331"/>
                  </a:lnTo>
                  <a:lnTo>
                    <a:pt x="2992" y="4350"/>
                  </a:lnTo>
                  <a:lnTo>
                    <a:pt x="3008" y="4355"/>
                  </a:lnTo>
                  <a:lnTo>
                    <a:pt x="3028" y="4345"/>
                  </a:lnTo>
                  <a:lnTo>
                    <a:pt x="3028" y="4355"/>
                  </a:lnTo>
                  <a:lnTo>
                    <a:pt x="3003" y="4366"/>
                  </a:lnTo>
                  <a:lnTo>
                    <a:pt x="2976" y="4380"/>
                  </a:lnTo>
                  <a:lnTo>
                    <a:pt x="2956" y="4402"/>
                  </a:lnTo>
                  <a:lnTo>
                    <a:pt x="2940" y="4412"/>
                  </a:lnTo>
                  <a:lnTo>
                    <a:pt x="2910" y="4407"/>
                  </a:lnTo>
                  <a:lnTo>
                    <a:pt x="2883" y="4418"/>
                  </a:lnTo>
                  <a:lnTo>
                    <a:pt x="2864" y="4432"/>
                  </a:lnTo>
                  <a:lnTo>
                    <a:pt x="2880" y="4443"/>
                  </a:lnTo>
                  <a:lnTo>
                    <a:pt x="2899" y="4443"/>
                  </a:lnTo>
                  <a:lnTo>
                    <a:pt x="2880" y="4459"/>
                  </a:lnTo>
                  <a:lnTo>
                    <a:pt x="2843" y="4468"/>
                  </a:lnTo>
                  <a:lnTo>
                    <a:pt x="2812" y="4489"/>
                  </a:lnTo>
                  <a:lnTo>
                    <a:pt x="2787" y="4500"/>
                  </a:lnTo>
                  <a:lnTo>
                    <a:pt x="2766" y="4494"/>
                  </a:lnTo>
                  <a:lnTo>
                    <a:pt x="2761" y="4505"/>
                  </a:lnTo>
                  <a:lnTo>
                    <a:pt x="2771" y="4508"/>
                  </a:lnTo>
                  <a:lnTo>
                    <a:pt x="2771" y="4508"/>
                  </a:lnTo>
                  <a:lnTo>
                    <a:pt x="2761" y="4508"/>
                  </a:lnTo>
                  <a:lnTo>
                    <a:pt x="2761" y="4514"/>
                  </a:lnTo>
                  <a:lnTo>
                    <a:pt x="2782" y="4519"/>
                  </a:lnTo>
                  <a:lnTo>
                    <a:pt x="2802" y="4519"/>
                  </a:lnTo>
                  <a:lnTo>
                    <a:pt x="2793" y="4524"/>
                  </a:lnTo>
                  <a:lnTo>
                    <a:pt x="2771" y="4530"/>
                  </a:lnTo>
                  <a:lnTo>
                    <a:pt x="2766" y="4530"/>
                  </a:lnTo>
                  <a:lnTo>
                    <a:pt x="2752" y="4535"/>
                  </a:lnTo>
                  <a:lnTo>
                    <a:pt x="2730" y="4540"/>
                  </a:lnTo>
                  <a:lnTo>
                    <a:pt x="2684" y="4540"/>
                  </a:lnTo>
                  <a:lnTo>
                    <a:pt x="2684" y="4540"/>
                  </a:lnTo>
                  <a:lnTo>
                    <a:pt x="2675" y="4539"/>
                  </a:lnTo>
                  <a:lnTo>
                    <a:pt x="2666" y="4537"/>
                  </a:lnTo>
                  <a:lnTo>
                    <a:pt x="2659" y="4535"/>
                  </a:lnTo>
                  <a:lnTo>
                    <a:pt x="2649" y="4535"/>
                  </a:lnTo>
                  <a:lnTo>
                    <a:pt x="2627" y="4519"/>
                  </a:lnTo>
                  <a:lnTo>
                    <a:pt x="2627" y="4519"/>
                  </a:lnTo>
                  <a:lnTo>
                    <a:pt x="2624" y="4514"/>
                  </a:lnTo>
                  <a:lnTo>
                    <a:pt x="2624" y="4508"/>
                  </a:lnTo>
                  <a:lnTo>
                    <a:pt x="2638" y="4500"/>
                  </a:lnTo>
                  <a:lnTo>
                    <a:pt x="2633" y="4489"/>
                  </a:lnTo>
                  <a:lnTo>
                    <a:pt x="2649" y="4468"/>
                  </a:lnTo>
                  <a:lnTo>
                    <a:pt x="2668" y="4453"/>
                  </a:lnTo>
                  <a:lnTo>
                    <a:pt x="2700" y="4437"/>
                  </a:lnTo>
                  <a:lnTo>
                    <a:pt x="2665" y="4437"/>
                  </a:lnTo>
                  <a:lnTo>
                    <a:pt x="2695" y="4421"/>
                  </a:lnTo>
                  <a:lnTo>
                    <a:pt x="2714" y="4396"/>
                  </a:lnTo>
                  <a:lnTo>
                    <a:pt x="2741" y="4402"/>
                  </a:lnTo>
                  <a:lnTo>
                    <a:pt x="2771" y="4371"/>
                  </a:lnTo>
                  <a:lnTo>
                    <a:pt x="2766" y="4371"/>
                  </a:lnTo>
                  <a:lnTo>
                    <a:pt x="2746" y="4391"/>
                  </a:lnTo>
                  <a:lnTo>
                    <a:pt x="2730" y="4391"/>
                  </a:lnTo>
                  <a:lnTo>
                    <a:pt x="2730" y="4391"/>
                  </a:lnTo>
                  <a:lnTo>
                    <a:pt x="2745" y="4377"/>
                  </a:lnTo>
                  <a:lnTo>
                    <a:pt x="2755" y="4363"/>
                  </a:lnTo>
                  <a:lnTo>
                    <a:pt x="2777" y="4334"/>
                  </a:lnTo>
                  <a:lnTo>
                    <a:pt x="2796" y="4320"/>
                  </a:lnTo>
                  <a:lnTo>
                    <a:pt x="2796" y="4299"/>
                  </a:lnTo>
                  <a:lnTo>
                    <a:pt x="2807" y="4279"/>
                  </a:lnTo>
                  <a:lnTo>
                    <a:pt x="2823" y="4279"/>
                  </a:lnTo>
                  <a:lnTo>
                    <a:pt x="2823" y="4279"/>
                  </a:lnTo>
                  <a:lnTo>
                    <a:pt x="2889" y="4211"/>
                  </a:lnTo>
                  <a:lnTo>
                    <a:pt x="2915" y="4181"/>
                  </a:lnTo>
                  <a:lnTo>
                    <a:pt x="2921" y="4151"/>
                  </a:lnTo>
                  <a:lnTo>
                    <a:pt x="2940" y="4130"/>
                  </a:lnTo>
                  <a:lnTo>
                    <a:pt x="2946" y="4105"/>
                  </a:lnTo>
                  <a:lnTo>
                    <a:pt x="2971" y="4074"/>
                  </a:lnTo>
                  <a:lnTo>
                    <a:pt x="2971" y="4074"/>
                  </a:lnTo>
                  <a:lnTo>
                    <a:pt x="2988" y="4032"/>
                  </a:lnTo>
                  <a:lnTo>
                    <a:pt x="3008" y="3991"/>
                  </a:lnTo>
                  <a:lnTo>
                    <a:pt x="3044" y="3914"/>
                  </a:lnTo>
                  <a:lnTo>
                    <a:pt x="3052" y="3868"/>
                  </a:lnTo>
                  <a:lnTo>
                    <a:pt x="3058" y="3833"/>
                  </a:lnTo>
                  <a:lnTo>
                    <a:pt x="3028" y="3818"/>
                  </a:lnTo>
                  <a:lnTo>
                    <a:pt x="3028" y="3802"/>
                  </a:lnTo>
                  <a:lnTo>
                    <a:pt x="2962" y="3781"/>
                  </a:lnTo>
                  <a:lnTo>
                    <a:pt x="2899" y="3756"/>
                  </a:lnTo>
                  <a:lnTo>
                    <a:pt x="2875" y="3737"/>
                  </a:lnTo>
                  <a:lnTo>
                    <a:pt x="2859" y="3715"/>
                  </a:lnTo>
                  <a:lnTo>
                    <a:pt x="2869" y="3705"/>
                  </a:lnTo>
                  <a:lnTo>
                    <a:pt x="2843" y="3669"/>
                  </a:lnTo>
                  <a:lnTo>
                    <a:pt x="2843" y="3669"/>
                  </a:lnTo>
                  <a:lnTo>
                    <a:pt x="2812" y="3610"/>
                  </a:lnTo>
                  <a:lnTo>
                    <a:pt x="2782" y="3552"/>
                  </a:lnTo>
                  <a:lnTo>
                    <a:pt x="2766" y="3536"/>
                  </a:lnTo>
                  <a:lnTo>
                    <a:pt x="2755" y="3516"/>
                  </a:lnTo>
                  <a:lnTo>
                    <a:pt x="2730" y="3495"/>
                  </a:lnTo>
                  <a:lnTo>
                    <a:pt x="2706" y="3480"/>
                  </a:lnTo>
                  <a:lnTo>
                    <a:pt x="2720" y="3464"/>
                  </a:lnTo>
                  <a:lnTo>
                    <a:pt x="2700" y="3434"/>
                  </a:lnTo>
                  <a:lnTo>
                    <a:pt x="2714" y="3413"/>
                  </a:lnTo>
                  <a:lnTo>
                    <a:pt x="2746" y="3393"/>
                  </a:lnTo>
                  <a:lnTo>
                    <a:pt x="2766" y="3367"/>
                  </a:lnTo>
                  <a:lnTo>
                    <a:pt x="2766" y="3326"/>
                  </a:lnTo>
                  <a:lnTo>
                    <a:pt x="2746" y="3347"/>
                  </a:lnTo>
                  <a:lnTo>
                    <a:pt x="2725" y="3331"/>
                  </a:lnTo>
                  <a:lnTo>
                    <a:pt x="2736" y="3320"/>
                  </a:lnTo>
                  <a:lnTo>
                    <a:pt x="2730" y="3290"/>
                  </a:lnTo>
                  <a:lnTo>
                    <a:pt x="2746" y="3285"/>
                  </a:lnTo>
                  <a:lnTo>
                    <a:pt x="2755" y="3265"/>
                  </a:lnTo>
                  <a:lnTo>
                    <a:pt x="2777" y="3244"/>
                  </a:lnTo>
                  <a:lnTo>
                    <a:pt x="2777" y="3228"/>
                  </a:lnTo>
                  <a:lnTo>
                    <a:pt x="2796" y="3219"/>
                  </a:lnTo>
                  <a:lnTo>
                    <a:pt x="2823" y="3203"/>
                  </a:lnTo>
                  <a:lnTo>
                    <a:pt x="2812" y="3182"/>
                  </a:lnTo>
                  <a:lnTo>
                    <a:pt x="2828" y="3178"/>
                  </a:lnTo>
                  <a:lnTo>
                    <a:pt x="2828" y="3157"/>
                  </a:lnTo>
                  <a:lnTo>
                    <a:pt x="2839" y="3141"/>
                  </a:lnTo>
                  <a:lnTo>
                    <a:pt x="2859" y="3137"/>
                  </a:lnTo>
                  <a:lnTo>
                    <a:pt x="2859" y="3137"/>
                  </a:lnTo>
                  <a:lnTo>
                    <a:pt x="2889" y="3091"/>
                  </a:lnTo>
                  <a:lnTo>
                    <a:pt x="2880" y="3086"/>
                  </a:lnTo>
                  <a:lnTo>
                    <a:pt x="2889" y="3064"/>
                  </a:lnTo>
                  <a:lnTo>
                    <a:pt x="2880" y="3029"/>
                  </a:lnTo>
                  <a:lnTo>
                    <a:pt x="2889" y="3018"/>
                  </a:lnTo>
                  <a:lnTo>
                    <a:pt x="2883" y="2988"/>
                  </a:lnTo>
                  <a:lnTo>
                    <a:pt x="2869" y="2972"/>
                  </a:lnTo>
                  <a:lnTo>
                    <a:pt x="2853" y="2963"/>
                  </a:lnTo>
                  <a:lnTo>
                    <a:pt x="2843" y="2942"/>
                  </a:lnTo>
                  <a:lnTo>
                    <a:pt x="2853" y="2931"/>
                  </a:lnTo>
                  <a:lnTo>
                    <a:pt x="2843" y="2931"/>
                  </a:lnTo>
                  <a:lnTo>
                    <a:pt x="2839" y="2922"/>
                  </a:lnTo>
                  <a:lnTo>
                    <a:pt x="2818" y="2911"/>
                  </a:lnTo>
                  <a:lnTo>
                    <a:pt x="2796" y="2906"/>
                  </a:lnTo>
                  <a:lnTo>
                    <a:pt x="2793" y="2922"/>
                  </a:lnTo>
                  <a:lnTo>
                    <a:pt x="2771" y="2931"/>
                  </a:lnTo>
                  <a:lnTo>
                    <a:pt x="2761" y="2931"/>
                  </a:lnTo>
                  <a:lnTo>
                    <a:pt x="2755" y="2942"/>
                  </a:lnTo>
                  <a:lnTo>
                    <a:pt x="2777" y="2963"/>
                  </a:lnTo>
                  <a:lnTo>
                    <a:pt x="2766" y="2963"/>
                  </a:lnTo>
                  <a:lnTo>
                    <a:pt x="2761" y="2968"/>
                  </a:lnTo>
                  <a:lnTo>
                    <a:pt x="2746" y="2972"/>
                  </a:lnTo>
                  <a:lnTo>
                    <a:pt x="2741" y="2952"/>
                  </a:lnTo>
                  <a:lnTo>
                    <a:pt x="2736" y="2958"/>
                  </a:lnTo>
                  <a:lnTo>
                    <a:pt x="2720" y="2958"/>
                  </a:lnTo>
                  <a:lnTo>
                    <a:pt x="2711" y="2942"/>
                  </a:lnTo>
                  <a:lnTo>
                    <a:pt x="2690" y="2942"/>
                  </a:lnTo>
                  <a:lnTo>
                    <a:pt x="2679" y="2936"/>
                  </a:lnTo>
                  <a:lnTo>
                    <a:pt x="2659" y="2936"/>
                  </a:lnTo>
                  <a:lnTo>
                    <a:pt x="2659" y="2947"/>
                  </a:lnTo>
                  <a:lnTo>
                    <a:pt x="2654" y="2942"/>
                  </a:lnTo>
                  <a:lnTo>
                    <a:pt x="2633" y="2931"/>
                  </a:lnTo>
                  <a:lnTo>
                    <a:pt x="2624" y="2922"/>
                  </a:lnTo>
                  <a:lnTo>
                    <a:pt x="2627" y="2917"/>
                  </a:lnTo>
                  <a:lnTo>
                    <a:pt x="2627" y="2906"/>
                  </a:lnTo>
                  <a:lnTo>
                    <a:pt x="2618" y="2895"/>
                  </a:lnTo>
                  <a:lnTo>
                    <a:pt x="2602" y="2885"/>
                  </a:lnTo>
                  <a:lnTo>
                    <a:pt x="2586" y="2881"/>
                  </a:lnTo>
                  <a:lnTo>
                    <a:pt x="2583" y="2870"/>
                  </a:lnTo>
                  <a:lnTo>
                    <a:pt x="2572" y="2854"/>
                  </a:lnTo>
                  <a:lnTo>
                    <a:pt x="2572" y="2865"/>
                  </a:lnTo>
                  <a:lnTo>
                    <a:pt x="2561" y="2876"/>
                  </a:lnTo>
                  <a:lnTo>
                    <a:pt x="2551" y="2870"/>
                  </a:lnTo>
                  <a:lnTo>
                    <a:pt x="2545" y="2860"/>
                  </a:lnTo>
                  <a:lnTo>
                    <a:pt x="2545" y="2844"/>
                  </a:lnTo>
                  <a:lnTo>
                    <a:pt x="2551" y="2830"/>
                  </a:lnTo>
                  <a:lnTo>
                    <a:pt x="2540" y="2824"/>
                  </a:lnTo>
                  <a:lnTo>
                    <a:pt x="2551" y="2814"/>
                  </a:lnTo>
                  <a:lnTo>
                    <a:pt x="2551" y="2814"/>
                  </a:lnTo>
                  <a:lnTo>
                    <a:pt x="2537" y="2799"/>
                  </a:lnTo>
                  <a:lnTo>
                    <a:pt x="2528" y="2792"/>
                  </a:lnTo>
                  <a:lnTo>
                    <a:pt x="2521" y="2789"/>
                  </a:lnTo>
                  <a:lnTo>
                    <a:pt x="2510" y="2778"/>
                  </a:lnTo>
                  <a:lnTo>
                    <a:pt x="2490" y="2762"/>
                  </a:lnTo>
                  <a:lnTo>
                    <a:pt x="2469" y="2742"/>
                  </a:lnTo>
                  <a:lnTo>
                    <a:pt x="2474" y="2737"/>
                  </a:lnTo>
                  <a:lnTo>
                    <a:pt x="2480" y="2742"/>
                  </a:lnTo>
                  <a:lnTo>
                    <a:pt x="2485" y="2737"/>
                  </a:lnTo>
                  <a:lnTo>
                    <a:pt x="2480" y="2721"/>
                  </a:lnTo>
                  <a:lnTo>
                    <a:pt x="2464" y="2716"/>
                  </a:lnTo>
                  <a:lnTo>
                    <a:pt x="2458" y="2726"/>
                  </a:lnTo>
                  <a:lnTo>
                    <a:pt x="2439" y="2726"/>
                  </a:lnTo>
                  <a:lnTo>
                    <a:pt x="2423" y="2721"/>
                  </a:lnTo>
                  <a:lnTo>
                    <a:pt x="2409" y="2716"/>
                  </a:lnTo>
                  <a:lnTo>
                    <a:pt x="2387" y="2712"/>
                  </a:lnTo>
                  <a:lnTo>
                    <a:pt x="2376" y="2721"/>
                  </a:lnTo>
                  <a:lnTo>
                    <a:pt x="2352" y="2716"/>
                  </a:lnTo>
                  <a:lnTo>
                    <a:pt x="2327" y="2716"/>
                  </a:lnTo>
                  <a:lnTo>
                    <a:pt x="2305" y="2707"/>
                  </a:lnTo>
                  <a:lnTo>
                    <a:pt x="2284" y="2685"/>
                  </a:lnTo>
                  <a:lnTo>
                    <a:pt x="2240" y="2645"/>
                  </a:lnTo>
                  <a:lnTo>
                    <a:pt x="2224" y="2625"/>
                  </a:lnTo>
                  <a:lnTo>
                    <a:pt x="2193" y="2614"/>
                  </a:lnTo>
                  <a:lnTo>
                    <a:pt x="2172" y="2614"/>
                  </a:lnTo>
                  <a:lnTo>
                    <a:pt x="2142" y="2629"/>
                  </a:lnTo>
                  <a:lnTo>
                    <a:pt x="2120" y="2634"/>
                  </a:lnTo>
                  <a:lnTo>
                    <a:pt x="2095" y="2620"/>
                  </a:lnTo>
                  <a:lnTo>
                    <a:pt x="2071" y="2609"/>
                  </a:lnTo>
                  <a:lnTo>
                    <a:pt x="2033" y="2588"/>
                  </a:lnTo>
                  <a:lnTo>
                    <a:pt x="1998" y="2584"/>
                  </a:lnTo>
                  <a:lnTo>
                    <a:pt x="1946" y="2563"/>
                  </a:lnTo>
                  <a:lnTo>
                    <a:pt x="1916" y="2541"/>
                  </a:lnTo>
                  <a:lnTo>
                    <a:pt x="1905" y="2533"/>
                  </a:lnTo>
                  <a:lnTo>
                    <a:pt x="1886" y="2527"/>
                  </a:lnTo>
                  <a:lnTo>
                    <a:pt x="1845" y="2511"/>
                  </a:lnTo>
                  <a:lnTo>
                    <a:pt x="1829" y="2492"/>
                  </a:lnTo>
                  <a:lnTo>
                    <a:pt x="1793" y="2465"/>
                  </a:lnTo>
                  <a:lnTo>
                    <a:pt x="1772" y="2440"/>
                  </a:lnTo>
                  <a:lnTo>
                    <a:pt x="1763" y="2419"/>
                  </a:lnTo>
                  <a:lnTo>
                    <a:pt x="1777" y="2419"/>
                  </a:lnTo>
                  <a:lnTo>
                    <a:pt x="1777" y="2410"/>
                  </a:lnTo>
                  <a:lnTo>
                    <a:pt x="1788" y="2399"/>
                  </a:lnTo>
                  <a:lnTo>
                    <a:pt x="1788" y="2383"/>
                  </a:lnTo>
                  <a:lnTo>
                    <a:pt x="1777" y="2364"/>
                  </a:lnTo>
                  <a:lnTo>
                    <a:pt x="1777" y="2348"/>
                  </a:lnTo>
                  <a:lnTo>
                    <a:pt x="1768" y="2328"/>
                  </a:lnTo>
                  <a:lnTo>
                    <a:pt x="1741" y="2285"/>
                  </a:lnTo>
                  <a:lnTo>
                    <a:pt x="1711" y="2244"/>
                  </a:lnTo>
                  <a:lnTo>
                    <a:pt x="1690" y="2220"/>
                  </a:lnTo>
                  <a:lnTo>
                    <a:pt x="1665" y="2200"/>
                  </a:lnTo>
                  <a:lnTo>
                    <a:pt x="1660" y="2189"/>
                  </a:lnTo>
                  <a:lnTo>
                    <a:pt x="1670" y="2168"/>
                  </a:lnTo>
                  <a:lnTo>
                    <a:pt x="1649" y="2154"/>
                  </a:lnTo>
                  <a:lnTo>
                    <a:pt x="1629" y="2132"/>
                  </a:lnTo>
                  <a:lnTo>
                    <a:pt x="1629" y="2102"/>
                  </a:lnTo>
                  <a:lnTo>
                    <a:pt x="1613" y="2102"/>
                  </a:lnTo>
                  <a:lnTo>
                    <a:pt x="1594" y="2081"/>
                  </a:lnTo>
                  <a:lnTo>
                    <a:pt x="1578" y="2061"/>
                  </a:lnTo>
                  <a:lnTo>
                    <a:pt x="1578" y="2045"/>
                  </a:lnTo>
                  <a:lnTo>
                    <a:pt x="1562" y="2015"/>
                  </a:lnTo>
                  <a:lnTo>
                    <a:pt x="1562" y="1988"/>
                  </a:lnTo>
                  <a:lnTo>
                    <a:pt x="1567" y="1974"/>
                  </a:lnTo>
                  <a:lnTo>
                    <a:pt x="1548" y="1953"/>
                  </a:lnTo>
                  <a:lnTo>
                    <a:pt x="1537" y="1953"/>
                  </a:lnTo>
                  <a:lnTo>
                    <a:pt x="1516" y="1939"/>
                  </a:lnTo>
                  <a:lnTo>
                    <a:pt x="1507" y="1953"/>
                  </a:lnTo>
                  <a:lnTo>
                    <a:pt x="1507" y="1999"/>
                  </a:lnTo>
                  <a:lnTo>
                    <a:pt x="1516" y="2020"/>
                  </a:lnTo>
                  <a:lnTo>
                    <a:pt x="1537" y="2051"/>
                  </a:lnTo>
                  <a:lnTo>
                    <a:pt x="1542" y="2061"/>
                  </a:lnTo>
                  <a:lnTo>
                    <a:pt x="1548" y="2067"/>
                  </a:lnTo>
                  <a:lnTo>
                    <a:pt x="1548" y="2081"/>
                  </a:lnTo>
                  <a:lnTo>
                    <a:pt x="1553" y="2081"/>
                  </a:lnTo>
                  <a:lnTo>
                    <a:pt x="1553" y="2102"/>
                  </a:lnTo>
                  <a:lnTo>
                    <a:pt x="1562" y="2113"/>
                  </a:lnTo>
                  <a:lnTo>
                    <a:pt x="1567" y="2127"/>
                  </a:lnTo>
                  <a:lnTo>
                    <a:pt x="1588" y="2148"/>
                  </a:lnTo>
                  <a:lnTo>
                    <a:pt x="1594" y="2184"/>
                  </a:lnTo>
                  <a:lnTo>
                    <a:pt x="1594" y="2184"/>
                  </a:lnTo>
                  <a:lnTo>
                    <a:pt x="1601" y="2202"/>
                  </a:lnTo>
                  <a:lnTo>
                    <a:pt x="1608" y="2220"/>
                  </a:lnTo>
                  <a:lnTo>
                    <a:pt x="1608" y="2241"/>
                  </a:lnTo>
                  <a:lnTo>
                    <a:pt x="1629" y="2244"/>
                  </a:lnTo>
                  <a:lnTo>
                    <a:pt x="1629" y="2244"/>
                  </a:lnTo>
                  <a:lnTo>
                    <a:pt x="1642" y="2266"/>
                  </a:lnTo>
                  <a:lnTo>
                    <a:pt x="1649" y="2282"/>
                  </a:lnTo>
                  <a:lnTo>
                    <a:pt x="1649" y="2285"/>
                  </a:lnTo>
                  <a:lnTo>
                    <a:pt x="1629" y="2301"/>
                  </a:lnTo>
                  <a:lnTo>
                    <a:pt x="1624" y="2301"/>
                  </a:lnTo>
                  <a:lnTo>
                    <a:pt x="1619" y="2282"/>
                  </a:lnTo>
                  <a:lnTo>
                    <a:pt x="1599" y="2255"/>
                  </a:lnTo>
                  <a:lnTo>
                    <a:pt x="1578" y="2236"/>
                  </a:lnTo>
                  <a:lnTo>
                    <a:pt x="1558" y="2220"/>
                  </a:lnTo>
                  <a:lnTo>
                    <a:pt x="1562" y="2195"/>
                  </a:lnTo>
                  <a:lnTo>
                    <a:pt x="1562" y="2173"/>
                  </a:lnTo>
                  <a:lnTo>
                    <a:pt x="1562" y="2173"/>
                  </a:lnTo>
                  <a:lnTo>
                    <a:pt x="1526" y="2138"/>
                  </a:lnTo>
                  <a:lnTo>
                    <a:pt x="1526" y="2148"/>
                  </a:lnTo>
                  <a:lnTo>
                    <a:pt x="1521" y="2138"/>
                  </a:lnTo>
                  <a:lnTo>
                    <a:pt x="1501" y="2122"/>
                  </a:lnTo>
                  <a:lnTo>
                    <a:pt x="1485" y="2086"/>
                  </a:lnTo>
                  <a:lnTo>
                    <a:pt x="1491" y="2081"/>
                  </a:lnTo>
                  <a:lnTo>
                    <a:pt x="1507" y="2086"/>
                  </a:lnTo>
                  <a:lnTo>
                    <a:pt x="1521" y="2072"/>
                  </a:lnTo>
                  <a:lnTo>
                    <a:pt x="1526" y="2051"/>
                  </a:lnTo>
                  <a:lnTo>
                    <a:pt x="1501" y="2029"/>
                  </a:lnTo>
                  <a:lnTo>
                    <a:pt x="1480" y="2015"/>
                  </a:lnTo>
                  <a:lnTo>
                    <a:pt x="1480" y="2015"/>
                  </a:lnTo>
                  <a:lnTo>
                    <a:pt x="1473" y="1995"/>
                  </a:lnTo>
                  <a:lnTo>
                    <a:pt x="1468" y="1974"/>
                  </a:lnTo>
                  <a:lnTo>
                    <a:pt x="1460" y="1933"/>
                  </a:lnTo>
                  <a:lnTo>
                    <a:pt x="1450" y="1898"/>
                  </a:lnTo>
                  <a:lnTo>
                    <a:pt x="1450" y="1876"/>
                  </a:lnTo>
                  <a:lnTo>
                    <a:pt x="1434" y="1857"/>
                  </a:lnTo>
                  <a:lnTo>
                    <a:pt x="1419" y="1846"/>
                  </a:lnTo>
                  <a:lnTo>
                    <a:pt x="1419" y="1835"/>
                  </a:lnTo>
                  <a:lnTo>
                    <a:pt x="1398" y="1830"/>
                  </a:lnTo>
                  <a:lnTo>
                    <a:pt x="1387" y="1816"/>
                  </a:lnTo>
                  <a:lnTo>
                    <a:pt x="1363" y="1805"/>
                  </a:lnTo>
                  <a:lnTo>
                    <a:pt x="1357" y="1794"/>
                  </a:lnTo>
                  <a:lnTo>
                    <a:pt x="1357" y="1773"/>
                  </a:lnTo>
                  <a:lnTo>
                    <a:pt x="1338" y="1732"/>
                  </a:lnTo>
                  <a:lnTo>
                    <a:pt x="1332" y="1688"/>
                  </a:lnTo>
                  <a:lnTo>
                    <a:pt x="1338" y="1677"/>
                  </a:lnTo>
                  <a:lnTo>
                    <a:pt x="1338" y="1656"/>
                  </a:lnTo>
                  <a:lnTo>
                    <a:pt x="1327" y="1620"/>
                  </a:lnTo>
                  <a:lnTo>
                    <a:pt x="1332" y="1590"/>
                  </a:lnTo>
                  <a:lnTo>
                    <a:pt x="1322" y="1569"/>
                  </a:lnTo>
                  <a:lnTo>
                    <a:pt x="1343" y="1544"/>
                  </a:lnTo>
                  <a:lnTo>
                    <a:pt x="1352" y="1517"/>
                  </a:lnTo>
                  <a:lnTo>
                    <a:pt x="1352" y="1492"/>
                  </a:lnTo>
                  <a:lnTo>
                    <a:pt x="1373" y="1467"/>
                  </a:lnTo>
                  <a:lnTo>
                    <a:pt x="1403" y="1405"/>
                  </a:lnTo>
                  <a:lnTo>
                    <a:pt x="1419" y="1359"/>
                  </a:lnTo>
                  <a:lnTo>
                    <a:pt x="1425" y="1329"/>
                  </a:lnTo>
                  <a:lnTo>
                    <a:pt x="1425" y="1307"/>
                  </a:lnTo>
                  <a:lnTo>
                    <a:pt x="1430" y="1304"/>
                  </a:lnTo>
                  <a:lnTo>
                    <a:pt x="1460" y="1323"/>
                  </a:lnTo>
                  <a:lnTo>
                    <a:pt x="1460" y="1359"/>
                  </a:lnTo>
                  <a:lnTo>
                    <a:pt x="1475" y="1348"/>
                  </a:lnTo>
                  <a:lnTo>
                    <a:pt x="1485" y="1323"/>
                  </a:lnTo>
                  <a:lnTo>
                    <a:pt x="1491" y="1298"/>
                  </a:lnTo>
                  <a:lnTo>
                    <a:pt x="1485" y="1298"/>
                  </a:lnTo>
                  <a:lnTo>
                    <a:pt x="1455" y="1252"/>
                  </a:lnTo>
                  <a:lnTo>
                    <a:pt x="1444" y="1231"/>
                  </a:lnTo>
                  <a:lnTo>
                    <a:pt x="1414" y="1211"/>
                  </a:lnTo>
                  <a:lnTo>
                    <a:pt x="1419" y="1179"/>
                  </a:lnTo>
                  <a:lnTo>
                    <a:pt x="1434" y="1160"/>
                  </a:lnTo>
                  <a:lnTo>
                    <a:pt x="1414" y="1138"/>
                  </a:lnTo>
                  <a:lnTo>
                    <a:pt x="1425" y="1113"/>
                  </a:lnTo>
                  <a:lnTo>
                    <a:pt x="1414" y="1083"/>
                  </a:lnTo>
                  <a:lnTo>
                    <a:pt x="1425" y="1067"/>
                  </a:lnTo>
                  <a:lnTo>
                    <a:pt x="1419" y="1051"/>
                  </a:lnTo>
                  <a:lnTo>
                    <a:pt x="1409" y="1037"/>
                  </a:lnTo>
                  <a:lnTo>
                    <a:pt x="1425" y="1010"/>
                  </a:lnTo>
                  <a:lnTo>
                    <a:pt x="1414" y="980"/>
                  </a:lnTo>
                  <a:lnTo>
                    <a:pt x="1425" y="950"/>
                  </a:lnTo>
                  <a:lnTo>
                    <a:pt x="1398" y="923"/>
                  </a:lnTo>
                  <a:lnTo>
                    <a:pt x="1373" y="914"/>
                  </a:lnTo>
                  <a:lnTo>
                    <a:pt x="1357" y="898"/>
                  </a:lnTo>
                  <a:lnTo>
                    <a:pt x="1347" y="857"/>
                  </a:lnTo>
                  <a:lnTo>
                    <a:pt x="1347" y="857"/>
                  </a:lnTo>
                  <a:lnTo>
                    <a:pt x="1332" y="841"/>
                  </a:lnTo>
                  <a:lnTo>
                    <a:pt x="1327" y="834"/>
                  </a:lnTo>
                  <a:lnTo>
                    <a:pt x="1322" y="827"/>
                  </a:lnTo>
                  <a:lnTo>
                    <a:pt x="1302" y="816"/>
                  </a:lnTo>
                  <a:lnTo>
                    <a:pt x="1281" y="786"/>
                  </a:lnTo>
                  <a:lnTo>
                    <a:pt x="1275" y="765"/>
                  </a:lnTo>
                  <a:lnTo>
                    <a:pt x="1256" y="759"/>
                  </a:lnTo>
                  <a:lnTo>
                    <a:pt x="1234" y="781"/>
                  </a:lnTo>
                  <a:lnTo>
                    <a:pt x="1229" y="781"/>
                  </a:lnTo>
                  <a:lnTo>
                    <a:pt x="1210" y="775"/>
                  </a:lnTo>
                  <a:lnTo>
                    <a:pt x="1188" y="775"/>
                  </a:lnTo>
                  <a:lnTo>
                    <a:pt x="1178" y="770"/>
                  </a:lnTo>
                  <a:lnTo>
                    <a:pt x="1194" y="754"/>
                  </a:lnTo>
                  <a:lnTo>
                    <a:pt x="1218" y="735"/>
                  </a:lnTo>
                  <a:lnTo>
                    <a:pt x="1215" y="740"/>
                  </a:lnTo>
                  <a:lnTo>
                    <a:pt x="1188" y="754"/>
                  </a:lnTo>
                  <a:lnTo>
                    <a:pt x="1153" y="765"/>
                  </a:lnTo>
                  <a:lnTo>
                    <a:pt x="1147" y="786"/>
                  </a:lnTo>
                  <a:lnTo>
                    <a:pt x="1122" y="791"/>
                  </a:lnTo>
                  <a:lnTo>
                    <a:pt x="1076" y="791"/>
                  </a:lnTo>
                  <a:lnTo>
                    <a:pt x="1060" y="800"/>
                  </a:lnTo>
                  <a:lnTo>
                    <a:pt x="1030" y="800"/>
                  </a:lnTo>
                  <a:lnTo>
                    <a:pt x="1014" y="811"/>
                  </a:lnTo>
                  <a:lnTo>
                    <a:pt x="994" y="811"/>
                  </a:lnTo>
                  <a:lnTo>
                    <a:pt x="989" y="800"/>
                  </a:lnTo>
                  <a:lnTo>
                    <a:pt x="932" y="800"/>
                  </a:lnTo>
                  <a:lnTo>
                    <a:pt x="913" y="791"/>
                  </a:lnTo>
                  <a:lnTo>
                    <a:pt x="918" y="786"/>
                  </a:lnTo>
                  <a:lnTo>
                    <a:pt x="959" y="786"/>
                  </a:lnTo>
                  <a:lnTo>
                    <a:pt x="978" y="781"/>
                  </a:lnTo>
                  <a:lnTo>
                    <a:pt x="994" y="791"/>
                  </a:lnTo>
                  <a:lnTo>
                    <a:pt x="1009" y="786"/>
                  </a:lnTo>
                  <a:lnTo>
                    <a:pt x="1041" y="781"/>
                  </a:lnTo>
                  <a:lnTo>
                    <a:pt x="1049" y="775"/>
                  </a:lnTo>
                  <a:lnTo>
                    <a:pt x="1071" y="770"/>
                  </a:lnTo>
                  <a:lnTo>
                    <a:pt x="1090" y="749"/>
                  </a:lnTo>
                  <a:lnTo>
                    <a:pt x="1112" y="740"/>
                  </a:lnTo>
                  <a:lnTo>
                    <a:pt x="1090" y="740"/>
                  </a:lnTo>
                  <a:lnTo>
                    <a:pt x="1090" y="735"/>
                  </a:lnTo>
                  <a:lnTo>
                    <a:pt x="1071" y="740"/>
                  </a:lnTo>
                  <a:lnTo>
                    <a:pt x="1082" y="718"/>
                  </a:lnTo>
                  <a:lnTo>
                    <a:pt x="1066" y="724"/>
                  </a:lnTo>
                  <a:lnTo>
                    <a:pt x="1076" y="708"/>
                  </a:lnTo>
                  <a:lnTo>
                    <a:pt x="1055" y="708"/>
                  </a:lnTo>
                  <a:lnTo>
                    <a:pt x="1049" y="704"/>
                  </a:lnTo>
                  <a:lnTo>
                    <a:pt x="1071" y="688"/>
                  </a:lnTo>
                  <a:lnTo>
                    <a:pt x="1087" y="678"/>
                  </a:lnTo>
                  <a:lnTo>
                    <a:pt x="1090" y="663"/>
                  </a:lnTo>
                  <a:lnTo>
                    <a:pt x="1076" y="667"/>
                  </a:lnTo>
                  <a:lnTo>
                    <a:pt x="1090" y="637"/>
                  </a:lnTo>
                  <a:lnTo>
                    <a:pt x="1112" y="621"/>
                  </a:lnTo>
                  <a:lnTo>
                    <a:pt x="1122" y="606"/>
                  </a:lnTo>
                  <a:lnTo>
                    <a:pt x="1142" y="596"/>
                  </a:lnTo>
                  <a:lnTo>
                    <a:pt x="1163" y="590"/>
                  </a:lnTo>
                  <a:lnTo>
                    <a:pt x="1183" y="580"/>
                  </a:lnTo>
                  <a:lnTo>
                    <a:pt x="1194" y="585"/>
                  </a:lnTo>
                  <a:lnTo>
                    <a:pt x="1194" y="596"/>
                  </a:lnTo>
                  <a:lnTo>
                    <a:pt x="1215" y="590"/>
                  </a:lnTo>
                  <a:lnTo>
                    <a:pt x="1210" y="596"/>
                  </a:lnTo>
                  <a:lnTo>
                    <a:pt x="1224" y="596"/>
                  </a:lnTo>
                  <a:lnTo>
                    <a:pt x="1240" y="585"/>
                  </a:lnTo>
                  <a:lnTo>
                    <a:pt x="1240" y="576"/>
                  </a:lnTo>
                  <a:lnTo>
                    <a:pt x="1259" y="571"/>
                  </a:lnTo>
                  <a:lnTo>
                    <a:pt x="1256" y="566"/>
                  </a:lnTo>
                  <a:lnTo>
                    <a:pt x="1240" y="560"/>
                  </a:lnTo>
                  <a:lnTo>
                    <a:pt x="1229" y="566"/>
                  </a:lnTo>
                  <a:lnTo>
                    <a:pt x="1215" y="555"/>
                  </a:lnTo>
                  <a:lnTo>
                    <a:pt x="1215" y="539"/>
                  </a:lnTo>
                  <a:lnTo>
                    <a:pt x="1224" y="530"/>
                  </a:lnTo>
                  <a:lnTo>
                    <a:pt x="1240" y="509"/>
                  </a:lnTo>
                  <a:lnTo>
                    <a:pt x="1259" y="509"/>
                  </a:lnTo>
                  <a:lnTo>
                    <a:pt x="1286" y="514"/>
                  </a:lnTo>
                  <a:lnTo>
                    <a:pt x="1291" y="519"/>
                  </a:lnTo>
                  <a:lnTo>
                    <a:pt x="1270" y="530"/>
                  </a:lnTo>
                  <a:lnTo>
                    <a:pt x="1286" y="544"/>
                  </a:lnTo>
                  <a:lnTo>
                    <a:pt x="1302" y="525"/>
                  </a:lnTo>
                  <a:lnTo>
                    <a:pt x="1306" y="509"/>
                  </a:lnTo>
                  <a:lnTo>
                    <a:pt x="1322" y="493"/>
                  </a:lnTo>
                  <a:lnTo>
                    <a:pt x="1332" y="478"/>
                  </a:lnTo>
                  <a:lnTo>
                    <a:pt x="1338" y="462"/>
                  </a:lnTo>
                  <a:lnTo>
                    <a:pt x="1357" y="457"/>
                  </a:lnTo>
                  <a:lnTo>
                    <a:pt x="1368" y="468"/>
                  </a:lnTo>
                  <a:lnTo>
                    <a:pt x="1387" y="468"/>
                  </a:lnTo>
                  <a:lnTo>
                    <a:pt x="1409" y="457"/>
                  </a:lnTo>
                  <a:lnTo>
                    <a:pt x="1430" y="452"/>
                  </a:lnTo>
                  <a:lnTo>
                    <a:pt x="1439" y="457"/>
                  </a:lnTo>
                  <a:lnTo>
                    <a:pt x="1466" y="462"/>
                  </a:lnTo>
                  <a:lnTo>
                    <a:pt x="1471" y="468"/>
                  </a:lnTo>
                  <a:lnTo>
                    <a:pt x="1485" y="468"/>
                  </a:lnTo>
                  <a:lnTo>
                    <a:pt x="1491" y="484"/>
                  </a:lnTo>
                  <a:lnTo>
                    <a:pt x="1480" y="498"/>
                  </a:lnTo>
                  <a:lnTo>
                    <a:pt x="1491" y="498"/>
                  </a:lnTo>
                  <a:lnTo>
                    <a:pt x="1507" y="509"/>
                  </a:lnTo>
                  <a:lnTo>
                    <a:pt x="1496" y="509"/>
                  </a:lnTo>
                  <a:lnTo>
                    <a:pt x="1507" y="525"/>
                  </a:lnTo>
                  <a:lnTo>
                    <a:pt x="1521" y="530"/>
                  </a:lnTo>
                  <a:lnTo>
                    <a:pt x="1532" y="550"/>
                  </a:lnTo>
                  <a:lnTo>
                    <a:pt x="1553" y="566"/>
                  </a:lnTo>
                  <a:lnTo>
                    <a:pt x="1558" y="576"/>
                  </a:lnTo>
                  <a:lnTo>
                    <a:pt x="1578" y="580"/>
                  </a:lnTo>
                  <a:lnTo>
                    <a:pt x="1588" y="596"/>
                  </a:lnTo>
                  <a:lnTo>
                    <a:pt x="1588" y="596"/>
                  </a:lnTo>
                  <a:lnTo>
                    <a:pt x="1603" y="608"/>
                  </a:lnTo>
                  <a:lnTo>
                    <a:pt x="1606" y="612"/>
                  </a:lnTo>
                  <a:lnTo>
                    <a:pt x="1608" y="617"/>
                  </a:lnTo>
                  <a:lnTo>
                    <a:pt x="1619" y="637"/>
                  </a:lnTo>
                  <a:lnTo>
                    <a:pt x="1629" y="647"/>
                  </a:lnTo>
                  <a:lnTo>
                    <a:pt x="1649" y="642"/>
                  </a:lnTo>
                  <a:lnTo>
                    <a:pt x="1670" y="642"/>
                  </a:lnTo>
                  <a:lnTo>
                    <a:pt x="1690" y="653"/>
                  </a:lnTo>
                  <a:lnTo>
                    <a:pt x="1722" y="647"/>
                  </a:lnTo>
                  <a:lnTo>
                    <a:pt x="1741" y="647"/>
                  </a:lnTo>
                  <a:lnTo>
                    <a:pt x="1741" y="663"/>
                  </a:lnTo>
                  <a:lnTo>
                    <a:pt x="1757" y="658"/>
                  </a:lnTo>
                  <a:lnTo>
                    <a:pt x="1772" y="647"/>
                  </a:lnTo>
                  <a:lnTo>
                    <a:pt x="1782" y="653"/>
                  </a:lnTo>
                  <a:lnTo>
                    <a:pt x="1788" y="678"/>
                  </a:lnTo>
                  <a:lnTo>
                    <a:pt x="1818" y="663"/>
                  </a:lnTo>
                  <a:lnTo>
                    <a:pt x="1804" y="683"/>
                  </a:lnTo>
                  <a:lnTo>
                    <a:pt x="1823" y="683"/>
                  </a:lnTo>
                  <a:lnTo>
                    <a:pt x="1834" y="678"/>
                  </a:lnTo>
                  <a:lnTo>
                    <a:pt x="1855" y="683"/>
                  </a:lnTo>
                  <a:lnTo>
                    <a:pt x="1875" y="704"/>
                  </a:lnTo>
                  <a:lnTo>
                    <a:pt x="1905" y="724"/>
                  </a:lnTo>
                  <a:lnTo>
                    <a:pt x="1926" y="735"/>
                  </a:lnTo>
                  <a:lnTo>
                    <a:pt x="1946" y="735"/>
                  </a:lnTo>
                  <a:lnTo>
                    <a:pt x="1967" y="754"/>
                  </a:lnTo>
                  <a:lnTo>
                    <a:pt x="1937" y="765"/>
                  </a:lnTo>
                  <a:lnTo>
                    <a:pt x="1962" y="781"/>
                  </a:lnTo>
                  <a:lnTo>
                    <a:pt x="2014" y="786"/>
                  </a:lnTo>
                  <a:lnTo>
                    <a:pt x="2033" y="781"/>
                  </a:lnTo>
                  <a:lnTo>
                    <a:pt x="2049" y="800"/>
                  </a:lnTo>
                  <a:lnTo>
                    <a:pt x="2074" y="791"/>
                  </a:lnTo>
                  <a:lnTo>
                    <a:pt x="2060" y="775"/>
                  </a:lnTo>
                  <a:lnTo>
                    <a:pt x="2074" y="765"/>
                  </a:lnTo>
                  <a:lnTo>
                    <a:pt x="2101" y="765"/>
                  </a:lnTo>
                  <a:lnTo>
                    <a:pt x="2115" y="775"/>
                  </a:lnTo>
                  <a:lnTo>
                    <a:pt x="2131" y="795"/>
                  </a:lnTo>
                  <a:lnTo>
                    <a:pt x="2152" y="795"/>
                  </a:lnTo>
                  <a:lnTo>
                    <a:pt x="2183" y="816"/>
                  </a:lnTo>
                  <a:lnTo>
                    <a:pt x="2213" y="816"/>
                  </a:lnTo>
                  <a:lnTo>
                    <a:pt x="2240" y="822"/>
                  </a:lnTo>
                  <a:lnTo>
                    <a:pt x="2240" y="800"/>
                  </a:lnTo>
                  <a:lnTo>
                    <a:pt x="2259" y="795"/>
                  </a:lnTo>
                  <a:lnTo>
                    <a:pt x="2284" y="811"/>
                  </a:lnTo>
                  <a:lnTo>
                    <a:pt x="2280" y="836"/>
                  </a:lnTo>
                  <a:lnTo>
                    <a:pt x="2295" y="816"/>
                  </a:lnTo>
                  <a:lnTo>
                    <a:pt x="2311" y="816"/>
                  </a:lnTo>
                  <a:lnTo>
                    <a:pt x="2327" y="791"/>
                  </a:lnTo>
                  <a:lnTo>
                    <a:pt x="2305" y="770"/>
                  </a:lnTo>
                  <a:lnTo>
                    <a:pt x="2284" y="754"/>
                  </a:lnTo>
                  <a:lnTo>
                    <a:pt x="2289" y="724"/>
                  </a:lnTo>
                  <a:lnTo>
                    <a:pt x="2311" y="704"/>
                  </a:lnTo>
                  <a:lnTo>
                    <a:pt x="2330" y="708"/>
                  </a:lnTo>
                  <a:lnTo>
                    <a:pt x="2352" y="724"/>
                  </a:lnTo>
                  <a:lnTo>
                    <a:pt x="2371" y="754"/>
                  </a:lnTo>
                  <a:lnTo>
                    <a:pt x="2352" y="770"/>
                  </a:lnTo>
                  <a:lnTo>
                    <a:pt x="2387" y="781"/>
                  </a:lnTo>
                  <a:lnTo>
                    <a:pt x="2387" y="806"/>
                  </a:lnTo>
                  <a:lnTo>
                    <a:pt x="2412" y="786"/>
                  </a:lnTo>
                  <a:lnTo>
                    <a:pt x="2433" y="806"/>
                  </a:lnTo>
                  <a:lnTo>
                    <a:pt x="2428" y="827"/>
                  </a:lnTo>
                  <a:lnTo>
                    <a:pt x="2449" y="847"/>
                  </a:lnTo>
                  <a:lnTo>
                    <a:pt x="2469" y="827"/>
                  </a:lnTo>
                  <a:lnTo>
                    <a:pt x="2485" y="806"/>
                  </a:lnTo>
                  <a:lnTo>
                    <a:pt x="2485" y="775"/>
                  </a:lnTo>
                  <a:lnTo>
                    <a:pt x="2485" y="775"/>
                  </a:lnTo>
                  <a:lnTo>
                    <a:pt x="2499" y="775"/>
                  </a:lnTo>
                  <a:lnTo>
                    <a:pt x="2513" y="777"/>
                  </a:lnTo>
                  <a:lnTo>
                    <a:pt x="2526" y="779"/>
                  </a:lnTo>
                  <a:lnTo>
                    <a:pt x="2540" y="781"/>
                  </a:lnTo>
                  <a:lnTo>
                    <a:pt x="2567" y="795"/>
                  </a:lnTo>
                  <a:lnTo>
                    <a:pt x="2572" y="811"/>
                  </a:lnTo>
                  <a:lnTo>
                    <a:pt x="2556" y="827"/>
                  </a:lnTo>
                  <a:lnTo>
                    <a:pt x="2567" y="836"/>
                  </a:lnTo>
                  <a:lnTo>
                    <a:pt x="2561" y="847"/>
                  </a:lnTo>
                  <a:lnTo>
                    <a:pt x="2537" y="852"/>
                  </a:lnTo>
                  <a:lnTo>
                    <a:pt x="2510" y="841"/>
                  </a:lnTo>
                  <a:lnTo>
                    <a:pt x="2505" y="857"/>
                  </a:lnTo>
                  <a:lnTo>
                    <a:pt x="2485" y="877"/>
                  </a:lnTo>
                  <a:lnTo>
                    <a:pt x="2480" y="893"/>
                  </a:lnTo>
                  <a:lnTo>
                    <a:pt x="2458" y="914"/>
                  </a:lnTo>
                  <a:lnTo>
                    <a:pt x="2428" y="914"/>
                  </a:lnTo>
                  <a:lnTo>
                    <a:pt x="2398" y="923"/>
                  </a:lnTo>
                  <a:lnTo>
                    <a:pt x="2398" y="944"/>
                  </a:lnTo>
                  <a:lnTo>
                    <a:pt x="2371" y="950"/>
                  </a:lnTo>
                  <a:lnTo>
                    <a:pt x="2341" y="969"/>
                  </a:lnTo>
                  <a:lnTo>
                    <a:pt x="2316" y="1001"/>
                  </a:lnTo>
                  <a:lnTo>
                    <a:pt x="2300" y="1026"/>
                  </a:lnTo>
                  <a:lnTo>
                    <a:pt x="2295" y="1062"/>
                  </a:lnTo>
                  <a:lnTo>
                    <a:pt x="2330" y="1072"/>
                  </a:lnTo>
                  <a:lnTo>
                    <a:pt x="2341" y="1103"/>
                  </a:lnTo>
                  <a:lnTo>
                    <a:pt x="2352" y="1124"/>
                  </a:lnTo>
                  <a:lnTo>
                    <a:pt x="2387" y="1119"/>
                  </a:lnTo>
                  <a:lnTo>
                    <a:pt x="2439" y="1133"/>
                  </a:lnTo>
                  <a:lnTo>
                    <a:pt x="2464" y="1149"/>
                  </a:lnTo>
                  <a:lnTo>
                    <a:pt x="2485" y="1165"/>
                  </a:lnTo>
                  <a:lnTo>
                    <a:pt x="2515" y="1176"/>
                  </a:lnTo>
                  <a:lnTo>
                    <a:pt x="2540" y="1190"/>
                  </a:lnTo>
                  <a:lnTo>
                    <a:pt x="2540" y="1190"/>
                  </a:lnTo>
                  <a:lnTo>
                    <a:pt x="2577" y="1192"/>
                  </a:lnTo>
                  <a:lnTo>
                    <a:pt x="2595" y="1192"/>
                  </a:lnTo>
                  <a:lnTo>
                    <a:pt x="2613" y="1195"/>
                  </a:lnTo>
                  <a:lnTo>
                    <a:pt x="2613" y="1220"/>
                  </a:lnTo>
                  <a:lnTo>
                    <a:pt x="2627" y="1252"/>
                  </a:lnTo>
                  <a:lnTo>
                    <a:pt x="2649" y="1288"/>
                  </a:lnTo>
                  <a:lnTo>
                    <a:pt x="2695" y="1318"/>
                  </a:lnTo>
                  <a:lnTo>
                    <a:pt x="2714" y="1304"/>
                  </a:lnTo>
                  <a:lnTo>
                    <a:pt x="2725" y="1266"/>
                  </a:lnTo>
                  <a:lnTo>
                    <a:pt x="2706" y="1216"/>
                  </a:lnTo>
                  <a:lnTo>
                    <a:pt x="2684" y="1195"/>
                  </a:lnTo>
                  <a:lnTo>
                    <a:pt x="2725" y="1176"/>
                  </a:lnTo>
                  <a:lnTo>
                    <a:pt x="2746" y="1154"/>
                  </a:lnTo>
                  <a:lnTo>
                    <a:pt x="2755" y="1133"/>
                  </a:lnTo>
                  <a:lnTo>
                    <a:pt x="2752" y="1113"/>
                  </a:lnTo>
                  <a:lnTo>
                    <a:pt x="2730" y="1088"/>
                  </a:lnTo>
                  <a:lnTo>
                    <a:pt x="2700" y="1067"/>
                  </a:lnTo>
                  <a:lnTo>
                    <a:pt x="2720" y="1037"/>
                  </a:lnTo>
                  <a:lnTo>
                    <a:pt x="2700" y="1010"/>
                  </a:lnTo>
                  <a:lnTo>
                    <a:pt x="2679" y="964"/>
                  </a:lnTo>
                  <a:lnTo>
                    <a:pt x="2695" y="955"/>
                  </a:lnTo>
                  <a:lnTo>
                    <a:pt x="2736" y="960"/>
                  </a:lnTo>
                  <a:lnTo>
                    <a:pt x="2755" y="960"/>
                  </a:lnTo>
                  <a:lnTo>
                    <a:pt x="2771" y="950"/>
                  </a:lnTo>
                  <a:lnTo>
                    <a:pt x="2793" y="960"/>
                  </a:lnTo>
                  <a:lnTo>
                    <a:pt x="2823" y="975"/>
                  </a:lnTo>
                  <a:lnTo>
                    <a:pt x="2834" y="985"/>
                  </a:lnTo>
                  <a:lnTo>
                    <a:pt x="2875" y="985"/>
                  </a:lnTo>
                  <a:lnTo>
                    <a:pt x="2883" y="1010"/>
                  </a:lnTo>
                  <a:lnTo>
                    <a:pt x="2905" y="1048"/>
                  </a:lnTo>
                  <a:lnTo>
                    <a:pt x="2924" y="1051"/>
                  </a:lnTo>
                  <a:lnTo>
                    <a:pt x="2946" y="1072"/>
                  </a:lnTo>
                  <a:lnTo>
                    <a:pt x="2971" y="1051"/>
                  </a:lnTo>
                  <a:lnTo>
                    <a:pt x="2981" y="1016"/>
                  </a:lnTo>
                  <a:lnTo>
                    <a:pt x="2992" y="996"/>
                  </a:lnTo>
                  <a:lnTo>
                    <a:pt x="2992" y="996"/>
                  </a:lnTo>
                  <a:lnTo>
                    <a:pt x="3047" y="1044"/>
                  </a:lnTo>
                  <a:lnTo>
                    <a:pt x="3074" y="1069"/>
                  </a:lnTo>
                  <a:lnTo>
                    <a:pt x="3104" y="1092"/>
                  </a:lnTo>
                  <a:lnTo>
                    <a:pt x="3104" y="1113"/>
                  </a:lnTo>
                  <a:lnTo>
                    <a:pt x="3140" y="1129"/>
                  </a:lnTo>
                  <a:lnTo>
                    <a:pt x="3166" y="1144"/>
                  </a:lnTo>
                  <a:lnTo>
                    <a:pt x="3202" y="1144"/>
                  </a:lnTo>
                  <a:lnTo>
                    <a:pt x="3223" y="1154"/>
                  </a:lnTo>
                  <a:lnTo>
                    <a:pt x="3243" y="1179"/>
                  </a:lnTo>
                  <a:lnTo>
                    <a:pt x="3264" y="1179"/>
                  </a:lnTo>
                  <a:lnTo>
                    <a:pt x="3278" y="1190"/>
                  </a:lnTo>
                  <a:lnTo>
                    <a:pt x="3300" y="1225"/>
                  </a:lnTo>
                  <a:lnTo>
                    <a:pt x="3300" y="1225"/>
                  </a:lnTo>
                  <a:lnTo>
                    <a:pt x="3289" y="1241"/>
                  </a:lnTo>
                  <a:lnTo>
                    <a:pt x="3278" y="1257"/>
                  </a:lnTo>
                  <a:lnTo>
                    <a:pt x="3248" y="1277"/>
                  </a:lnTo>
                  <a:lnTo>
                    <a:pt x="3227" y="1307"/>
                  </a:lnTo>
                  <a:lnTo>
                    <a:pt x="3191" y="1323"/>
                  </a:lnTo>
                  <a:lnTo>
                    <a:pt x="3136" y="1323"/>
                  </a:lnTo>
                  <a:lnTo>
                    <a:pt x="3099" y="1329"/>
                  </a:lnTo>
                  <a:lnTo>
                    <a:pt x="3074" y="1334"/>
                  </a:lnTo>
                  <a:lnTo>
                    <a:pt x="3058" y="1359"/>
                  </a:lnTo>
                  <a:lnTo>
                    <a:pt x="3033" y="1380"/>
                  </a:lnTo>
                  <a:lnTo>
                    <a:pt x="3008" y="1432"/>
                  </a:lnTo>
                  <a:lnTo>
                    <a:pt x="2987" y="1467"/>
                  </a:lnTo>
                  <a:lnTo>
                    <a:pt x="3008" y="1457"/>
                  </a:lnTo>
                  <a:lnTo>
                    <a:pt x="3038" y="1405"/>
                  </a:lnTo>
                  <a:lnTo>
                    <a:pt x="3084" y="1369"/>
                  </a:lnTo>
                  <a:lnTo>
                    <a:pt x="3120" y="1359"/>
                  </a:lnTo>
                  <a:lnTo>
                    <a:pt x="3145" y="1375"/>
                  </a:lnTo>
                  <a:lnTo>
                    <a:pt x="3125" y="1400"/>
                  </a:lnTo>
                  <a:lnTo>
                    <a:pt x="3145" y="1435"/>
                  </a:lnTo>
                  <a:lnTo>
                    <a:pt x="3166" y="1457"/>
                  </a:lnTo>
                  <a:lnTo>
                    <a:pt x="3207" y="1473"/>
                  </a:lnTo>
                  <a:lnTo>
                    <a:pt x="3248" y="1457"/>
                  </a:lnTo>
                  <a:lnTo>
                    <a:pt x="3264" y="1416"/>
                  </a:lnTo>
                  <a:lnTo>
                    <a:pt x="3273" y="1435"/>
                  </a:lnTo>
                  <a:lnTo>
                    <a:pt x="3294" y="1446"/>
                  </a:lnTo>
                  <a:lnTo>
                    <a:pt x="3273" y="1473"/>
                  </a:lnTo>
                  <a:lnTo>
                    <a:pt x="3223" y="1503"/>
                  </a:lnTo>
                  <a:lnTo>
                    <a:pt x="3202" y="1522"/>
                  </a:lnTo>
                  <a:lnTo>
                    <a:pt x="3181" y="1549"/>
                  </a:lnTo>
                  <a:lnTo>
                    <a:pt x="3161" y="1549"/>
                  </a:lnTo>
                  <a:lnTo>
                    <a:pt x="3150" y="1522"/>
                  </a:lnTo>
                  <a:lnTo>
                    <a:pt x="3191" y="1487"/>
                  </a:lnTo>
                  <a:lnTo>
                    <a:pt x="3131" y="1508"/>
                  </a:lnTo>
                  <a:lnTo>
                    <a:pt x="3104" y="1517"/>
                  </a:lnTo>
                  <a:lnTo>
                    <a:pt x="3115" y="1528"/>
                  </a:lnTo>
                  <a:lnTo>
                    <a:pt x="3090" y="1549"/>
                  </a:lnTo>
                  <a:lnTo>
                    <a:pt x="3038" y="1579"/>
                  </a:lnTo>
                  <a:lnTo>
                    <a:pt x="3022" y="1595"/>
                  </a:lnTo>
                  <a:lnTo>
                    <a:pt x="3017" y="1601"/>
                  </a:lnTo>
                  <a:lnTo>
                    <a:pt x="3022" y="1620"/>
                  </a:lnTo>
                  <a:lnTo>
                    <a:pt x="3038" y="1642"/>
                  </a:lnTo>
                  <a:lnTo>
                    <a:pt x="3052" y="1642"/>
                  </a:lnTo>
                  <a:lnTo>
                    <a:pt x="3049" y="1631"/>
                  </a:lnTo>
                  <a:lnTo>
                    <a:pt x="3058" y="1642"/>
                  </a:lnTo>
                  <a:lnTo>
                    <a:pt x="3038" y="1650"/>
                  </a:lnTo>
                  <a:lnTo>
                    <a:pt x="3022" y="1650"/>
                  </a:lnTo>
                  <a:lnTo>
                    <a:pt x="3003" y="1656"/>
                  </a:lnTo>
                  <a:lnTo>
                    <a:pt x="3003" y="1656"/>
                  </a:lnTo>
                  <a:lnTo>
                    <a:pt x="2994" y="1659"/>
                  </a:lnTo>
                  <a:lnTo>
                    <a:pt x="2987" y="1661"/>
                  </a:lnTo>
                  <a:lnTo>
                    <a:pt x="2971" y="1661"/>
                  </a:lnTo>
                  <a:lnTo>
                    <a:pt x="2951" y="1677"/>
                  </a:lnTo>
                  <a:lnTo>
                    <a:pt x="2997" y="1666"/>
                  </a:lnTo>
                  <a:lnTo>
                    <a:pt x="3008" y="1672"/>
                  </a:lnTo>
                  <a:lnTo>
                    <a:pt x="2967" y="1688"/>
                  </a:lnTo>
                  <a:lnTo>
                    <a:pt x="2946" y="1688"/>
                  </a:lnTo>
                  <a:lnTo>
                    <a:pt x="2946" y="1682"/>
                  </a:lnTo>
                  <a:lnTo>
                    <a:pt x="2935" y="1691"/>
                  </a:lnTo>
                  <a:lnTo>
                    <a:pt x="2946" y="1691"/>
                  </a:lnTo>
                  <a:lnTo>
                    <a:pt x="2940" y="1718"/>
                  </a:lnTo>
                  <a:lnTo>
                    <a:pt x="2921" y="1754"/>
                  </a:lnTo>
                  <a:lnTo>
                    <a:pt x="2910" y="1743"/>
                  </a:lnTo>
                  <a:lnTo>
                    <a:pt x="2899" y="1743"/>
                  </a:lnTo>
                  <a:lnTo>
                    <a:pt x="2883" y="1732"/>
                  </a:lnTo>
                  <a:lnTo>
                    <a:pt x="2894" y="1754"/>
                  </a:lnTo>
                  <a:lnTo>
                    <a:pt x="2905" y="1759"/>
                  </a:lnTo>
                  <a:lnTo>
                    <a:pt x="2910" y="1773"/>
                  </a:lnTo>
                  <a:lnTo>
                    <a:pt x="2905" y="1789"/>
                  </a:lnTo>
                  <a:lnTo>
                    <a:pt x="2889" y="1819"/>
                  </a:lnTo>
                  <a:lnTo>
                    <a:pt x="2883" y="1819"/>
                  </a:lnTo>
                  <a:lnTo>
                    <a:pt x="2894" y="1794"/>
                  </a:lnTo>
                  <a:lnTo>
                    <a:pt x="2875" y="1778"/>
                  </a:lnTo>
                  <a:lnTo>
                    <a:pt x="2869" y="1743"/>
                  </a:lnTo>
                  <a:lnTo>
                    <a:pt x="2864" y="1764"/>
                  </a:lnTo>
                  <a:lnTo>
                    <a:pt x="2875" y="1784"/>
                  </a:lnTo>
                  <a:lnTo>
                    <a:pt x="2853" y="1778"/>
                  </a:lnTo>
                  <a:lnTo>
                    <a:pt x="2875" y="1789"/>
                  </a:lnTo>
                  <a:lnTo>
                    <a:pt x="2880" y="1825"/>
                  </a:lnTo>
                  <a:lnTo>
                    <a:pt x="2889" y="1825"/>
                  </a:lnTo>
                  <a:lnTo>
                    <a:pt x="2894" y="1841"/>
                  </a:lnTo>
                  <a:lnTo>
                    <a:pt x="2905" y="1876"/>
                  </a:lnTo>
                  <a:lnTo>
                    <a:pt x="2883" y="1901"/>
                  </a:lnTo>
                  <a:lnTo>
                    <a:pt x="2853" y="1917"/>
                  </a:lnTo>
                  <a:lnTo>
                    <a:pt x="2834" y="1939"/>
                  </a:lnTo>
                  <a:lnTo>
                    <a:pt x="2812" y="1947"/>
                  </a:lnTo>
                  <a:lnTo>
                    <a:pt x="2793" y="1963"/>
                  </a:lnTo>
                  <a:lnTo>
                    <a:pt x="2787" y="1979"/>
                  </a:lnTo>
                  <a:lnTo>
                    <a:pt x="2752" y="2004"/>
                  </a:lnTo>
                  <a:lnTo>
                    <a:pt x="2730" y="2026"/>
                  </a:lnTo>
                  <a:lnTo>
                    <a:pt x="2714" y="2045"/>
                  </a:lnTo>
                  <a:lnTo>
                    <a:pt x="2714" y="2072"/>
                  </a:lnTo>
                  <a:lnTo>
                    <a:pt x="2725" y="2097"/>
                  </a:lnTo>
                  <a:lnTo>
                    <a:pt x="2741" y="2127"/>
                  </a:lnTo>
                  <a:lnTo>
                    <a:pt x="2761" y="2154"/>
                  </a:lnTo>
                  <a:lnTo>
                    <a:pt x="2761" y="2173"/>
                  </a:lnTo>
                  <a:lnTo>
                    <a:pt x="2782" y="2220"/>
                  </a:lnTo>
                  <a:lnTo>
                    <a:pt x="2782" y="2260"/>
                  </a:lnTo>
                  <a:lnTo>
                    <a:pt x="2766" y="2285"/>
                  </a:lnTo>
                  <a:lnTo>
                    <a:pt x="2755" y="2291"/>
                  </a:lnTo>
                  <a:lnTo>
                    <a:pt x="2736" y="2285"/>
                  </a:lnTo>
                  <a:lnTo>
                    <a:pt x="2730" y="2266"/>
                  </a:lnTo>
                  <a:lnTo>
                    <a:pt x="2714" y="2255"/>
                  </a:lnTo>
                  <a:lnTo>
                    <a:pt x="2714" y="2255"/>
                  </a:lnTo>
                  <a:lnTo>
                    <a:pt x="2704" y="2241"/>
                  </a:lnTo>
                  <a:lnTo>
                    <a:pt x="2695" y="2225"/>
                  </a:lnTo>
                  <a:lnTo>
                    <a:pt x="2679" y="2195"/>
                  </a:lnTo>
                  <a:lnTo>
                    <a:pt x="2674" y="2179"/>
                  </a:lnTo>
                  <a:lnTo>
                    <a:pt x="2684" y="2154"/>
                  </a:lnTo>
                  <a:lnTo>
                    <a:pt x="2674" y="2132"/>
                  </a:lnTo>
                  <a:lnTo>
                    <a:pt x="2649" y="2102"/>
                  </a:lnTo>
                  <a:lnTo>
                    <a:pt x="2638" y="2102"/>
                  </a:lnTo>
                  <a:lnTo>
                    <a:pt x="2583" y="2113"/>
                  </a:lnTo>
                  <a:lnTo>
                    <a:pt x="2577" y="2113"/>
                  </a:lnTo>
                  <a:lnTo>
                    <a:pt x="2561" y="2097"/>
                  </a:lnTo>
                  <a:lnTo>
                    <a:pt x="2540" y="2086"/>
                  </a:lnTo>
                  <a:lnTo>
                    <a:pt x="2496" y="2091"/>
                  </a:lnTo>
                  <a:lnTo>
                    <a:pt x="2458" y="2086"/>
                  </a:lnTo>
                  <a:lnTo>
                    <a:pt x="2433" y="2086"/>
                  </a:lnTo>
                  <a:lnTo>
                    <a:pt x="2412" y="2091"/>
                  </a:lnTo>
                  <a:lnTo>
                    <a:pt x="2423" y="2102"/>
                  </a:lnTo>
                  <a:lnTo>
                    <a:pt x="2423" y="2116"/>
                  </a:lnTo>
                  <a:lnTo>
                    <a:pt x="2433" y="2127"/>
                  </a:lnTo>
                  <a:lnTo>
                    <a:pt x="2423" y="2132"/>
                  </a:lnTo>
                  <a:lnTo>
                    <a:pt x="2409" y="2122"/>
                  </a:lnTo>
                  <a:lnTo>
                    <a:pt x="2392" y="2127"/>
                  </a:lnTo>
                  <a:lnTo>
                    <a:pt x="2368" y="2127"/>
                  </a:lnTo>
                  <a:lnTo>
                    <a:pt x="2336" y="2102"/>
                  </a:lnTo>
                  <a:lnTo>
                    <a:pt x="2305" y="2107"/>
                  </a:lnTo>
                  <a:lnTo>
                    <a:pt x="2280" y="2102"/>
                  </a:lnTo>
                  <a:lnTo>
                    <a:pt x="2254" y="2102"/>
                  </a:lnTo>
                  <a:lnTo>
                    <a:pt x="2224" y="2113"/>
                  </a:lnTo>
                  <a:lnTo>
                    <a:pt x="2188" y="2138"/>
                  </a:lnTo>
                  <a:lnTo>
                    <a:pt x="2152" y="2154"/>
                  </a:lnTo>
                  <a:lnTo>
                    <a:pt x="2126" y="2168"/>
                  </a:lnTo>
                  <a:lnTo>
                    <a:pt x="2115" y="2189"/>
                  </a:lnTo>
                  <a:lnTo>
                    <a:pt x="2111" y="2214"/>
                  </a:lnTo>
                  <a:lnTo>
                    <a:pt x="2111" y="2236"/>
                  </a:lnTo>
                  <a:lnTo>
                    <a:pt x="2115" y="2250"/>
                  </a:lnTo>
                  <a:lnTo>
                    <a:pt x="2095" y="2282"/>
                  </a:lnTo>
                  <a:lnTo>
                    <a:pt x="2085" y="2307"/>
                  </a:lnTo>
                  <a:lnTo>
                    <a:pt x="2085" y="2358"/>
                  </a:lnTo>
                  <a:lnTo>
                    <a:pt x="2074" y="2378"/>
                  </a:lnTo>
                  <a:lnTo>
                    <a:pt x="2079" y="2399"/>
                  </a:lnTo>
                  <a:lnTo>
                    <a:pt x="2090" y="2419"/>
                  </a:lnTo>
                  <a:lnTo>
                    <a:pt x="2095" y="2451"/>
                  </a:lnTo>
                  <a:lnTo>
                    <a:pt x="2115" y="2481"/>
                  </a:lnTo>
                  <a:lnTo>
                    <a:pt x="2126" y="2501"/>
                  </a:lnTo>
                  <a:lnTo>
                    <a:pt x="2142" y="2522"/>
                  </a:lnTo>
                  <a:lnTo>
                    <a:pt x="2183" y="2538"/>
                  </a:lnTo>
                  <a:lnTo>
                    <a:pt x="2199" y="2557"/>
                  </a:lnTo>
                  <a:lnTo>
                    <a:pt x="2234" y="2547"/>
                  </a:lnTo>
                  <a:lnTo>
                    <a:pt x="2264" y="2541"/>
                  </a:lnTo>
                  <a:lnTo>
                    <a:pt x="2264" y="2541"/>
                  </a:lnTo>
                  <a:lnTo>
                    <a:pt x="2293" y="2536"/>
                  </a:lnTo>
                  <a:lnTo>
                    <a:pt x="2305" y="2533"/>
                  </a:lnTo>
                  <a:lnTo>
                    <a:pt x="2321" y="2533"/>
                  </a:lnTo>
                  <a:lnTo>
                    <a:pt x="2346" y="2517"/>
                  </a:lnTo>
                  <a:lnTo>
                    <a:pt x="2357" y="2497"/>
                  </a:lnTo>
                  <a:lnTo>
                    <a:pt x="2362" y="2465"/>
                  </a:lnTo>
                  <a:lnTo>
                    <a:pt x="2371" y="2456"/>
                  </a:lnTo>
                  <a:lnTo>
                    <a:pt x="2398" y="2445"/>
                  </a:lnTo>
                  <a:lnTo>
                    <a:pt x="2439" y="2435"/>
                  </a:lnTo>
                  <a:lnTo>
                    <a:pt x="2474" y="2435"/>
                  </a:lnTo>
                  <a:lnTo>
                    <a:pt x="2496" y="2429"/>
                  </a:lnTo>
                  <a:lnTo>
                    <a:pt x="2505" y="2440"/>
                  </a:lnTo>
                  <a:lnTo>
                    <a:pt x="2505" y="2460"/>
                  </a:lnTo>
                  <a:lnTo>
                    <a:pt x="2485" y="2481"/>
                  </a:lnTo>
                  <a:lnTo>
                    <a:pt x="2474" y="2501"/>
                  </a:lnTo>
                  <a:lnTo>
                    <a:pt x="2485" y="2506"/>
                  </a:lnTo>
                  <a:lnTo>
                    <a:pt x="2485" y="2506"/>
                  </a:lnTo>
                  <a:lnTo>
                    <a:pt x="2480" y="2518"/>
                  </a:lnTo>
                  <a:lnTo>
                    <a:pt x="2474" y="2529"/>
                  </a:lnTo>
                  <a:lnTo>
                    <a:pt x="2469" y="2541"/>
                  </a:lnTo>
                  <a:lnTo>
                    <a:pt x="2464" y="2552"/>
                  </a:lnTo>
                  <a:lnTo>
                    <a:pt x="2458" y="2538"/>
                  </a:lnTo>
                  <a:lnTo>
                    <a:pt x="2449" y="2538"/>
                  </a:lnTo>
                  <a:lnTo>
                    <a:pt x="2449" y="2541"/>
                  </a:lnTo>
                  <a:lnTo>
                    <a:pt x="2458" y="2541"/>
                  </a:lnTo>
                  <a:lnTo>
                    <a:pt x="2458" y="2552"/>
                  </a:lnTo>
                  <a:lnTo>
                    <a:pt x="2449" y="2573"/>
                  </a:lnTo>
                  <a:lnTo>
                    <a:pt x="2455" y="2579"/>
                  </a:lnTo>
                  <a:lnTo>
                    <a:pt x="2449" y="2593"/>
                  </a:lnTo>
                  <a:lnTo>
                    <a:pt x="2455" y="2598"/>
                  </a:lnTo>
                  <a:lnTo>
                    <a:pt x="2449" y="2620"/>
                  </a:lnTo>
                  <a:lnTo>
                    <a:pt x="2439" y="2629"/>
                  </a:lnTo>
                  <a:lnTo>
                    <a:pt x="2428" y="2629"/>
                  </a:lnTo>
                  <a:lnTo>
                    <a:pt x="2417" y="2645"/>
                  </a:lnTo>
                  <a:lnTo>
                    <a:pt x="2433" y="2655"/>
                  </a:lnTo>
                  <a:lnTo>
                    <a:pt x="2439" y="2650"/>
                  </a:lnTo>
                  <a:lnTo>
                    <a:pt x="2439" y="2650"/>
                  </a:lnTo>
                  <a:lnTo>
                    <a:pt x="2442" y="2653"/>
                  </a:lnTo>
                  <a:lnTo>
                    <a:pt x="2446" y="2653"/>
                  </a:lnTo>
                  <a:lnTo>
                    <a:pt x="2455" y="2655"/>
                  </a:lnTo>
                  <a:lnTo>
                    <a:pt x="2464" y="2650"/>
                  </a:lnTo>
                  <a:lnTo>
                    <a:pt x="2480" y="2650"/>
                  </a:lnTo>
                  <a:lnTo>
                    <a:pt x="2485" y="2655"/>
                  </a:lnTo>
                  <a:lnTo>
                    <a:pt x="2490" y="2655"/>
                  </a:lnTo>
                  <a:lnTo>
                    <a:pt x="2510" y="2661"/>
                  </a:lnTo>
                  <a:lnTo>
                    <a:pt x="2531" y="2661"/>
                  </a:lnTo>
                  <a:lnTo>
                    <a:pt x="2545" y="2655"/>
                  </a:lnTo>
                  <a:lnTo>
                    <a:pt x="2551" y="2650"/>
                  </a:lnTo>
                  <a:lnTo>
                    <a:pt x="2561" y="2650"/>
                  </a:lnTo>
                  <a:lnTo>
                    <a:pt x="2572" y="2655"/>
                  </a:lnTo>
                  <a:lnTo>
                    <a:pt x="2583" y="2655"/>
                  </a:lnTo>
                  <a:lnTo>
                    <a:pt x="2592" y="2650"/>
                  </a:lnTo>
                  <a:lnTo>
                    <a:pt x="2613" y="2655"/>
                  </a:lnTo>
                  <a:lnTo>
                    <a:pt x="2618" y="2655"/>
                  </a:lnTo>
                  <a:lnTo>
                    <a:pt x="2633" y="2666"/>
                  </a:lnTo>
                  <a:lnTo>
                    <a:pt x="2643" y="2675"/>
                  </a:lnTo>
                  <a:lnTo>
                    <a:pt x="2659" y="2680"/>
                  </a:lnTo>
                  <a:lnTo>
                    <a:pt x="2668" y="2691"/>
                  </a:lnTo>
                  <a:lnTo>
                    <a:pt x="2665" y="2696"/>
                  </a:lnTo>
                  <a:lnTo>
                    <a:pt x="2665" y="2707"/>
                  </a:lnTo>
                  <a:lnTo>
                    <a:pt x="2668" y="2721"/>
                  </a:lnTo>
                  <a:lnTo>
                    <a:pt x="2649" y="2716"/>
                  </a:lnTo>
                  <a:lnTo>
                    <a:pt x="2643" y="2732"/>
                  </a:lnTo>
                  <a:lnTo>
                    <a:pt x="2643" y="2783"/>
                  </a:lnTo>
                  <a:lnTo>
                    <a:pt x="2638" y="2789"/>
                  </a:lnTo>
                  <a:lnTo>
                    <a:pt x="2633" y="2808"/>
                  </a:lnTo>
                  <a:lnTo>
                    <a:pt x="2638" y="2819"/>
                  </a:lnTo>
                  <a:lnTo>
                    <a:pt x="2627" y="2819"/>
                  </a:lnTo>
                  <a:lnTo>
                    <a:pt x="2627" y="2830"/>
                  </a:lnTo>
                  <a:lnTo>
                    <a:pt x="2633" y="2835"/>
                  </a:lnTo>
                  <a:lnTo>
                    <a:pt x="2643" y="2854"/>
                  </a:lnTo>
                  <a:lnTo>
                    <a:pt x="2643" y="2854"/>
                  </a:lnTo>
                  <a:lnTo>
                    <a:pt x="2666" y="2876"/>
                  </a:lnTo>
                  <a:lnTo>
                    <a:pt x="2679" y="2886"/>
                  </a:lnTo>
                  <a:lnTo>
                    <a:pt x="2690" y="2901"/>
                  </a:lnTo>
                  <a:lnTo>
                    <a:pt x="2690" y="2911"/>
                  </a:lnTo>
                  <a:lnTo>
                    <a:pt x="2706" y="2911"/>
                  </a:lnTo>
                  <a:lnTo>
                    <a:pt x="2711" y="2906"/>
                  </a:lnTo>
                  <a:lnTo>
                    <a:pt x="2720" y="2917"/>
                  </a:lnTo>
                  <a:lnTo>
                    <a:pt x="2741" y="2911"/>
                  </a:lnTo>
                  <a:lnTo>
                    <a:pt x="2761" y="2901"/>
                  </a:lnTo>
                  <a:lnTo>
                    <a:pt x="2782" y="2890"/>
                  </a:lnTo>
                  <a:lnTo>
                    <a:pt x="2796" y="2876"/>
                  </a:lnTo>
                  <a:lnTo>
                    <a:pt x="2818" y="2876"/>
                  </a:lnTo>
                  <a:lnTo>
                    <a:pt x="2818" y="2881"/>
                  </a:lnTo>
                  <a:lnTo>
                    <a:pt x="2839" y="2881"/>
                  </a:lnTo>
                  <a:lnTo>
                    <a:pt x="2859" y="2885"/>
                  </a:lnTo>
                  <a:lnTo>
                    <a:pt x="2875" y="2895"/>
                  </a:lnTo>
                  <a:lnTo>
                    <a:pt x="2889" y="2906"/>
                  </a:lnTo>
                  <a:lnTo>
                    <a:pt x="2910" y="2906"/>
                  </a:lnTo>
                  <a:lnTo>
                    <a:pt x="2935" y="2881"/>
                  </a:lnTo>
                  <a:lnTo>
                    <a:pt x="2956" y="2876"/>
                  </a:lnTo>
                  <a:lnTo>
                    <a:pt x="2956" y="2860"/>
                  </a:lnTo>
                  <a:lnTo>
                    <a:pt x="2967" y="2830"/>
                  </a:lnTo>
                  <a:lnTo>
                    <a:pt x="2987" y="2808"/>
                  </a:lnTo>
                  <a:lnTo>
                    <a:pt x="3008" y="2803"/>
                  </a:lnTo>
                  <a:lnTo>
                    <a:pt x="3012" y="2794"/>
                  </a:lnTo>
                  <a:lnTo>
                    <a:pt x="3038" y="2794"/>
                  </a:lnTo>
                  <a:lnTo>
                    <a:pt x="3038" y="2794"/>
                  </a:lnTo>
                  <a:lnTo>
                    <a:pt x="3060" y="2778"/>
                  </a:lnTo>
                  <a:lnTo>
                    <a:pt x="3070" y="2771"/>
                  </a:lnTo>
                  <a:lnTo>
                    <a:pt x="3084" y="2762"/>
                  </a:lnTo>
                  <a:lnTo>
                    <a:pt x="3104" y="2742"/>
                  </a:lnTo>
                  <a:lnTo>
                    <a:pt x="3120" y="2742"/>
                  </a:lnTo>
                  <a:lnTo>
                    <a:pt x="3131" y="2753"/>
                  </a:lnTo>
                  <a:lnTo>
                    <a:pt x="3115" y="2767"/>
                  </a:lnTo>
                  <a:lnTo>
                    <a:pt x="3115" y="2778"/>
                  </a:lnTo>
                  <a:lnTo>
                    <a:pt x="3095" y="2783"/>
                  </a:lnTo>
                  <a:lnTo>
                    <a:pt x="3109" y="2803"/>
                  </a:lnTo>
                  <a:lnTo>
                    <a:pt x="3109" y="2819"/>
                  </a:lnTo>
                  <a:lnTo>
                    <a:pt x="3095" y="2849"/>
                  </a:lnTo>
                  <a:lnTo>
                    <a:pt x="3109" y="2876"/>
                  </a:lnTo>
                  <a:lnTo>
                    <a:pt x="3131" y="2870"/>
                  </a:lnTo>
                  <a:lnTo>
                    <a:pt x="3140" y="2844"/>
                  </a:lnTo>
                  <a:lnTo>
                    <a:pt x="3131" y="2830"/>
                  </a:lnTo>
                  <a:lnTo>
                    <a:pt x="3131" y="2803"/>
                  </a:lnTo>
                  <a:lnTo>
                    <a:pt x="3177" y="2783"/>
                  </a:lnTo>
                  <a:lnTo>
                    <a:pt x="3161" y="2767"/>
                  </a:lnTo>
                  <a:lnTo>
                    <a:pt x="3177" y="2753"/>
                  </a:lnTo>
                  <a:lnTo>
                    <a:pt x="3191" y="2778"/>
                  </a:lnTo>
                  <a:lnTo>
                    <a:pt x="3218" y="2778"/>
                  </a:lnTo>
                  <a:lnTo>
                    <a:pt x="3237" y="2798"/>
                  </a:lnTo>
                  <a:lnTo>
                    <a:pt x="3237" y="2814"/>
                  </a:lnTo>
                  <a:lnTo>
                    <a:pt x="3268" y="2808"/>
                  </a:lnTo>
                  <a:lnTo>
                    <a:pt x="3305" y="2798"/>
                  </a:lnTo>
                  <a:lnTo>
                    <a:pt x="3325" y="2814"/>
                  </a:lnTo>
                  <a:lnTo>
                    <a:pt x="3351" y="2814"/>
                  </a:lnTo>
                  <a:lnTo>
                    <a:pt x="3371" y="2798"/>
                  </a:lnTo>
                  <a:lnTo>
                    <a:pt x="3371" y="2789"/>
                  </a:lnTo>
                  <a:lnTo>
                    <a:pt x="3371" y="2789"/>
                  </a:lnTo>
                  <a:lnTo>
                    <a:pt x="3453" y="2773"/>
                  </a:lnTo>
                  <a:lnTo>
                    <a:pt x="3433" y="2794"/>
                  </a:lnTo>
                  <a:lnTo>
                    <a:pt x="3447" y="2814"/>
                  </a:lnTo>
                  <a:lnTo>
                    <a:pt x="3474" y="2814"/>
                  </a:lnTo>
                  <a:lnTo>
                    <a:pt x="3499" y="2830"/>
                  </a:lnTo>
                  <a:lnTo>
                    <a:pt x="3504" y="2854"/>
                  </a:lnTo>
                  <a:lnTo>
                    <a:pt x="3524" y="2849"/>
                  </a:lnTo>
                  <a:lnTo>
                    <a:pt x="3524" y="2849"/>
                  </a:lnTo>
                  <a:lnTo>
                    <a:pt x="3540" y="2858"/>
                  </a:lnTo>
                  <a:lnTo>
                    <a:pt x="3561" y="2870"/>
                  </a:lnTo>
                  <a:lnTo>
                    <a:pt x="3581" y="2890"/>
                  </a:lnTo>
                  <a:lnTo>
                    <a:pt x="3581" y="2911"/>
                  </a:lnTo>
                  <a:lnTo>
                    <a:pt x="3597" y="2911"/>
                  </a:lnTo>
                  <a:lnTo>
                    <a:pt x="3622" y="2936"/>
                  </a:lnTo>
                  <a:lnTo>
                    <a:pt x="3657" y="2936"/>
                  </a:lnTo>
                  <a:lnTo>
                    <a:pt x="3663" y="2926"/>
                  </a:lnTo>
                  <a:lnTo>
                    <a:pt x="3689" y="2917"/>
                  </a:lnTo>
                  <a:lnTo>
                    <a:pt x="3719" y="2922"/>
                  </a:lnTo>
                  <a:lnTo>
                    <a:pt x="3719" y="2922"/>
                  </a:lnTo>
                  <a:lnTo>
                    <a:pt x="3727" y="2922"/>
                  </a:lnTo>
                  <a:lnTo>
                    <a:pt x="3735" y="2924"/>
                  </a:lnTo>
                  <a:lnTo>
                    <a:pt x="3743" y="2926"/>
                  </a:lnTo>
                  <a:lnTo>
                    <a:pt x="3750" y="2926"/>
                  </a:lnTo>
                  <a:lnTo>
                    <a:pt x="3780" y="2947"/>
                  </a:lnTo>
                  <a:lnTo>
                    <a:pt x="3785" y="2963"/>
                  </a:lnTo>
                  <a:lnTo>
                    <a:pt x="3796" y="2958"/>
                  </a:lnTo>
                  <a:lnTo>
                    <a:pt x="3801" y="2977"/>
                  </a:lnTo>
                  <a:lnTo>
                    <a:pt x="3817" y="3039"/>
                  </a:lnTo>
                  <a:lnTo>
                    <a:pt x="3832" y="3039"/>
                  </a:lnTo>
                  <a:lnTo>
                    <a:pt x="3832" y="3064"/>
                  </a:lnTo>
                  <a:lnTo>
                    <a:pt x="3812" y="3100"/>
                  </a:lnTo>
                  <a:lnTo>
                    <a:pt x="3821" y="3111"/>
                  </a:lnTo>
                  <a:lnTo>
                    <a:pt x="3872" y="3100"/>
                  </a:lnTo>
                  <a:lnTo>
                    <a:pt x="3864" y="3137"/>
                  </a:lnTo>
                  <a:lnTo>
                    <a:pt x="3883" y="3105"/>
                  </a:lnTo>
                  <a:lnTo>
                    <a:pt x="3913" y="3111"/>
                  </a:lnTo>
                  <a:lnTo>
                    <a:pt x="3954" y="3121"/>
                  </a:lnTo>
                  <a:lnTo>
                    <a:pt x="3965" y="3141"/>
                  </a:lnTo>
                  <a:lnTo>
                    <a:pt x="3965" y="3162"/>
                  </a:lnTo>
                  <a:lnTo>
                    <a:pt x="3995" y="3141"/>
                  </a:lnTo>
                  <a:lnTo>
                    <a:pt x="4041" y="3141"/>
                  </a:lnTo>
                  <a:lnTo>
                    <a:pt x="4077" y="3127"/>
                  </a:lnTo>
                  <a:lnTo>
                    <a:pt x="4109" y="3141"/>
                  </a:lnTo>
                  <a:lnTo>
                    <a:pt x="4129" y="3167"/>
                  </a:lnTo>
                  <a:lnTo>
                    <a:pt x="4145" y="3173"/>
                  </a:lnTo>
                  <a:lnTo>
                    <a:pt x="4164" y="3162"/>
                  </a:lnTo>
                  <a:lnTo>
                    <a:pt x="4170" y="3173"/>
                  </a:lnTo>
                  <a:lnTo>
                    <a:pt x="4170" y="3203"/>
                  </a:lnTo>
                  <a:lnTo>
                    <a:pt x="4175" y="3203"/>
                  </a:lnTo>
                  <a:lnTo>
                    <a:pt x="4175" y="3224"/>
                  </a:lnTo>
                  <a:lnTo>
                    <a:pt x="4175" y="3224"/>
                  </a:lnTo>
                  <a:close/>
                  <a:moveTo>
                    <a:pt x="3074" y="2533"/>
                  </a:moveTo>
                  <a:lnTo>
                    <a:pt x="3052" y="2538"/>
                  </a:lnTo>
                  <a:lnTo>
                    <a:pt x="3033" y="2538"/>
                  </a:lnTo>
                  <a:lnTo>
                    <a:pt x="3012" y="2547"/>
                  </a:lnTo>
                  <a:lnTo>
                    <a:pt x="2992" y="2533"/>
                  </a:lnTo>
                  <a:lnTo>
                    <a:pt x="2992" y="2517"/>
                  </a:lnTo>
                  <a:lnTo>
                    <a:pt x="2997" y="2517"/>
                  </a:lnTo>
                  <a:lnTo>
                    <a:pt x="2997" y="2517"/>
                  </a:lnTo>
                  <a:lnTo>
                    <a:pt x="3012" y="2518"/>
                  </a:lnTo>
                  <a:lnTo>
                    <a:pt x="3028" y="2520"/>
                  </a:lnTo>
                  <a:lnTo>
                    <a:pt x="3045" y="2522"/>
                  </a:lnTo>
                  <a:lnTo>
                    <a:pt x="3063" y="2522"/>
                  </a:lnTo>
                  <a:lnTo>
                    <a:pt x="3079" y="2511"/>
                  </a:lnTo>
                  <a:lnTo>
                    <a:pt x="3058" y="2497"/>
                  </a:lnTo>
                  <a:lnTo>
                    <a:pt x="3058" y="2481"/>
                  </a:lnTo>
                  <a:lnTo>
                    <a:pt x="3038" y="2476"/>
                  </a:lnTo>
                  <a:lnTo>
                    <a:pt x="3049" y="2465"/>
                  </a:lnTo>
                  <a:lnTo>
                    <a:pt x="3068" y="2465"/>
                  </a:lnTo>
                  <a:lnTo>
                    <a:pt x="3099" y="2470"/>
                  </a:lnTo>
                  <a:lnTo>
                    <a:pt x="3104" y="2465"/>
                  </a:lnTo>
                  <a:lnTo>
                    <a:pt x="3131" y="2460"/>
                  </a:lnTo>
                  <a:lnTo>
                    <a:pt x="3150" y="2470"/>
                  </a:lnTo>
                  <a:lnTo>
                    <a:pt x="3161" y="2470"/>
                  </a:lnTo>
                  <a:lnTo>
                    <a:pt x="3172" y="2486"/>
                  </a:lnTo>
                  <a:lnTo>
                    <a:pt x="3191" y="2481"/>
                  </a:lnTo>
                  <a:lnTo>
                    <a:pt x="3191" y="2497"/>
                  </a:lnTo>
                  <a:lnTo>
                    <a:pt x="3207" y="2497"/>
                  </a:lnTo>
                  <a:lnTo>
                    <a:pt x="3227" y="2511"/>
                  </a:lnTo>
                  <a:lnTo>
                    <a:pt x="3213" y="2533"/>
                  </a:lnTo>
                  <a:lnTo>
                    <a:pt x="3191" y="2527"/>
                  </a:lnTo>
                  <a:lnTo>
                    <a:pt x="3172" y="2533"/>
                  </a:lnTo>
                  <a:lnTo>
                    <a:pt x="3156" y="2533"/>
                  </a:lnTo>
                  <a:lnTo>
                    <a:pt x="3150" y="2541"/>
                  </a:lnTo>
                  <a:lnTo>
                    <a:pt x="3136" y="2547"/>
                  </a:lnTo>
                  <a:lnTo>
                    <a:pt x="3131" y="2522"/>
                  </a:lnTo>
                  <a:lnTo>
                    <a:pt x="3115" y="2527"/>
                  </a:lnTo>
                  <a:lnTo>
                    <a:pt x="3099" y="2552"/>
                  </a:lnTo>
                  <a:lnTo>
                    <a:pt x="3090" y="2547"/>
                  </a:lnTo>
                  <a:lnTo>
                    <a:pt x="3090" y="2538"/>
                  </a:lnTo>
                  <a:lnTo>
                    <a:pt x="3074" y="2533"/>
                  </a:lnTo>
                  <a:close/>
                  <a:moveTo>
                    <a:pt x="2880" y="2451"/>
                  </a:moveTo>
                  <a:lnTo>
                    <a:pt x="2859" y="2451"/>
                  </a:lnTo>
                  <a:lnTo>
                    <a:pt x="2843" y="2440"/>
                  </a:lnTo>
                  <a:lnTo>
                    <a:pt x="2834" y="2419"/>
                  </a:lnTo>
                  <a:lnTo>
                    <a:pt x="2812" y="2419"/>
                  </a:lnTo>
                  <a:lnTo>
                    <a:pt x="2771" y="2410"/>
                  </a:lnTo>
                  <a:lnTo>
                    <a:pt x="2755" y="2399"/>
                  </a:lnTo>
                  <a:lnTo>
                    <a:pt x="2711" y="2399"/>
                  </a:lnTo>
                  <a:lnTo>
                    <a:pt x="2695" y="2388"/>
                  </a:lnTo>
                  <a:lnTo>
                    <a:pt x="2711" y="2378"/>
                  </a:lnTo>
                  <a:lnTo>
                    <a:pt x="2674" y="2378"/>
                  </a:lnTo>
                  <a:lnTo>
                    <a:pt x="2649" y="2399"/>
                  </a:lnTo>
                  <a:lnTo>
                    <a:pt x="2627" y="2399"/>
                  </a:lnTo>
                  <a:lnTo>
                    <a:pt x="2624" y="2410"/>
                  </a:lnTo>
                  <a:lnTo>
                    <a:pt x="2602" y="2413"/>
                  </a:lnTo>
                  <a:lnTo>
                    <a:pt x="2586" y="2410"/>
                  </a:lnTo>
                  <a:lnTo>
                    <a:pt x="2608" y="2394"/>
                  </a:lnTo>
                  <a:lnTo>
                    <a:pt x="2618" y="2378"/>
                  </a:lnTo>
                  <a:lnTo>
                    <a:pt x="2659" y="2358"/>
                  </a:lnTo>
                  <a:lnTo>
                    <a:pt x="2684" y="2353"/>
                  </a:lnTo>
                  <a:lnTo>
                    <a:pt x="2695" y="2348"/>
                  </a:lnTo>
                  <a:lnTo>
                    <a:pt x="2761" y="2348"/>
                  </a:lnTo>
                  <a:lnTo>
                    <a:pt x="2796" y="2364"/>
                  </a:lnTo>
                  <a:lnTo>
                    <a:pt x="2812" y="2378"/>
                  </a:lnTo>
                  <a:lnTo>
                    <a:pt x="2848" y="2372"/>
                  </a:lnTo>
                  <a:lnTo>
                    <a:pt x="2848" y="2372"/>
                  </a:lnTo>
                  <a:lnTo>
                    <a:pt x="2882" y="2396"/>
                  </a:lnTo>
                  <a:lnTo>
                    <a:pt x="2915" y="2419"/>
                  </a:lnTo>
                  <a:lnTo>
                    <a:pt x="2930" y="2419"/>
                  </a:lnTo>
                  <a:lnTo>
                    <a:pt x="2951" y="2424"/>
                  </a:lnTo>
                  <a:lnTo>
                    <a:pt x="2951" y="2435"/>
                  </a:lnTo>
                  <a:lnTo>
                    <a:pt x="2976" y="2435"/>
                  </a:lnTo>
                  <a:lnTo>
                    <a:pt x="3003" y="2451"/>
                  </a:lnTo>
                  <a:lnTo>
                    <a:pt x="2997" y="2460"/>
                  </a:lnTo>
                  <a:lnTo>
                    <a:pt x="2976" y="2465"/>
                  </a:lnTo>
                  <a:lnTo>
                    <a:pt x="2956" y="2481"/>
                  </a:lnTo>
                  <a:lnTo>
                    <a:pt x="2869" y="2481"/>
                  </a:lnTo>
                  <a:lnTo>
                    <a:pt x="2889" y="2460"/>
                  </a:lnTo>
                  <a:lnTo>
                    <a:pt x="2880" y="2451"/>
                  </a:lnTo>
                  <a:close/>
                  <a:moveTo>
                    <a:pt x="1224" y="735"/>
                  </a:moveTo>
                  <a:lnTo>
                    <a:pt x="1224" y="735"/>
                  </a:lnTo>
                  <a:lnTo>
                    <a:pt x="1224" y="735"/>
                  </a:lnTo>
                  <a:lnTo>
                    <a:pt x="1224" y="735"/>
                  </a:lnTo>
                  <a:close/>
                  <a:moveTo>
                    <a:pt x="2746" y="4505"/>
                  </a:moveTo>
                  <a:lnTo>
                    <a:pt x="2725" y="4508"/>
                  </a:lnTo>
                  <a:lnTo>
                    <a:pt x="2711" y="4519"/>
                  </a:lnTo>
                  <a:lnTo>
                    <a:pt x="2690" y="4524"/>
                  </a:lnTo>
                  <a:lnTo>
                    <a:pt x="2668" y="4524"/>
                  </a:lnTo>
                  <a:lnTo>
                    <a:pt x="2649" y="4519"/>
                  </a:lnTo>
                  <a:lnTo>
                    <a:pt x="2627" y="4519"/>
                  </a:lnTo>
                  <a:lnTo>
                    <a:pt x="2643" y="4530"/>
                  </a:lnTo>
                  <a:lnTo>
                    <a:pt x="2665" y="4535"/>
                  </a:lnTo>
                  <a:lnTo>
                    <a:pt x="2695" y="4535"/>
                  </a:lnTo>
                  <a:lnTo>
                    <a:pt x="2711" y="4524"/>
                  </a:lnTo>
                  <a:lnTo>
                    <a:pt x="2711" y="4524"/>
                  </a:lnTo>
                  <a:lnTo>
                    <a:pt x="2746" y="4514"/>
                  </a:lnTo>
                  <a:lnTo>
                    <a:pt x="2746" y="4514"/>
                  </a:lnTo>
                  <a:lnTo>
                    <a:pt x="2750" y="4512"/>
                  </a:lnTo>
                  <a:lnTo>
                    <a:pt x="2754" y="4510"/>
                  </a:lnTo>
                  <a:lnTo>
                    <a:pt x="2761" y="4508"/>
                  </a:lnTo>
                  <a:lnTo>
                    <a:pt x="2761" y="4505"/>
                  </a:lnTo>
                  <a:lnTo>
                    <a:pt x="2746" y="4505"/>
                  </a:lnTo>
                  <a:close/>
                  <a:moveTo>
                    <a:pt x="4001" y="811"/>
                  </a:moveTo>
                  <a:lnTo>
                    <a:pt x="4001" y="811"/>
                  </a:lnTo>
                  <a:lnTo>
                    <a:pt x="4001" y="800"/>
                  </a:lnTo>
                  <a:lnTo>
                    <a:pt x="3986" y="781"/>
                  </a:lnTo>
                  <a:lnTo>
                    <a:pt x="3981" y="775"/>
                  </a:lnTo>
                  <a:lnTo>
                    <a:pt x="3986" y="786"/>
                  </a:lnTo>
                  <a:lnTo>
                    <a:pt x="3986" y="786"/>
                  </a:lnTo>
                  <a:lnTo>
                    <a:pt x="3993" y="797"/>
                  </a:lnTo>
                  <a:lnTo>
                    <a:pt x="4001" y="811"/>
                  </a:lnTo>
                  <a:lnTo>
                    <a:pt x="4001" y="811"/>
                  </a:lnTo>
                  <a:close/>
                  <a:moveTo>
                    <a:pt x="2464" y="498"/>
                  </a:moveTo>
                  <a:lnTo>
                    <a:pt x="2464" y="498"/>
                  </a:lnTo>
                  <a:lnTo>
                    <a:pt x="2449" y="489"/>
                  </a:lnTo>
                  <a:lnTo>
                    <a:pt x="2449" y="493"/>
                  </a:lnTo>
                  <a:lnTo>
                    <a:pt x="2464" y="498"/>
                  </a:lnTo>
                  <a:close/>
                  <a:moveTo>
                    <a:pt x="3602" y="397"/>
                  </a:moveTo>
                  <a:lnTo>
                    <a:pt x="3611" y="402"/>
                  </a:lnTo>
                  <a:lnTo>
                    <a:pt x="3611" y="402"/>
                  </a:lnTo>
                  <a:lnTo>
                    <a:pt x="3609" y="400"/>
                  </a:lnTo>
                  <a:lnTo>
                    <a:pt x="3607" y="398"/>
                  </a:lnTo>
                  <a:lnTo>
                    <a:pt x="3604" y="397"/>
                  </a:lnTo>
                  <a:lnTo>
                    <a:pt x="3602" y="397"/>
                  </a:lnTo>
                  <a:lnTo>
                    <a:pt x="3602" y="397"/>
                  </a:lnTo>
                  <a:close/>
                  <a:moveTo>
                    <a:pt x="4330" y="1304"/>
                  </a:moveTo>
                  <a:lnTo>
                    <a:pt x="4333" y="1298"/>
                  </a:lnTo>
                  <a:lnTo>
                    <a:pt x="4333" y="1293"/>
                  </a:lnTo>
                  <a:lnTo>
                    <a:pt x="4324" y="1266"/>
                  </a:lnTo>
                  <a:lnTo>
                    <a:pt x="4319" y="1247"/>
                  </a:lnTo>
                  <a:lnTo>
                    <a:pt x="4319" y="1247"/>
                  </a:lnTo>
                  <a:lnTo>
                    <a:pt x="4314" y="1236"/>
                  </a:lnTo>
                  <a:lnTo>
                    <a:pt x="4308" y="1225"/>
                  </a:lnTo>
                  <a:lnTo>
                    <a:pt x="4301" y="1202"/>
                  </a:lnTo>
                  <a:lnTo>
                    <a:pt x="4294" y="1177"/>
                  </a:lnTo>
                  <a:lnTo>
                    <a:pt x="4289" y="1154"/>
                  </a:lnTo>
                  <a:lnTo>
                    <a:pt x="4289" y="1154"/>
                  </a:lnTo>
                  <a:lnTo>
                    <a:pt x="4287" y="1149"/>
                  </a:lnTo>
                  <a:lnTo>
                    <a:pt x="4283" y="1144"/>
                  </a:lnTo>
                  <a:lnTo>
                    <a:pt x="4283" y="1144"/>
                  </a:lnTo>
                  <a:lnTo>
                    <a:pt x="4290" y="1160"/>
                  </a:lnTo>
                  <a:lnTo>
                    <a:pt x="4301" y="1176"/>
                  </a:lnTo>
                  <a:lnTo>
                    <a:pt x="4310" y="1190"/>
                  </a:lnTo>
                  <a:lnTo>
                    <a:pt x="4319" y="1206"/>
                  </a:lnTo>
                  <a:lnTo>
                    <a:pt x="4319" y="1206"/>
                  </a:lnTo>
                  <a:lnTo>
                    <a:pt x="4328" y="1220"/>
                  </a:lnTo>
                  <a:lnTo>
                    <a:pt x="4333" y="1229"/>
                  </a:lnTo>
                  <a:lnTo>
                    <a:pt x="4339" y="1236"/>
                  </a:lnTo>
                  <a:lnTo>
                    <a:pt x="4339" y="1236"/>
                  </a:lnTo>
                  <a:lnTo>
                    <a:pt x="4296" y="1158"/>
                  </a:lnTo>
                  <a:lnTo>
                    <a:pt x="4250" y="1081"/>
                  </a:lnTo>
                  <a:lnTo>
                    <a:pt x="4202" y="1007"/>
                  </a:lnTo>
                  <a:lnTo>
                    <a:pt x="4150" y="934"/>
                  </a:lnTo>
                  <a:lnTo>
                    <a:pt x="4150" y="934"/>
                  </a:lnTo>
                  <a:lnTo>
                    <a:pt x="4134" y="914"/>
                  </a:lnTo>
                  <a:lnTo>
                    <a:pt x="4114" y="893"/>
                  </a:lnTo>
                  <a:lnTo>
                    <a:pt x="4114" y="898"/>
                  </a:lnTo>
                  <a:lnTo>
                    <a:pt x="4109" y="898"/>
                  </a:lnTo>
                  <a:lnTo>
                    <a:pt x="4109" y="898"/>
                  </a:lnTo>
                  <a:lnTo>
                    <a:pt x="4113" y="905"/>
                  </a:lnTo>
                  <a:lnTo>
                    <a:pt x="4120" y="912"/>
                  </a:lnTo>
                  <a:lnTo>
                    <a:pt x="4129" y="923"/>
                  </a:lnTo>
                  <a:lnTo>
                    <a:pt x="4129" y="923"/>
                  </a:lnTo>
                  <a:lnTo>
                    <a:pt x="4139" y="939"/>
                  </a:lnTo>
                  <a:lnTo>
                    <a:pt x="4150" y="955"/>
                  </a:lnTo>
                  <a:lnTo>
                    <a:pt x="4150" y="975"/>
                  </a:lnTo>
                  <a:lnTo>
                    <a:pt x="4164" y="1001"/>
                  </a:lnTo>
                  <a:lnTo>
                    <a:pt x="4164" y="1001"/>
                  </a:lnTo>
                  <a:lnTo>
                    <a:pt x="4173" y="1010"/>
                  </a:lnTo>
                  <a:lnTo>
                    <a:pt x="4180" y="1017"/>
                  </a:lnTo>
                  <a:lnTo>
                    <a:pt x="4186" y="1024"/>
                  </a:lnTo>
                  <a:lnTo>
                    <a:pt x="4191" y="1032"/>
                  </a:lnTo>
                  <a:lnTo>
                    <a:pt x="4210" y="1062"/>
                  </a:lnTo>
                  <a:lnTo>
                    <a:pt x="4216" y="1083"/>
                  </a:lnTo>
                  <a:lnTo>
                    <a:pt x="4226" y="1092"/>
                  </a:lnTo>
                  <a:lnTo>
                    <a:pt x="4226" y="1092"/>
                  </a:lnTo>
                  <a:lnTo>
                    <a:pt x="4241" y="1120"/>
                  </a:lnTo>
                  <a:lnTo>
                    <a:pt x="4248" y="1133"/>
                  </a:lnTo>
                  <a:lnTo>
                    <a:pt x="4251" y="1144"/>
                  </a:lnTo>
                  <a:lnTo>
                    <a:pt x="4262" y="1160"/>
                  </a:lnTo>
                  <a:lnTo>
                    <a:pt x="4273" y="1179"/>
                  </a:lnTo>
                  <a:lnTo>
                    <a:pt x="4289" y="1200"/>
                  </a:lnTo>
                  <a:lnTo>
                    <a:pt x="4292" y="1216"/>
                  </a:lnTo>
                  <a:lnTo>
                    <a:pt x="4308" y="1247"/>
                  </a:lnTo>
                  <a:lnTo>
                    <a:pt x="4308" y="1272"/>
                  </a:lnTo>
                  <a:lnTo>
                    <a:pt x="4314" y="1293"/>
                  </a:lnTo>
                  <a:lnTo>
                    <a:pt x="4319" y="1313"/>
                  </a:lnTo>
                  <a:lnTo>
                    <a:pt x="4330" y="1318"/>
                  </a:lnTo>
                  <a:lnTo>
                    <a:pt x="4330" y="1304"/>
                  </a:lnTo>
                  <a:lnTo>
                    <a:pt x="4330" y="1304"/>
                  </a:lnTo>
                  <a:close/>
                  <a:moveTo>
                    <a:pt x="4251" y="1092"/>
                  </a:moveTo>
                  <a:lnTo>
                    <a:pt x="4251" y="1092"/>
                  </a:lnTo>
                  <a:lnTo>
                    <a:pt x="4251" y="1088"/>
                  </a:lnTo>
                  <a:lnTo>
                    <a:pt x="4250" y="1085"/>
                  </a:lnTo>
                  <a:lnTo>
                    <a:pt x="4248" y="1081"/>
                  </a:lnTo>
                  <a:lnTo>
                    <a:pt x="4248" y="1078"/>
                  </a:lnTo>
                  <a:lnTo>
                    <a:pt x="4257" y="1097"/>
                  </a:lnTo>
                  <a:lnTo>
                    <a:pt x="4251" y="1092"/>
                  </a:lnTo>
                  <a:close/>
                  <a:moveTo>
                    <a:pt x="4267" y="1119"/>
                  </a:moveTo>
                  <a:lnTo>
                    <a:pt x="4267" y="1119"/>
                  </a:lnTo>
                  <a:lnTo>
                    <a:pt x="4274" y="1129"/>
                  </a:lnTo>
                  <a:lnTo>
                    <a:pt x="4276" y="1135"/>
                  </a:lnTo>
                  <a:lnTo>
                    <a:pt x="4278" y="1138"/>
                  </a:lnTo>
                  <a:lnTo>
                    <a:pt x="4278" y="1138"/>
                  </a:lnTo>
                  <a:lnTo>
                    <a:pt x="4276" y="1135"/>
                  </a:lnTo>
                  <a:lnTo>
                    <a:pt x="4274" y="1131"/>
                  </a:lnTo>
                  <a:lnTo>
                    <a:pt x="4267" y="1119"/>
                  </a:lnTo>
                  <a:lnTo>
                    <a:pt x="4267" y="1119"/>
                  </a:lnTo>
                  <a:close/>
                </a:path>
              </a:pathLst>
            </a:custGeom>
            <a:solidFill>
              <a:srgbClr val="1F497D">
                <a:lumMod val="20000"/>
                <a:lumOff val="80000"/>
              </a:srgbClr>
            </a:solidFill>
            <a:ln>
              <a:noFill/>
            </a:ln>
          </p:spPr>
          <p:txBody>
            <a:bodyPr vert="horz" wrap="square" lIns="74613" tIns="37307" rIns="74613" bIns="37307" numCol="1" anchor="t" anchorCtr="0" compatLnSpc="1">
              <a:prstTxWarp prst="textNoShape">
                <a:avLst/>
              </a:prstTxWarp>
            </a:bodyPr>
            <a:lstStyle/>
            <a:p>
              <a:pPr defTabSz="746150">
                <a:defRPr/>
              </a:pPr>
              <a:endParaRPr lang="en-US" sz="1469" kern="0">
                <a:solidFill>
                  <a:srgbClr val="676767"/>
                </a:solidFill>
                <a:latin typeface="+mj-lt"/>
              </a:endParaRPr>
            </a:p>
          </p:txBody>
        </p:sp>
      </p:grpSp>
      <p:grpSp>
        <p:nvGrpSpPr>
          <p:cNvPr id="454" name="Group 251"/>
          <p:cNvGrpSpPr/>
          <p:nvPr/>
        </p:nvGrpSpPr>
        <p:grpSpPr>
          <a:xfrm>
            <a:off x="5876225" y="2488593"/>
            <a:ext cx="442630" cy="442630"/>
            <a:chOff x="5741788" y="7262255"/>
            <a:chExt cx="527846" cy="527846"/>
          </a:xfrm>
        </p:grpSpPr>
        <p:sp>
          <p:nvSpPr>
            <p:cNvPr id="455" name="Oval 252"/>
            <p:cNvSpPr/>
            <p:nvPr/>
          </p:nvSpPr>
          <p:spPr>
            <a:xfrm>
              <a:off x="5741788" y="7262255"/>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6" name="Freeform 180"/>
            <p:cNvSpPr>
              <a:spLocks/>
            </p:cNvSpPr>
            <p:nvPr/>
          </p:nvSpPr>
          <p:spPr bwMode="auto">
            <a:xfrm>
              <a:off x="5873278" y="7357913"/>
              <a:ext cx="272142" cy="27637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7" name="Group 254"/>
          <p:cNvGrpSpPr/>
          <p:nvPr/>
        </p:nvGrpSpPr>
        <p:grpSpPr>
          <a:xfrm>
            <a:off x="6561886" y="1850640"/>
            <a:ext cx="442630" cy="442630"/>
            <a:chOff x="5822061" y="8844472"/>
            <a:chExt cx="527846" cy="527846"/>
          </a:xfrm>
        </p:grpSpPr>
        <p:sp>
          <p:nvSpPr>
            <p:cNvPr id="458" name="Oval 255"/>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9"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60" name="Group 257"/>
          <p:cNvGrpSpPr/>
          <p:nvPr/>
        </p:nvGrpSpPr>
        <p:grpSpPr>
          <a:xfrm>
            <a:off x="7263505" y="2436508"/>
            <a:ext cx="442630" cy="442630"/>
            <a:chOff x="5822061" y="8844472"/>
            <a:chExt cx="527846" cy="527846"/>
          </a:xfrm>
        </p:grpSpPr>
        <p:sp>
          <p:nvSpPr>
            <p:cNvPr id="461" name="Oval 286"/>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2"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63" name="Group 288"/>
          <p:cNvGrpSpPr/>
          <p:nvPr/>
        </p:nvGrpSpPr>
        <p:grpSpPr>
          <a:xfrm>
            <a:off x="6532067" y="2978045"/>
            <a:ext cx="442630" cy="442630"/>
            <a:chOff x="5822061" y="8844472"/>
            <a:chExt cx="527846" cy="527846"/>
          </a:xfrm>
        </p:grpSpPr>
        <p:sp>
          <p:nvSpPr>
            <p:cNvPr id="464" name="Oval 289"/>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5"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66" name="Group 291"/>
          <p:cNvGrpSpPr/>
          <p:nvPr/>
        </p:nvGrpSpPr>
        <p:grpSpPr>
          <a:xfrm>
            <a:off x="7381772" y="3338072"/>
            <a:ext cx="442630" cy="442630"/>
            <a:chOff x="5822061" y="8844472"/>
            <a:chExt cx="527846" cy="527846"/>
          </a:xfrm>
        </p:grpSpPr>
        <p:sp>
          <p:nvSpPr>
            <p:cNvPr id="467" name="Oval 292"/>
            <p:cNvSpPr/>
            <p:nvPr/>
          </p:nvSpPr>
          <p:spPr>
            <a:xfrm>
              <a:off x="5822061" y="8844472"/>
              <a:ext cx="527846" cy="52784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8" name="Freeform 11"/>
            <p:cNvSpPr>
              <a:spLocks noEditPoints="1"/>
            </p:cNvSpPr>
            <p:nvPr/>
          </p:nvSpPr>
          <p:spPr bwMode="auto">
            <a:xfrm>
              <a:off x="5961388" y="8981756"/>
              <a:ext cx="299233" cy="259629"/>
            </a:xfrm>
            <a:custGeom>
              <a:avLst/>
              <a:gdLst>
                <a:gd name="T0" fmla="*/ 0 w 1428"/>
                <a:gd name="T1" fmla="*/ 174 h 1239"/>
                <a:gd name="T2" fmla="*/ 449 w 1428"/>
                <a:gd name="T3" fmla="*/ 1236 h 1239"/>
                <a:gd name="T4" fmla="*/ 1422 w 1428"/>
                <a:gd name="T5" fmla="*/ 869 h 1239"/>
                <a:gd name="T6" fmla="*/ 1410 w 1428"/>
                <a:gd name="T7" fmla="*/ 225 h 1239"/>
                <a:gd name="T8" fmla="*/ 140 w 1428"/>
                <a:gd name="T9" fmla="*/ 950 h 1239"/>
                <a:gd name="T10" fmla="*/ 20 w 1428"/>
                <a:gd name="T11" fmla="*/ 734 h 1239"/>
                <a:gd name="T12" fmla="*/ 142 w 1428"/>
                <a:gd name="T13" fmla="*/ 756 h 1239"/>
                <a:gd name="T14" fmla="*/ 137 w 1428"/>
                <a:gd name="T15" fmla="*/ 683 h 1239"/>
                <a:gd name="T16" fmla="*/ 20 w 1428"/>
                <a:gd name="T17" fmla="*/ 654 h 1239"/>
                <a:gd name="T18" fmla="*/ 135 w 1428"/>
                <a:gd name="T19" fmla="*/ 484 h 1239"/>
                <a:gd name="T20" fmla="*/ 142 w 1428"/>
                <a:gd name="T21" fmla="*/ 411 h 1239"/>
                <a:gd name="T22" fmla="*/ 22 w 1428"/>
                <a:gd name="T23" fmla="*/ 421 h 1239"/>
                <a:gd name="T24" fmla="*/ 132 w 1428"/>
                <a:gd name="T25" fmla="*/ 216 h 1239"/>
                <a:gd name="T26" fmla="*/ 209 w 1428"/>
                <a:gd name="T27" fmla="*/ 203 h 1239"/>
                <a:gd name="T28" fmla="*/ 383 w 1428"/>
                <a:gd name="T29" fmla="*/ 154 h 1239"/>
                <a:gd name="T30" fmla="*/ 220 w 1428"/>
                <a:gd name="T31" fmla="*/ 408 h 1239"/>
                <a:gd name="T32" fmla="*/ 209 w 1428"/>
                <a:gd name="T33" fmla="*/ 203 h 1239"/>
                <a:gd name="T34" fmla="*/ 377 w 1428"/>
                <a:gd name="T35" fmla="*/ 487 h 1239"/>
                <a:gd name="T36" fmla="*/ 384 w 1428"/>
                <a:gd name="T37" fmla="*/ 727 h 1239"/>
                <a:gd name="T38" fmla="*/ 210 w 1428"/>
                <a:gd name="T39" fmla="*/ 693 h 1239"/>
                <a:gd name="T40" fmla="*/ 380 w 1428"/>
                <a:gd name="T41" fmla="*/ 1062 h 1239"/>
                <a:gd name="T42" fmla="*/ 209 w 1428"/>
                <a:gd name="T43" fmla="*/ 787 h 1239"/>
                <a:gd name="T44" fmla="*/ 383 w 1428"/>
                <a:gd name="T45" fmla="*/ 822 h 1239"/>
                <a:gd name="T46" fmla="*/ 903 w 1428"/>
                <a:gd name="T47" fmla="*/ 1051 h 1239"/>
                <a:gd name="T48" fmla="*/ 607 w 1428"/>
                <a:gd name="T49" fmla="*/ 1153 h 1239"/>
                <a:gd name="T50" fmla="*/ 895 w 1428"/>
                <a:gd name="T51" fmla="*/ 759 h 1239"/>
                <a:gd name="T52" fmla="*/ 1382 w 1428"/>
                <a:gd name="T53" fmla="*/ 866 h 1239"/>
                <a:gd name="T54" fmla="*/ 1247 w 1428"/>
                <a:gd name="T55" fmla="*/ 916 h 1239"/>
                <a:gd name="T56" fmla="*/ 1370 w 1428"/>
                <a:gd name="T57" fmla="*/ 668 h 1239"/>
                <a:gd name="T58" fmla="*/ 1334 w 1428"/>
                <a:gd name="T59" fmla="*/ 302 h 1239"/>
                <a:gd name="T60" fmla="*/ 1406 w 1428"/>
                <a:gd name="T61" fmla="*/ 306 h 1239"/>
                <a:gd name="T62" fmla="*/ 1399 w 1428"/>
                <a:gd name="T63" fmla="*/ 442 h 1239"/>
                <a:gd name="T64" fmla="*/ 1334 w 1428"/>
                <a:gd name="T65" fmla="*/ 302 h 1239"/>
                <a:gd name="T66" fmla="*/ 1401 w 1428"/>
                <a:gd name="T67" fmla="*/ 483 h 1239"/>
                <a:gd name="T68" fmla="*/ 1403 w 1428"/>
                <a:gd name="T69" fmla="*/ 620 h 1239"/>
                <a:gd name="T70" fmla="*/ 1335 w 1428"/>
                <a:gd name="T71" fmla="*/ 623 h 1239"/>
                <a:gd name="T72" fmla="*/ 1219 w 1428"/>
                <a:gd name="T73" fmla="*/ 269 h 1239"/>
                <a:gd name="T74" fmla="*/ 1293 w 1428"/>
                <a:gd name="T75" fmla="*/ 429 h 1239"/>
                <a:gd name="T76" fmla="*/ 1211 w 1428"/>
                <a:gd name="T77" fmla="*/ 428 h 1239"/>
                <a:gd name="T78" fmla="*/ 1213 w 1428"/>
                <a:gd name="T79" fmla="*/ 484 h 1239"/>
                <a:gd name="T80" fmla="*/ 1295 w 1428"/>
                <a:gd name="T81" fmla="*/ 627 h 1239"/>
                <a:gd name="T82" fmla="*/ 1218 w 1428"/>
                <a:gd name="T83" fmla="*/ 645 h 1239"/>
                <a:gd name="T84" fmla="*/ 1045 w 1428"/>
                <a:gd name="T85" fmla="*/ 244 h 1239"/>
                <a:gd name="T86" fmla="*/ 1150 w 1428"/>
                <a:gd name="T87" fmla="*/ 261 h 1239"/>
                <a:gd name="T88" fmla="*/ 1140 w 1428"/>
                <a:gd name="T89" fmla="*/ 427 h 1239"/>
                <a:gd name="T90" fmla="*/ 996 w 1428"/>
                <a:gd name="T91" fmla="*/ 748 h 1239"/>
                <a:gd name="T92" fmla="*/ 1187 w 1428"/>
                <a:gd name="T93" fmla="*/ 706 h 1239"/>
                <a:gd name="T94" fmla="*/ 1009 w 1428"/>
                <a:gd name="T95" fmla="*/ 1010 h 1239"/>
                <a:gd name="T96" fmla="*/ 996 w 1428"/>
                <a:gd name="T97" fmla="*/ 748 h 1239"/>
                <a:gd name="T98" fmla="*/ 955 w 1428"/>
                <a:gd name="T99" fmla="*/ 220 h 1239"/>
                <a:gd name="T100" fmla="*/ 959 w 1428"/>
                <a:gd name="T101" fmla="*/ 414 h 1239"/>
                <a:gd name="T102" fmla="*/ 825 w 1428"/>
                <a:gd name="T103" fmla="*/ 400 h 1239"/>
                <a:gd name="T104" fmla="*/ 952 w 1428"/>
                <a:gd name="T105" fmla="*/ 484 h 1239"/>
                <a:gd name="T106" fmla="*/ 961 w 1428"/>
                <a:gd name="T107" fmla="*/ 676 h 1239"/>
                <a:gd name="T108" fmla="*/ 829 w 1428"/>
                <a:gd name="T109" fmla="*/ 693 h 1239"/>
                <a:gd name="T110" fmla="*/ 526 w 1428"/>
                <a:gd name="T111" fmla="*/ 143 h 1239"/>
                <a:gd name="T112" fmla="*/ 706 w 1428"/>
                <a:gd name="T113" fmla="*/ 391 h 1239"/>
                <a:gd name="T114" fmla="*/ 529 w 1428"/>
                <a:gd name="T115" fmla="*/ 391 h 1239"/>
                <a:gd name="T116" fmla="*/ 522 w 1428"/>
                <a:gd name="T117" fmla="*/ 490 h 1239"/>
                <a:gd name="T118" fmla="*/ 706 w 1428"/>
                <a:gd name="T119" fmla="*/ 495 h 1239"/>
                <a:gd name="T120" fmla="*/ 529 w 1428"/>
                <a:gd name="T121" fmla="*/ 735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28" h="1239">
                  <a:moveTo>
                    <a:pt x="310" y="45"/>
                  </a:moveTo>
                  <a:lnTo>
                    <a:pt x="189" y="84"/>
                  </a:lnTo>
                  <a:lnTo>
                    <a:pt x="189" y="86"/>
                  </a:lnTo>
                  <a:lnTo>
                    <a:pt x="20" y="146"/>
                  </a:lnTo>
                  <a:lnTo>
                    <a:pt x="20" y="146"/>
                  </a:lnTo>
                  <a:lnTo>
                    <a:pt x="11" y="150"/>
                  </a:lnTo>
                  <a:lnTo>
                    <a:pt x="6" y="156"/>
                  </a:lnTo>
                  <a:lnTo>
                    <a:pt x="1" y="164"/>
                  </a:lnTo>
                  <a:lnTo>
                    <a:pt x="0" y="174"/>
                  </a:lnTo>
                  <a:lnTo>
                    <a:pt x="0" y="974"/>
                  </a:lnTo>
                  <a:lnTo>
                    <a:pt x="0" y="974"/>
                  </a:lnTo>
                  <a:lnTo>
                    <a:pt x="1" y="982"/>
                  </a:lnTo>
                  <a:lnTo>
                    <a:pt x="4" y="989"/>
                  </a:lnTo>
                  <a:lnTo>
                    <a:pt x="8" y="995"/>
                  </a:lnTo>
                  <a:lnTo>
                    <a:pt x="15" y="1000"/>
                  </a:lnTo>
                  <a:lnTo>
                    <a:pt x="445" y="1235"/>
                  </a:lnTo>
                  <a:lnTo>
                    <a:pt x="445" y="1235"/>
                  </a:lnTo>
                  <a:lnTo>
                    <a:pt x="449" y="1236"/>
                  </a:lnTo>
                  <a:lnTo>
                    <a:pt x="454" y="1239"/>
                  </a:lnTo>
                  <a:lnTo>
                    <a:pt x="454" y="1239"/>
                  </a:lnTo>
                  <a:lnTo>
                    <a:pt x="462" y="1239"/>
                  </a:lnTo>
                  <a:lnTo>
                    <a:pt x="466" y="1238"/>
                  </a:lnTo>
                  <a:lnTo>
                    <a:pt x="470" y="1238"/>
                  </a:lnTo>
                  <a:lnTo>
                    <a:pt x="1408" y="880"/>
                  </a:lnTo>
                  <a:lnTo>
                    <a:pt x="1408" y="880"/>
                  </a:lnTo>
                  <a:lnTo>
                    <a:pt x="1417" y="876"/>
                  </a:lnTo>
                  <a:lnTo>
                    <a:pt x="1422" y="869"/>
                  </a:lnTo>
                  <a:lnTo>
                    <a:pt x="1427" y="860"/>
                  </a:lnTo>
                  <a:lnTo>
                    <a:pt x="1428" y="852"/>
                  </a:lnTo>
                  <a:lnTo>
                    <a:pt x="1428" y="253"/>
                  </a:lnTo>
                  <a:lnTo>
                    <a:pt x="1428" y="253"/>
                  </a:lnTo>
                  <a:lnTo>
                    <a:pt x="1427" y="247"/>
                  </a:lnTo>
                  <a:lnTo>
                    <a:pt x="1427" y="243"/>
                  </a:lnTo>
                  <a:lnTo>
                    <a:pt x="1421" y="233"/>
                  </a:lnTo>
                  <a:lnTo>
                    <a:pt x="1414" y="227"/>
                  </a:lnTo>
                  <a:lnTo>
                    <a:pt x="1410" y="225"/>
                  </a:lnTo>
                  <a:lnTo>
                    <a:pt x="1406" y="223"/>
                  </a:lnTo>
                  <a:lnTo>
                    <a:pt x="1326" y="203"/>
                  </a:lnTo>
                  <a:lnTo>
                    <a:pt x="462" y="0"/>
                  </a:lnTo>
                  <a:lnTo>
                    <a:pt x="310" y="45"/>
                  </a:lnTo>
                  <a:close/>
                  <a:moveTo>
                    <a:pt x="144" y="942"/>
                  </a:moveTo>
                  <a:lnTo>
                    <a:pt x="144" y="942"/>
                  </a:lnTo>
                  <a:lnTo>
                    <a:pt x="143" y="947"/>
                  </a:lnTo>
                  <a:lnTo>
                    <a:pt x="140" y="950"/>
                  </a:lnTo>
                  <a:lnTo>
                    <a:pt x="140" y="950"/>
                  </a:lnTo>
                  <a:lnTo>
                    <a:pt x="135" y="951"/>
                  </a:lnTo>
                  <a:lnTo>
                    <a:pt x="135" y="951"/>
                  </a:lnTo>
                  <a:lnTo>
                    <a:pt x="130" y="951"/>
                  </a:lnTo>
                  <a:lnTo>
                    <a:pt x="25" y="902"/>
                  </a:lnTo>
                  <a:lnTo>
                    <a:pt x="25" y="902"/>
                  </a:lnTo>
                  <a:lnTo>
                    <a:pt x="21" y="899"/>
                  </a:lnTo>
                  <a:lnTo>
                    <a:pt x="20" y="894"/>
                  </a:lnTo>
                  <a:lnTo>
                    <a:pt x="20" y="734"/>
                  </a:lnTo>
                  <a:lnTo>
                    <a:pt x="20" y="734"/>
                  </a:lnTo>
                  <a:lnTo>
                    <a:pt x="21" y="730"/>
                  </a:lnTo>
                  <a:lnTo>
                    <a:pt x="24" y="725"/>
                  </a:lnTo>
                  <a:lnTo>
                    <a:pt x="24" y="725"/>
                  </a:lnTo>
                  <a:lnTo>
                    <a:pt x="28" y="724"/>
                  </a:lnTo>
                  <a:lnTo>
                    <a:pt x="32" y="724"/>
                  </a:lnTo>
                  <a:lnTo>
                    <a:pt x="137" y="754"/>
                  </a:lnTo>
                  <a:lnTo>
                    <a:pt x="137" y="754"/>
                  </a:lnTo>
                  <a:lnTo>
                    <a:pt x="140" y="755"/>
                  </a:lnTo>
                  <a:lnTo>
                    <a:pt x="142" y="756"/>
                  </a:lnTo>
                  <a:lnTo>
                    <a:pt x="144" y="759"/>
                  </a:lnTo>
                  <a:lnTo>
                    <a:pt x="144" y="763"/>
                  </a:lnTo>
                  <a:lnTo>
                    <a:pt x="144" y="942"/>
                  </a:lnTo>
                  <a:close/>
                  <a:moveTo>
                    <a:pt x="144" y="674"/>
                  </a:moveTo>
                  <a:lnTo>
                    <a:pt x="144" y="674"/>
                  </a:lnTo>
                  <a:lnTo>
                    <a:pt x="143" y="678"/>
                  </a:lnTo>
                  <a:lnTo>
                    <a:pt x="140" y="681"/>
                  </a:lnTo>
                  <a:lnTo>
                    <a:pt x="140" y="681"/>
                  </a:lnTo>
                  <a:lnTo>
                    <a:pt x="137" y="683"/>
                  </a:lnTo>
                  <a:lnTo>
                    <a:pt x="135" y="683"/>
                  </a:lnTo>
                  <a:lnTo>
                    <a:pt x="135" y="683"/>
                  </a:lnTo>
                  <a:lnTo>
                    <a:pt x="133" y="683"/>
                  </a:lnTo>
                  <a:lnTo>
                    <a:pt x="28" y="664"/>
                  </a:lnTo>
                  <a:lnTo>
                    <a:pt x="28" y="664"/>
                  </a:lnTo>
                  <a:lnTo>
                    <a:pt x="25" y="662"/>
                  </a:lnTo>
                  <a:lnTo>
                    <a:pt x="22" y="659"/>
                  </a:lnTo>
                  <a:lnTo>
                    <a:pt x="21" y="657"/>
                  </a:lnTo>
                  <a:lnTo>
                    <a:pt x="20" y="654"/>
                  </a:lnTo>
                  <a:lnTo>
                    <a:pt x="20" y="494"/>
                  </a:lnTo>
                  <a:lnTo>
                    <a:pt x="20" y="494"/>
                  </a:lnTo>
                  <a:lnTo>
                    <a:pt x="21" y="490"/>
                  </a:lnTo>
                  <a:lnTo>
                    <a:pt x="22" y="487"/>
                  </a:lnTo>
                  <a:lnTo>
                    <a:pt x="22" y="487"/>
                  </a:lnTo>
                  <a:lnTo>
                    <a:pt x="27" y="484"/>
                  </a:lnTo>
                  <a:lnTo>
                    <a:pt x="29" y="484"/>
                  </a:lnTo>
                  <a:lnTo>
                    <a:pt x="135" y="484"/>
                  </a:lnTo>
                  <a:lnTo>
                    <a:pt x="135" y="484"/>
                  </a:lnTo>
                  <a:lnTo>
                    <a:pt x="139" y="485"/>
                  </a:lnTo>
                  <a:lnTo>
                    <a:pt x="142" y="487"/>
                  </a:lnTo>
                  <a:lnTo>
                    <a:pt x="143" y="491"/>
                  </a:lnTo>
                  <a:lnTo>
                    <a:pt x="144" y="494"/>
                  </a:lnTo>
                  <a:lnTo>
                    <a:pt x="144" y="674"/>
                  </a:lnTo>
                  <a:close/>
                  <a:moveTo>
                    <a:pt x="144" y="406"/>
                  </a:moveTo>
                  <a:lnTo>
                    <a:pt x="144" y="406"/>
                  </a:lnTo>
                  <a:lnTo>
                    <a:pt x="143" y="408"/>
                  </a:lnTo>
                  <a:lnTo>
                    <a:pt x="142" y="411"/>
                  </a:lnTo>
                  <a:lnTo>
                    <a:pt x="139" y="414"/>
                  </a:lnTo>
                  <a:lnTo>
                    <a:pt x="136" y="415"/>
                  </a:lnTo>
                  <a:lnTo>
                    <a:pt x="31" y="424"/>
                  </a:lnTo>
                  <a:lnTo>
                    <a:pt x="31" y="424"/>
                  </a:lnTo>
                  <a:lnTo>
                    <a:pt x="29" y="424"/>
                  </a:lnTo>
                  <a:lnTo>
                    <a:pt x="29" y="424"/>
                  </a:lnTo>
                  <a:lnTo>
                    <a:pt x="27" y="422"/>
                  </a:lnTo>
                  <a:lnTo>
                    <a:pt x="22" y="421"/>
                  </a:lnTo>
                  <a:lnTo>
                    <a:pt x="22" y="421"/>
                  </a:lnTo>
                  <a:lnTo>
                    <a:pt x="21" y="418"/>
                  </a:lnTo>
                  <a:lnTo>
                    <a:pt x="20" y="414"/>
                  </a:lnTo>
                  <a:lnTo>
                    <a:pt x="20" y="254"/>
                  </a:lnTo>
                  <a:lnTo>
                    <a:pt x="20" y="254"/>
                  </a:lnTo>
                  <a:lnTo>
                    <a:pt x="21" y="250"/>
                  </a:lnTo>
                  <a:lnTo>
                    <a:pt x="22" y="247"/>
                  </a:lnTo>
                  <a:lnTo>
                    <a:pt x="24" y="246"/>
                  </a:lnTo>
                  <a:lnTo>
                    <a:pt x="27" y="244"/>
                  </a:lnTo>
                  <a:lnTo>
                    <a:pt x="132" y="216"/>
                  </a:lnTo>
                  <a:lnTo>
                    <a:pt x="132" y="216"/>
                  </a:lnTo>
                  <a:lnTo>
                    <a:pt x="136" y="216"/>
                  </a:lnTo>
                  <a:lnTo>
                    <a:pt x="140" y="217"/>
                  </a:lnTo>
                  <a:lnTo>
                    <a:pt x="140" y="217"/>
                  </a:lnTo>
                  <a:lnTo>
                    <a:pt x="143" y="222"/>
                  </a:lnTo>
                  <a:lnTo>
                    <a:pt x="144" y="226"/>
                  </a:lnTo>
                  <a:lnTo>
                    <a:pt x="144" y="406"/>
                  </a:lnTo>
                  <a:close/>
                  <a:moveTo>
                    <a:pt x="209" y="203"/>
                  </a:moveTo>
                  <a:lnTo>
                    <a:pt x="209" y="203"/>
                  </a:lnTo>
                  <a:lnTo>
                    <a:pt x="210" y="201"/>
                  </a:lnTo>
                  <a:lnTo>
                    <a:pt x="212" y="198"/>
                  </a:lnTo>
                  <a:lnTo>
                    <a:pt x="213" y="195"/>
                  </a:lnTo>
                  <a:lnTo>
                    <a:pt x="217" y="194"/>
                  </a:lnTo>
                  <a:lnTo>
                    <a:pt x="375" y="153"/>
                  </a:lnTo>
                  <a:lnTo>
                    <a:pt x="375" y="153"/>
                  </a:lnTo>
                  <a:lnTo>
                    <a:pt x="379" y="153"/>
                  </a:lnTo>
                  <a:lnTo>
                    <a:pt x="383" y="154"/>
                  </a:lnTo>
                  <a:lnTo>
                    <a:pt x="383" y="154"/>
                  </a:lnTo>
                  <a:lnTo>
                    <a:pt x="386" y="157"/>
                  </a:lnTo>
                  <a:lnTo>
                    <a:pt x="387" y="163"/>
                  </a:lnTo>
                  <a:lnTo>
                    <a:pt x="387" y="384"/>
                  </a:lnTo>
                  <a:lnTo>
                    <a:pt x="387" y="384"/>
                  </a:lnTo>
                  <a:lnTo>
                    <a:pt x="387" y="389"/>
                  </a:lnTo>
                  <a:lnTo>
                    <a:pt x="384" y="391"/>
                  </a:lnTo>
                  <a:lnTo>
                    <a:pt x="382" y="394"/>
                  </a:lnTo>
                  <a:lnTo>
                    <a:pt x="379" y="394"/>
                  </a:lnTo>
                  <a:lnTo>
                    <a:pt x="220" y="408"/>
                  </a:lnTo>
                  <a:lnTo>
                    <a:pt x="220" y="408"/>
                  </a:lnTo>
                  <a:lnTo>
                    <a:pt x="219" y="408"/>
                  </a:lnTo>
                  <a:lnTo>
                    <a:pt x="219" y="408"/>
                  </a:lnTo>
                  <a:lnTo>
                    <a:pt x="216" y="407"/>
                  </a:lnTo>
                  <a:lnTo>
                    <a:pt x="212" y="406"/>
                  </a:lnTo>
                  <a:lnTo>
                    <a:pt x="212" y="406"/>
                  </a:lnTo>
                  <a:lnTo>
                    <a:pt x="210" y="401"/>
                  </a:lnTo>
                  <a:lnTo>
                    <a:pt x="209" y="399"/>
                  </a:lnTo>
                  <a:lnTo>
                    <a:pt x="209" y="203"/>
                  </a:lnTo>
                  <a:close/>
                  <a:moveTo>
                    <a:pt x="209" y="495"/>
                  </a:moveTo>
                  <a:lnTo>
                    <a:pt x="209" y="495"/>
                  </a:lnTo>
                  <a:lnTo>
                    <a:pt x="210" y="493"/>
                  </a:lnTo>
                  <a:lnTo>
                    <a:pt x="212" y="488"/>
                  </a:lnTo>
                  <a:lnTo>
                    <a:pt x="212" y="488"/>
                  </a:lnTo>
                  <a:lnTo>
                    <a:pt x="216" y="487"/>
                  </a:lnTo>
                  <a:lnTo>
                    <a:pt x="219" y="485"/>
                  </a:lnTo>
                  <a:lnTo>
                    <a:pt x="377" y="487"/>
                  </a:lnTo>
                  <a:lnTo>
                    <a:pt x="377" y="487"/>
                  </a:lnTo>
                  <a:lnTo>
                    <a:pt x="382" y="487"/>
                  </a:lnTo>
                  <a:lnTo>
                    <a:pt x="384" y="490"/>
                  </a:lnTo>
                  <a:lnTo>
                    <a:pt x="387" y="493"/>
                  </a:lnTo>
                  <a:lnTo>
                    <a:pt x="387" y="497"/>
                  </a:lnTo>
                  <a:lnTo>
                    <a:pt x="387" y="718"/>
                  </a:lnTo>
                  <a:lnTo>
                    <a:pt x="387" y="718"/>
                  </a:lnTo>
                  <a:lnTo>
                    <a:pt x="386" y="723"/>
                  </a:lnTo>
                  <a:lnTo>
                    <a:pt x="384" y="727"/>
                  </a:lnTo>
                  <a:lnTo>
                    <a:pt x="384" y="727"/>
                  </a:lnTo>
                  <a:lnTo>
                    <a:pt x="382" y="728"/>
                  </a:lnTo>
                  <a:lnTo>
                    <a:pt x="377" y="728"/>
                  </a:lnTo>
                  <a:lnTo>
                    <a:pt x="377" y="728"/>
                  </a:lnTo>
                  <a:lnTo>
                    <a:pt x="376" y="728"/>
                  </a:lnTo>
                  <a:lnTo>
                    <a:pt x="217" y="699"/>
                  </a:lnTo>
                  <a:lnTo>
                    <a:pt x="217" y="699"/>
                  </a:lnTo>
                  <a:lnTo>
                    <a:pt x="215" y="697"/>
                  </a:lnTo>
                  <a:lnTo>
                    <a:pt x="212" y="696"/>
                  </a:lnTo>
                  <a:lnTo>
                    <a:pt x="210" y="693"/>
                  </a:lnTo>
                  <a:lnTo>
                    <a:pt x="209" y="689"/>
                  </a:lnTo>
                  <a:lnTo>
                    <a:pt x="209" y="495"/>
                  </a:lnTo>
                  <a:close/>
                  <a:moveTo>
                    <a:pt x="387" y="1054"/>
                  </a:moveTo>
                  <a:lnTo>
                    <a:pt x="387" y="1054"/>
                  </a:lnTo>
                  <a:lnTo>
                    <a:pt x="387" y="1054"/>
                  </a:lnTo>
                  <a:lnTo>
                    <a:pt x="386" y="1058"/>
                  </a:lnTo>
                  <a:lnTo>
                    <a:pt x="383" y="1061"/>
                  </a:lnTo>
                  <a:lnTo>
                    <a:pt x="383" y="1061"/>
                  </a:lnTo>
                  <a:lnTo>
                    <a:pt x="380" y="1062"/>
                  </a:lnTo>
                  <a:lnTo>
                    <a:pt x="377" y="1064"/>
                  </a:lnTo>
                  <a:lnTo>
                    <a:pt x="377" y="1064"/>
                  </a:lnTo>
                  <a:lnTo>
                    <a:pt x="373" y="1062"/>
                  </a:lnTo>
                  <a:lnTo>
                    <a:pt x="215" y="989"/>
                  </a:lnTo>
                  <a:lnTo>
                    <a:pt x="215" y="989"/>
                  </a:lnTo>
                  <a:lnTo>
                    <a:pt x="213" y="988"/>
                  </a:lnTo>
                  <a:lnTo>
                    <a:pt x="210" y="986"/>
                  </a:lnTo>
                  <a:lnTo>
                    <a:pt x="209" y="981"/>
                  </a:lnTo>
                  <a:lnTo>
                    <a:pt x="209" y="787"/>
                  </a:lnTo>
                  <a:lnTo>
                    <a:pt x="209" y="787"/>
                  </a:lnTo>
                  <a:lnTo>
                    <a:pt x="210" y="782"/>
                  </a:lnTo>
                  <a:lnTo>
                    <a:pt x="213" y="779"/>
                  </a:lnTo>
                  <a:lnTo>
                    <a:pt x="213" y="779"/>
                  </a:lnTo>
                  <a:lnTo>
                    <a:pt x="217" y="777"/>
                  </a:lnTo>
                  <a:lnTo>
                    <a:pt x="222" y="777"/>
                  </a:lnTo>
                  <a:lnTo>
                    <a:pt x="380" y="821"/>
                  </a:lnTo>
                  <a:lnTo>
                    <a:pt x="380" y="821"/>
                  </a:lnTo>
                  <a:lnTo>
                    <a:pt x="383" y="822"/>
                  </a:lnTo>
                  <a:lnTo>
                    <a:pt x="386" y="825"/>
                  </a:lnTo>
                  <a:lnTo>
                    <a:pt x="387" y="828"/>
                  </a:lnTo>
                  <a:lnTo>
                    <a:pt x="387" y="831"/>
                  </a:lnTo>
                  <a:lnTo>
                    <a:pt x="387" y="1054"/>
                  </a:lnTo>
                  <a:close/>
                  <a:moveTo>
                    <a:pt x="906" y="1043"/>
                  </a:moveTo>
                  <a:lnTo>
                    <a:pt x="906" y="1043"/>
                  </a:lnTo>
                  <a:lnTo>
                    <a:pt x="906" y="1045"/>
                  </a:lnTo>
                  <a:lnTo>
                    <a:pt x="905" y="1048"/>
                  </a:lnTo>
                  <a:lnTo>
                    <a:pt x="903" y="1051"/>
                  </a:lnTo>
                  <a:lnTo>
                    <a:pt x="901" y="1052"/>
                  </a:lnTo>
                  <a:lnTo>
                    <a:pt x="620" y="1159"/>
                  </a:lnTo>
                  <a:lnTo>
                    <a:pt x="620" y="1159"/>
                  </a:lnTo>
                  <a:lnTo>
                    <a:pt x="617" y="1159"/>
                  </a:lnTo>
                  <a:lnTo>
                    <a:pt x="617" y="1159"/>
                  </a:lnTo>
                  <a:lnTo>
                    <a:pt x="614" y="1159"/>
                  </a:lnTo>
                  <a:lnTo>
                    <a:pt x="612" y="1158"/>
                  </a:lnTo>
                  <a:lnTo>
                    <a:pt x="612" y="1158"/>
                  </a:lnTo>
                  <a:lnTo>
                    <a:pt x="607" y="1153"/>
                  </a:lnTo>
                  <a:lnTo>
                    <a:pt x="607" y="1149"/>
                  </a:lnTo>
                  <a:lnTo>
                    <a:pt x="607" y="822"/>
                  </a:lnTo>
                  <a:lnTo>
                    <a:pt x="607" y="822"/>
                  </a:lnTo>
                  <a:lnTo>
                    <a:pt x="607" y="819"/>
                  </a:lnTo>
                  <a:lnTo>
                    <a:pt x="609" y="817"/>
                  </a:lnTo>
                  <a:lnTo>
                    <a:pt x="612" y="814"/>
                  </a:lnTo>
                  <a:lnTo>
                    <a:pt x="614" y="812"/>
                  </a:lnTo>
                  <a:lnTo>
                    <a:pt x="895" y="759"/>
                  </a:lnTo>
                  <a:lnTo>
                    <a:pt x="895" y="759"/>
                  </a:lnTo>
                  <a:lnTo>
                    <a:pt x="899" y="759"/>
                  </a:lnTo>
                  <a:lnTo>
                    <a:pt x="903" y="761"/>
                  </a:lnTo>
                  <a:lnTo>
                    <a:pt x="903" y="761"/>
                  </a:lnTo>
                  <a:lnTo>
                    <a:pt x="906" y="765"/>
                  </a:lnTo>
                  <a:lnTo>
                    <a:pt x="906" y="769"/>
                  </a:lnTo>
                  <a:lnTo>
                    <a:pt x="906" y="1043"/>
                  </a:lnTo>
                  <a:close/>
                  <a:moveTo>
                    <a:pt x="1382" y="862"/>
                  </a:moveTo>
                  <a:lnTo>
                    <a:pt x="1382" y="862"/>
                  </a:lnTo>
                  <a:lnTo>
                    <a:pt x="1382" y="866"/>
                  </a:lnTo>
                  <a:lnTo>
                    <a:pt x="1380" y="867"/>
                  </a:lnTo>
                  <a:lnTo>
                    <a:pt x="1376" y="871"/>
                  </a:lnTo>
                  <a:lnTo>
                    <a:pt x="1255" y="918"/>
                  </a:lnTo>
                  <a:lnTo>
                    <a:pt x="1255" y="918"/>
                  </a:lnTo>
                  <a:lnTo>
                    <a:pt x="1253" y="918"/>
                  </a:lnTo>
                  <a:lnTo>
                    <a:pt x="1253" y="918"/>
                  </a:lnTo>
                  <a:lnTo>
                    <a:pt x="1250" y="918"/>
                  </a:lnTo>
                  <a:lnTo>
                    <a:pt x="1247" y="916"/>
                  </a:lnTo>
                  <a:lnTo>
                    <a:pt x="1247" y="916"/>
                  </a:lnTo>
                  <a:lnTo>
                    <a:pt x="1243" y="912"/>
                  </a:lnTo>
                  <a:lnTo>
                    <a:pt x="1243" y="908"/>
                  </a:lnTo>
                  <a:lnTo>
                    <a:pt x="1243" y="700"/>
                  </a:lnTo>
                  <a:lnTo>
                    <a:pt x="1243" y="700"/>
                  </a:lnTo>
                  <a:lnTo>
                    <a:pt x="1243" y="697"/>
                  </a:lnTo>
                  <a:lnTo>
                    <a:pt x="1244" y="693"/>
                  </a:lnTo>
                  <a:lnTo>
                    <a:pt x="1247" y="692"/>
                  </a:lnTo>
                  <a:lnTo>
                    <a:pt x="1250" y="690"/>
                  </a:lnTo>
                  <a:lnTo>
                    <a:pt x="1370" y="668"/>
                  </a:lnTo>
                  <a:lnTo>
                    <a:pt x="1370" y="668"/>
                  </a:lnTo>
                  <a:lnTo>
                    <a:pt x="1375" y="668"/>
                  </a:lnTo>
                  <a:lnTo>
                    <a:pt x="1379" y="669"/>
                  </a:lnTo>
                  <a:lnTo>
                    <a:pt x="1379" y="669"/>
                  </a:lnTo>
                  <a:lnTo>
                    <a:pt x="1382" y="674"/>
                  </a:lnTo>
                  <a:lnTo>
                    <a:pt x="1382" y="676"/>
                  </a:lnTo>
                  <a:lnTo>
                    <a:pt x="1382" y="862"/>
                  </a:lnTo>
                  <a:close/>
                  <a:moveTo>
                    <a:pt x="1334" y="302"/>
                  </a:moveTo>
                  <a:lnTo>
                    <a:pt x="1334" y="302"/>
                  </a:lnTo>
                  <a:lnTo>
                    <a:pt x="1335" y="297"/>
                  </a:lnTo>
                  <a:lnTo>
                    <a:pt x="1338" y="295"/>
                  </a:lnTo>
                  <a:lnTo>
                    <a:pt x="1338" y="295"/>
                  </a:lnTo>
                  <a:lnTo>
                    <a:pt x="1342" y="292"/>
                  </a:lnTo>
                  <a:lnTo>
                    <a:pt x="1347" y="292"/>
                  </a:lnTo>
                  <a:lnTo>
                    <a:pt x="1400" y="302"/>
                  </a:lnTo>
                  <a:lnTo>
                    <a:pt x="1400" y="302"/>
                  </a:lnTo>
                  <a:lnTo>
                    <a:pt x="1403" y="303"/>
                  </a:lnTo>
                  <a:lnTo>
                    <a:pt x="1406" y="306"/>
                  </a:lnTo>
                  <a:lnTo>
                    <a:pt x="1407" y="309"/>
                  </a:lnTo>
                  <a:lnTo>
                    <a:pt x="1408" y="312"/>
                  </a:lnTo>
                  <a:lnTo>
                    <a:pt x="1408" y="432"/>
                  </a:lnTo>
                  <a:lnTo>
                    <a:pt x="1408" y="432"/>
                  </a:lnTo>
                  <a:lnTo>
                    <a:pt x="1407" y="436"/>
                  </a:lnTo>
                  <a:lnTo>
                    <a:pt x="1406" y="439"/>
                  </a:lnTo>
                  <a:lnTo>
                    <a:pt x="1406" y="439"/>
                  </a:lnTo>
                  <a:lnTo>
                    <a:pt x="1401" y="441"/>
                  </a:lnTo>
                  <a:lnTo>
                    <a:pt x="1399" y="442"/>
                  </a:lnTo>
                  <a:lnTo>
                    <a:pt x="1399" y="442"/>
                  </a:lnTo>
                  <a:lnTo>
                    <a:pt x="1397" y="442"/>
                  </a:lnTo>
                  <a:lnTo>
                    <a:pt x="1344" y="439"/>
                  </a:lnTo>
                  <a:lnTo>
                    <a:pt x="1344" y="439"/>
                  </a:lnTo>
                  <a:lnTo>
                    <a:pt x="1340" y="438"/>
                  </a:lnTo>
                  <a:lnTo>
                    <a:pt x="1337" y="435"/>
                  </a:lnTo>
                  <a:lnTo>
                    <a:pt x="1335" y="432"/>
                  </a:lnTo>
                  <a:lnTo>
                    <a:pt x="1334" y="429"/>
                  </a:lnTo>
                  <a:lnTo>
                    <a:pt x="1334" y="302"/>
                  </a:lnTo>
                  <a:close/>
                  <a:moveTo>
                    <a:pt x="1334" y="493"/>
                  </a:moveTo>
                  <a:lnTo>
                    <a:pt x="1334" y="493"/>
                  </a:lnTo>
                  <a:lnTo>
                    <a:pt x="1335" y="488"/>
                  </a:lnTo>
                  <a:lnTo>
                    <a:pt x="1338" y="485"/>
                  </a:lnTo>
                  <a:lnTo>
                    <a:pt x="1341" y="483"/>
                  </a:lnTo>
                  <a:lnTo>
                    <a:pt x="1344" y="483"/>
                  </a:lnTo>
                  <a:lnTo>
                    <a:pt x="1399" y="483"/>
                  </a:lnTo>
                  <a:lnTo>
                    <a:pt x="1399" y="483"/>
                  </a:lnTo>
                  <a:lnTo>
                    <a:pt x="1401" y="483"/>
                  </a:lnTo>
                  <a:lnTo>
                    <a:pt x="1406" y="485"/>
                  </a:lnTo>
                  <a:lnTo>
                    <a:pt x="1406" y="485"/>
                  </a:lnTo>
                  <a:lnTo>
                    <a:pt x="1407" y="488"/>
                  </a:lnTo>
                  <a:lnTo>
                    <a:pt x="1408" y="493"/>
                  </a:lnTo>
                  <a:lnTo>
                    <a:pt x="1408" y="612"/>
                  </a:lnTo>
                  <a:lnTo>
                    <a:pt x="1408" y="612"/>
                  </a:lnTo>
                  <a:lnTo>
                    <a:pt x="1407" y="616"/>
                  </a:lnTo>
                  <a:lnTo>
                    <a:pt x="1406" y="619"/>
                  </a:lnTo>
                  <a:lnTo>
                    <a:pt x="1403" y="620"/>
                  </a:lnTo>
                  <a:lnTo>
                    <a:pt x="1399" y="622"/>
                  </a:lnTo>
                  <a:lnTo>
                    <a:pt x="1345" y="629"/>
                  </a:lnTo>
                  <a:lnTo>
                    <a:pt x="1345" y="629"/>
                  </a:lnTo>
                  <a:lnTo>
                    <a:pt x="1344" y="629"/>
                  </a:lnTo>
                  <a:lnTo>
                    <a:pt x="1344" y="629"/>
                  </a:lnTo>
                  <a:lnTo>
                    <a:pt x="1341" y="629"/>
                  </a:lnTo>
                  <a:lnTo>
                    <a:pt x="1338" y="627"/>
                  </a:lnTo>
                  <a:lnTo>
                    <a:pt x="1338" y="627"/>
                  </a:lnTo>
                  <a:lnTo>
                    <a:pt x="1335" y="623"/>
                  </a:lnTo>
                  <a:lnTo>
                    <a:pt x="1334" y="619"/>
                  </a:lnTo>
                  <a:lnTo>
                    <a:pt x="1334" y="493"/>
                  </a:lnTo>
                  <a:close/>
                  <a:moveTo>
                    <a:pt x="1208" y="279"/>
                  </a:moveTo>
                  <a:lnTo>
                    <a:pt x="1208" y="279"/>
                  </a:lnTo>
                  <a:lnTo>
                    <a:pt x="1208" y="275"/>
                  </a:lnTo>
                  <a:lnTo>
                    <a:pt x="1211" y="271"/>
                  </a:lnTo>
                  <a:lnTo>
                    <a:pt x="1211" y="271"/>
                  </a:lnTo>
                  <a:lnTo>
                    <a:pt x="1215" y="269"/>
                  </a:lnTo>
                  <a:lnTo>
                    <a:pt x="1219" y="269"/>
                  </a:lnTo>
                  <a:lnTo>
                    <a:pt x="1286" y="282"/>
                  </a:lnTo>
                  <a:lnTo>
                    <a:pt x="1286" y="282"/>
                  </a:lnTo>
                  <a:lnTo>
                    <a:pt x="1289" y="282"/>
                  </a:lnTo>
                  <a:lnTo>
                    <a:pt x="1292" y="285"/>
                  </a:lnTo>
                  <a:lnTo>
                    <a:pt x="1293" y="288"/>
                  </a:lnTo>
                  <a:lnTo>
                    <a:pt x="1295" y="292"/>
                  </a:lnTo>
                  <a:lnTo>
                    <a:pt x="1295" y="425"/>
                  </a:lnTo>
                  <a:lnTo>
                    <a:pt x="1295" y="425"/>
                  </a:lnTo>
                  <a:lnTo>
                    <a:pt x="1293" y="429"/>
                  </a:lnTo>
                  <a:lnTo>
                    <a:pt x="1292" y="432"/>
                  </a:lnTo>
                  <a:lnTo>
                    <a:pt x="1292" y="432"/>
                  </a:lnTo>
                  <a:lnTo>
                    <a:pt x="1289" y="435"/>
                  </a:lnTo>
                  <a:lnTo>
                    <a:pt x="1285" y="435"/>
                  </a:lnTo>
                  <a:lnTo>
                    <a:pt x="1285" y="435"/>
                  </a:lnTo>
                  <a:lnTo>
                    <a:pt x="1216" y="431"/>
                  </a:lnTo>
                  <a:lnTo>
                    <a:pt x="1216" y="431"/>
                  </a:lnTo>
                  <a:lnTo>
                    <a:pt x="1213" y="431"/>
                  </a:lnTo>
                  <a:lnTo>
                    <a:pt x="1211" y="428"/>
                  </a:lnTo>
                  <a:lnTo>
                    <a:pt x="1208" y="425"/>
                  </a:lnTo>
                  <a:lnTo>
                    <a:pt x="1208" y="421"/>
                  </a:lnTo>
                  <a:lnTo>
                    <a:pt x="1208" y="279"/>
                  </a:lnTo>
                  <a:close/>
                  <a:moveTo>
                    <a:pt x="1208" y="493"/>
                  </a:moveTo>
                  <a:lnTo>
                    <a:pt x="1208" y="493"/>
                  </a:lnTo>
                  <a:lnTo>
                    <a:pt x="1208" y="490"/>
                  </a:lnTo>
                  <a:lnTo>
                    <a:pt x="1211" y="485"/>
                  </a:lnTo>
                  <a:lnTo>
                    <a:pt x="1211" y="485"/>
                  </a:lnTo>
                  <a:lnTo>
                    <a:pt x="1213" y="484"/>
                  </a:lnTo>
                  <a:lnTo>
                    <a:pt x="1218" y="483"/>
                  </a:lnTo>
                  <a:lnTo>
                    <a:pt x="1218" y="483"/>
                  </a:lnTo>
                  <a:lnTo>
                    <a:pt x="1285" y="483"/>
                  </a:lnTo>
                  <a:lnTo>
                    <a:pt x="1285" y="483"/>
                  </a:lnTo>
                  <a:lnTo>
                    <a:pt x="1289" y="484"/>
                  </a:lnTo>
                  <a:lnTo>
                    <a:pt x="1292" y="485"/>
                  </a:lnTo>
                  <a:lnTo>
                    <a:pt x="1293" y="490"/>
                  </a:lnTo>
                  <a:lnTo>
                    <a:pt x="1295" y="493"/>
                  </a:lnTo>
                  <a:lnTo>
                    <a:pt x="1295" y="627"/>
                  </a:lnTo>
                  <a:lnTo>
                    <a:pt x="1295" y="627"/>
                  </a:lnTo>
                  <a:lnTo>
                    <a:pt x="1293" y="630"/>
                  </a:lnTo>
                  <a:lnTo>
                    <a:pt x="1292" y="633"/>
                  </a:lnTo>
                  <a:lnTo>
                    <a:pt x="1289" y="636"/>
                  </a:lnTo>
                  <a:lnTo>
                    <a:pt x="1286" y="637"/>
                  </a:lnTo>
                  <a:lnTo>
                    <a:pt x="1219" y="645"/>
                  </a:lnTo>
                  <a:lnTo>
                    <a:pt x="1219" y="645"/>
                  </a:lnTo>
                  <a:lnTo>
                    <a:pt x="1218" y="645"/>
                  </a:lnTo>
                  <a:lnTo>
                    <a:pt x="1218" y="645"/>
                  </a:lnTo>
                  <a:lnTo>
                    <a:pt x="1213" y="645"/>
                  </a:lnTo>
                  <a:lnTo>
                    <a:pt x="1211" y="643"/>
                  </a:lnTo>
                  <a:lnTo>
                    <a:pt x="1211" y="643"/>
                  </a:lnTo>
                  <a:lnTo>
                    <a:pt x="1208" y="640"/>
                  </a:lnTo>
                  <a:lnTo>
                    <a:pt x="1208" y="636"/>
                  </a:lnTo>
                  <a:lnTo>
                    <a:pt x="1208" y="493"/>
                  </a:lnTo>
                  <a:close/>
                  <a:moveTo>
                    <a:pt x="1044" y="248"/>
                  </a:moveTo>
                  <a:lnTo>
                    <a:pt x="1044" y="248"/>
                  </a:lnTo>
                  <a:lnTo>
                    <a:pt x="1045" y="244"/>
                  </a:lnTo>
                  <a:lnTo>
                    <a:pt x="1048" y="241"/>
                  </a:lnTo>
                  <a:lnTo>
                    <a:pt x="1048" y="241"/>
                  </a:lnTo>
                  <a:lnTo>
                    <a:pt x="1051" y="240"/>
                  </a:lnTo>
                  <a:lnTo>
                    <a:pt x="1056" y="240"/>
                  </a:lnTo>
                  <a:lnTo>
                    <a:pt x="1143" y="255"/>
                  </a:lnTo>
                  <a:lnTo>
                    <a:pt x="1143" y="255"/>
                  </a:lnTo>
                  <a:lnTo>
                    <a:pt x="1146" y="257"/>
                  </a:lnTo>
                  <a:lnTo>
                    <a:pt x="1149" y="258"/>
                  </a:lnTo>
                  <a:lnTo>
                    <a:pt x="1150" y="261"/>
                  </a:lnTo>
                  <a:lnTo>
                    <a:pt x="1152" y="265"/>
                  </a:lnTo>
                  <a:lnTo>
                    <a:pt x="1152" y="417"/>
                  </a:lnTo>
                  <a:lnTo>
                    <a:pt x="1152" y="417"/>
                  </a:lnTo>
                  <a:lnTo>
                    <a:pt x="1150" y="421"/>
                  </a:lnTo>
                  <a:lnTo>
                    <a:pt x="1147" y="424"/>
                  </a:lnTo>
                  <a:lnTo>
                    <a:pt x="1147" y="424"/>
                  </a:lnTo>
                  <a:lnTo>
                    <a:pt x="1145" y="427"/>
                  </a:lnTo>
                  <a:lnTo>
                    <a:pt x="1142" y="427"/>
                  </a:lnTo>
                  <a:lnTo>
                    <a:pt x="1140" y="427"/>
                  </a:lnTo>
                  <a:lnTo>
                    <a:pt x="1053" y="422"/>
                  </a:lnTo>
                  <a:lnTo>
                    <a:pt x="1053" y="422"/>
                  </a:lnTo>
                  <a:lnTo>
                    <a:pt x="1049" y="421"/>
                  </a:lnTo>
                  <a:lnTo>
                    <a:pt x="1046" y="420"/>
                  </a:lnTo>
                  <a:lnTo>
                    <a:pt x="1045" y="415"/>
                  </a:lnTo>
                  <a:lnTo>
                    <a:pt x="1044" y="413"/>
                  </a:lnTo>
                  <a:lnTo>
                    <a:pt x="1044" y="248"/>
                  </a:lnTo>
                  <a:close/>
                  <a:moveTo>
                    <a:pt x="996" y="748"/>
                  </a:moveTo>
                  <a:lnTo>
                    <a:pt x="996" y="748"/>
                  </a:lnTo>
                  <a:lnTo>
                    <a:pt x="996" y="745"/>
                  </a:lnTo>
                  <a:lnTo>
                    <a:pt x="997" y="741"/>
                  </a:lnTo>
                  <a:lnTo>
                    <a:pt x="1000" y="739"/>
                  </a:lnTo>
                  <a:lnTo>
                    <a:pt x="1003" y="738"/>
                  </a:lnTo>
                  <a:lnTo>
                    <a:pt x="1178" y="704"/>
                  </a:lnTo>
                  <a:lnTo>
                    <a:pt x="1178" y="704"/>
                  </a:lnTo>
                  <a:lnTo>
                    <a:pt x="1183" y="704"/>
                  </a:lnTo>
                  <a:lnTo>
                    <a:pt x="1187" y="706"/>
                  </a:lnTo>
                  <a:lnTo>
                    <a:pt x="1187" y="706"/>
                  </a:lnTo>
                  <a:lnTo>
                    <a:pt x="1190" y="710"/>
                  </a:lnTo>
                  <a:lnTo>
                    <a:pt x="1191" y="714"/>
                  </a:lnTo>
                  <a:lnTo>
                    <a:pt x="1191" y="935"/>
                  </a:lnTo>
                  <a:lnTo>
                    <a:pt x="1191" y="935"/>
                  </a:lnTo>
                  <a:lnTo>
                    <a:pt x="1190" y="937"/>
                  </a:lnTo>
                  <a:lnTo>
                    <a:pt x="1188" y="940"/>
                  </a:lnTo>
                  <a:lnTo>
                    <a:pt x="1187" y="943"/>
                  </a:lnTo>
                  <a:lnTo>
                    <a:pt x="1184" y="944"/>
                  </a:lnTo>
                  <a:lnTo>
                    <a:pt x="1009" y="1010"/>
                  </a:lnTo>
                  <a:lnTo>
                    <a:pt x="1009" y="1010"/>
                  </a:lnTo>
                  <a:lnTo>
                    <a:pt x="1006" y="1012"/>
                  </a:lnTo>
                  <a:lnTo>
                    <a:pt x="1006" y="1012"/>
                  </a:lnTo>
                  <a:lnTo>
                    <a:pt x="1003" y="1010"/>
                  </a:lnTo>
                  <a:lnTo>
                    <a:pt x="1000" y="1009"/>
                  </a:lnTo>
                  <a:lnTo>
                    <a:pt x="1000" y="1009"/>
                  </a:lnTo>
                  <a:lnTo>
                    <a:pt x="996" y="1006"/>
                  </a:lnTo>
                  <a:lnTo>
                    <a:pt x="996" y="1000"/>
                  </a:lnTo>
                  <a:lnTo>
                    <a:pt x="996" y="748"/>
                  </a:lnTo>
                  <a:close/>
                  <a:moveTo>
                    <a:pt x="825" y="209"/>
                  </a:moveTo>
                  <a:lnTo>
                    <a:pt x="825" y="209"/>
                  </a:lnTo>
                  <a:lnTo>
                    <a:pt x="826" y="205"/>
                  </a:lnTo>
                  <a:lnTo>
                    <a:pt x="829" y="202"/>
                  </a:lnTo>
                  <a:lnTo>
                    <a:pt x="829" y="202"/>
                  </a:lnTo>
                  <a:lnTo>
                    <a:pt x="833" y="199"/>
                  </a:lnTo>
                  <a:lnTo>
                    <a:pt x="837" y="199"/>
                  </a:lnTo>
                  <a:lnTo>
                    <a:pt x="955" y="220"/>
                  </a:lnTo>
                  <a:lnTo>
                    <a:pt x="955" y="220"/>
                  </a:lnTo>
                  <a:lnTo>
                    <a:pt x="958" y="222"/>
                  </a:lnTo>
                  <a:lnTo>
                    <a:pt x="961" y="225"/>
                  </a:lnTo>
                  <a:lnTo>
                    <a:pt x="962" y="227"/>
                  </a:lnTo>
                  <a:lnTo>
                    <a:pt x="962" y="230"/>
                  </a:lnTo>
                  <a:lnTo>
                    <a:pt x="962" y="407"/>
                  </a:lnTo>
                  <a:lnTo>
                    <a:pt x="962" y="407"/>
                  </a:lnTo>
                  <a:lnTo>
                    <a:pt x="962" y="410"/>
                  </a:lnTo>
                  <a:lnTo>
                    <a:pt x="959" y="414"/>
                  </a:lnTo>
                  <a:lnTo>
                    <a:pt x="959" y="414"/>
                  </a:lnTo>
                  <a:lnTo>
                    <a:pt x="957" y="415"/>
                  </a:lnTo>
                  <a:lnTo>
                    <a:pt x="952" y="417"/>
                  </a:lnTo>
                  <a:lnTo>
                    <a:pt x="952" y="417"/>
                  </a:lnTo>
                  <a:lnTo>
                    <a:pt x="835" y="410"/>
                  </a:lnTo>
                  <a:lnTo>
                    <a:pt x="835" y="410"/>
                  </a:lnTo>
                  <a:lnTo>
                    <a:pt x="830" y="408"/>
                  </a:lnTo>
                  <a:lnTo>
                    <a:pt x="828" y="407"/>
                  </a:lnTo>
                  <a:lnTo>
                    <a:pt x="826" y="403"/>
                  </a:lnTo>
                  <a:lnTo>
                    <a:pt x="825" y="400"/>
                  </a:lnTo>
                  <a:lnTo>
                    <a:pt x="825" y="209"/>
                  </a:lnTo>
                  <a:close/>
                  <a:moveTo>
                    <a:pt x="825" y="495"/>
                  </a:moveTo>
                  <a:lnTo>
                    <a:pt x="825" y="495"/>
                  </a:lnTo>
                  <a:lnTo>
                    <a:pt x="826" y="491"/>
                  </a:lnTo>
                  <a:lnTo>
                    <a:pt x="829" y="488"/>
                  </a:lnTo>
                  <a:lnTo>
                    <a:pt x="832" y="485"/>
                  </a:lnTo>
                  <a:lnTo>
                    <a:pt x="836" y="485"/>
                  </a:lnTo>
                  <a:lnTo>
                    <a:pt x="952" y="484"/>
                  </a:lnTo>
                  <a:lnTo>
                    <a:pt x="952" y="484"/>
                  </a:lnTo>
                  <a:lnTo>
                    <a:pt x="957" y="485"/>
                  </a:lnTo>
                  <a:lnTo>
                    <a:pt x="959" y="487"/>
                  </a:lnTo>
                  <a:lnTo>
                    <a:pt x="959" y="487"/>
                  </a:lnTo>
                  <a:lnTo>
                    <a:pt x="962" y="491"/>
                  </a:lnTo>
                  <a:lnTo>
                    <a:pt x="962" y="494"/>
                  </a:lnTo>
                  <a:lnTo>
                    <a:pt x="962" y="671"/>
                  </a:lnTo>
                  <a:lnTo>
                    <a:pt x="962" y="671"/>
                  </a:lnTo>
                  <a:lnTo>
                    <a:pt x="962" y="674"/>
                  </a:lnTo>
                  <a:lnTo>
                    <a:pt x="961" y="676"/>
                  </a:lnTo>
                  <a:lnTo>
                    <a:pt x="958" y="679"/>
                  </a:lnTo>
                  <a:lnTo>
                    <a:pt x="954" y="681"/>
                  </a:lnTo>
                  <a:lnTo>
                    <a:pt x="836" y="695"/>
                  </a:lnTo>
                  <a:lnTo>
                    <a:pt x="836" y="695"/>
                  </a:lnTo>
                  <a:lnTo>
                    <a:pt x="836" y="695"/>
                  </a:lnTo>
                  <a:lnTo>
                    <a:pt x="836" y="695"/>
                  </a:lnTo>
                  <a:lnTo>
                    <a:pt x="832" y="695"/>
                  </a:lnTo>
                  <a:lnTo>
                    <a:pt x="829" y="693"/>
                  </a:lnTo>
                  <a:lnTo>
                    <a:pt x="829" y="693"/>
                  </a:lnTo>
                  <a:lnTo>
                    <a:pt x="826" y="689"/>
                  </a:lnTo>
                  <a:lnTo>
                    <a:pt x="825" y="685"/>
                  </a:lnTo>
                  <a:lnTo>
                    <a:pt x="825" y="495"/>
                  </a:lnTo>
                  <a:close/>
                  <a:moveTo>
                    <a:pt x="519" y="153"/>
                  </a:moveTo>
                  <a:lnTo>
                    <a:pt x="519" y="153"/>
                  </a:lnTo>
                  <a:lnTo>
                    <a:pt x="520" y="149"/>
                  </a:lnTo>
                  <a:lnTo>
                    <a:pt x="523" y="146"/>
                  </a:lnTo>
                  <a:lnTo>
                    <a:pt x="523" y="146"/>
                  </a:lnTo>
                  <a:lnTo>
                    <a:pt x="526" y="143"/>
                  </a:lnTo>
                  <a:lnTo>
                    <a:pt x="532" y="143"/>
                  </a:lnTo>
                  <a:lnTo>
                    <a:pt x="699" y="174"/>
                  </a:lnTo>
                  <a:lnTo>
                    <a:pt x="699" y="174"/>
                  </a:lnTo>
                  <a:lnTo>
                    <a:pt x="701" y="175"/>
                  </a:lnTo>
                  <a:lnTo>
                    <a:pt x="704" y="178"/>
                  </a:lnTo>
                  <a:lnTo>
                    <a:pt x="706" y="181"/>
                  </a:lnTo>
                  <a:lnTo>
                    <a:pt x="706" y="184"/>
                  </a:lnTo>
                  <a:lnTo>
                    <a:pt x="706" y="391"/>
                  </a:lnTo>
                  <a:lnTo>
                    <a:pt x="706" y="391"/>
                  </a:lnTo>
                  <a:lnTo>
                    <a:pt x="706" y="396"/>
                  </a:lnTo>
                  <a:lnTo>
                    <a:pt x="703" y="399"/>
                  </a:lnTo>
                  <a:lnTo>
                    <a:pt x="703" y="399"/>
                  </a:lnTo>
                  <a:lnTo>
                    <a:pt x="700" y="401"/>
                  </a:lnTo>
                  <a:lnTo>
                    <a:pt x="696" y="401"/>
                  </a:lnTo>
                  <a:lnTo>
                    <a:pt x="696" y="401"/>
                  </a:lnTo>
                  <a:lnTo>
                    <a:pt x="696" y="401"/>
                  </a:lnTo>
                  <a:lnTo>
                    <a:pt x="529" y="391"/>
                  </a:lnTo>
                  <a:lnTo>
                    <a:pt x="529" y="391"/>
                  </a:lnTo>
                  <a:lnTo>
                    <a:pt x="525" y="391"/>
                  </a:lnTo>
                  <a:lnTo>
                    <a:pt x="522" y="389"/>
                  </a:lnTo>
                  <a:lnTo>
                    <a:pt x="520" y="386"/>
                  </a:lnTo>
                  <a:lnTo>
                    <a:pt x="519" y="382"/>
                  </a:lnTo>
                  <a:lnTo>
                    <a:pt x="519" y="153"/>
                  </a:lnTo>
                  <a:close/>
                  <a:moveTo>
                    <a:pt x="519" y="497"/>
                  </a:moveTo>
                  <a:lnTo>
                    <a:pt x="519" y="497"/>
                  </a:lnTo>
                  <a:lnTo>
                    <a:pt x="520" y="493"/>
                  </a:lnTo>
                  <a:lnTo>
                    <a:pt x="522" y="490"/>
                  </a:lnTo>
                  <a:lnTo>
                    <a:pt x="525" y="487"/>
                  </a:lnTo>
                  <a:lnTo>
                    <a:pt x="529" y="487"/>
                  </a:lnTo>
                  <a:lnTo>
                    <a:pt x="696" y="485"/>
                  </a:lnTo>
                  <a:lnTo>
                    <a:pt x="696" y="485"/>
                  </a:lnTo>
                  <a:lnTo>
                    <a:pt x="700" y="487"/>
                  </a:lnTo>
                  <a:lnTo>
                    <a:pt x="703" y="488"/>
                  </a:lnTo>
                  <a:lnTo>
                    <a:pt x="703" y="488"/>
                  </a:lnTo>
                  <a:lnTo>
                    <a:pt x="706" y="493"/>
                  </a:lnTo>
                  <a:lnTo>
                    <a:pt x="706" y="495"/>
                  </a:lnTo>
                  <a:lnTo>
                    <a:pt x="706" y="703"/>
                  </a:lnTo>
                  <a:lnTo>
                    <a:pt x="706" y="703"/>
                  </a:lnTo>
                  <a:lnTo>
                    <a:pt x="706" y="707"/>
                  </a:lnTo>
                  <a:lnTo>
                    <a:pt x="704" y="710"/>
                  </a:lnTo>
                  <a:lnTo>
                    <a:pt x="701" y="713"/>
                  </a:lnTo>
                  <a:lnTo>
                    <a:pt x="697" y="713"/>
                  </a:lnTo>
                  <a:lnTo>
                    <a:pt x="530" y="735"/>
                  </a:lnTo>
                  <a:lnTo>
                    <a:pt x="530" y="735"/>
                  </a:lnTo>
                  <a:lnTo>
                    <a:pt x="529" y="735"/>
                  </a:lnTo>
                  <a:lnTo>
                    <a:pt x="529" y="735"/>
                  </a:lnTo>
                  <a:lnTo>
                    <a:pt x="526" y="734"/>
                  </a:lnTo>
                  <a:lnTo>
                    <a:pt x="523" y="732"/>
                  </a:lnTo>
                  <a:lnTo>
                    <a:pt x="523" y="732"/>
                  </a:lnTo>
                  <a:lnTo>
                    <a:pt x="520" y="730"/>
                  </a:lnTo>
                  <a:lnTo>
                    <a:pt x="519" y="725"/>
                  </a:lnTo>
                  <a:lnTo>
                    <a:pt x="519"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69" name="TextBox 12"/>
          <p:cNvSpPr txBox="1"/>
          <p:nvPr/>
        </p:nvSpPr>
        <p:spPr>
          <a:xfrm>
            <a:off x="897354" y="1525260"/>
            <a:ext cx="1141568" cy="369332"/>
          </a:xfrm>
          <a:prstGeom prst="rect">
            <a:avLst/>
          </a:prstGeom>
          <a:noFill/>
        </p:spPr>
        <p:txBody>
          <a:bodyPr wrap="square" rtlCol="0">
            <a:spAutoFit/>
          </a:bodyPr>
          <a:lstStyle/>
          <a:p>
            <a:r>
              <a:rPr lang="en-US" b="1" dirty="0"/>
              <a:t>Policies</a:t>
            </a:r>
          </a:p>
        </p:txBody>
      </p:sp>
      <p:grpSp>
        <p:nvGrpSpPr>
          <p:cNvPr id="470" name="Group 13"/>
          <p:cNvGrpSpPr/>
          <p:nvPr/>
        </p:nvGrpSpPr>
        <p:grpSpPr>
          <a:xfrm>
            <a:off x="921968" y="2049096"/>
            <a:ext cx="1103378" cy="265814"/>
            <a:chOff x="4198190" y="2972104"/>
            <a:chExt cx="1103378" cy="265814"/>
          </a:xfrm>
        </p:grpSpPr>
        <p:grpSp>
          <p:nvGrpSpPr>
            <p:cNvPr id="471" name="Group 9"/>
            <p:cNvGrpSpPr/>
            <p:nvPr/>
          </p:nvGrpSpPr>
          <p:grpSpPr>
            <a:xfrm>
              <a:off x="4198190" y="2972104"/>
              <a:ext cx="257077" cy="265814"/>
              <a:chOff x="3798944" y="5187096"/>
              <a:chExt cx="393701" cy="407081"/>
            </a:xfrm>
          </p:grpSpPr>
          <p:sp>
            <p:nvSpPr>
              <p:cNvPr id="473" name="Freeform 168"/>
              <p:cNvSpPr>
                <a:spLocks noEditPoints="1"/>
              </p:cNvSpPr>
              <p:nvPr/>
            </p:nvSpPr>
            <p:spPr bwMode="auto">
              <a:xfrm>
                <a:off x="3878476" y="5187096"/>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74" name="Rectangle 6"/>
              <p:cNvSpPr/>
              <p:nvPr/>
            </p:nvSpPr>
            <p:spPr>
              <a:xfrm>
                <a:off x="3841798" y="5238862"/>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5" name="Freeform 168"/>
              <p:cNvSpPr>
                <a:spLocks noEditPoints="1"/>
              </p:cNvSpPr>
              <p:nvPr/>
            </p:nvSpPr>
            <p:spPr bwMode="auto">
              <a:xfrm>
                <a:off x="3798944" y="5217894"/>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76" name="Rectangle 130"/>
              <p:cNvSpPr/>
              <p:nvPr/>
            </p:nvSpPr>
            <p:spPr>
              <a:xfrm>
                <a:off x="3798944" y="5279265"/>
                <a:ext cx="23051" cy="314749"/>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77" name="Rectangle 131"/>
              <p:cNvSpPr/>
              <p:nvPr/>
            </p:nvSpPr>
            <p:spPr>
              <a:xfrm rot="5400000">
                <a:off x="3914903" y="5453989"/>
                <a:ext cx="24067" cy="255984"/>
              </a:xfrm>
              <a:prstGeom prst="rect">
                <a:avLst/>
              </a:pr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78" name="Rectangle 124"/>
              <p:cNvSpPr/>
              <p:nvPr/>
            </p:nvSpPr>
            <p:spPr>
              <a:xfrm>
                <a:off x="3841798" y="5279264"/>
                <a:ext cx="128726"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79" name="Rectangle 125"/>
              <p:cNvSpPr/>
              <p:nvPr/>
            </p:nvSpPr>
            <p:spPr>
              <a:xfrm>
                <a:off x="3841798" y="5314730"/>
                <a:ext cx="118501"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0" name="Rectangle 126"/>
              <p:cNvSpPr/>
              <p:nvPr/>
            </p:nvSpPr>
            <p:spPr>
              <a:xfrm>
                <a:off x="3841798" y="5350193"/>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1" name="Rectangle 127"/>
              <p:cNvSpPr/>
              <p:nvPr/>
            </p:nvSpPr>
            <p:spPr>
              <a:xfrm>
                <a:off x="3841798" y="5385657"/>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2" name="Rectangle 188"/>
              <p:cNvSpPr/>
              <p:nvPr/>
            </p:nvSpPr>
            <p:spPr>
              <a:xfrm>
                <a:off x="3841798" y="5425401"/>
                <a:ext cx="50024"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83" name="Rectangle 189"/>
              <p:cNvSpPr/>
              <p:nvPr/>
            </p:nvSpPr>
            <p:spPr>
              <a:xfrm>
                <a:off x="3841798" y="5460865"/>
                <a:ext cx="69832" cy="16918"/>
              </a:xfrm>
              <a:prstGeom prst="rect">
                <a:avLst/>
              </a:prstGeom>
              <a:solidFill>
                <a:schemeClr val="accent2"/>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sp>
          <p:nvSpPr>
            <p:cNvPr id="472" name="TextBox 295"/>
            <p:cNvSpPr txBox="1"/>
            <p:nvPr/>
          </p:nvSpPr>
          <p:spPr>
            <a:xfrm>
              <a:off x="4433965" y="2984833"/>
              <a:ext cx="867603" cy="246221"/>
            </a:xfrm>
            <a:prstGeom prst="rect">
              <a:avLst/>
            </a:prstGeom>
            <a:noFill/>
          </p:spPr>
          <p:txBody>
            <a:bodyPr wrap="square" rtlCol="0">
              <a:spAutoFit/>
            </a:bodyPr>
            <a:lstStyle/>
            <a:p>
              <a:r>
                <a:rPr lang="en-US" sz="1000" b="1" dirty="0"/>
                <a:t>Duplicate</a:t>
              </a:r>
            </a:p>
          </p:txBody>
        </p:sp>
      </p:grpSp>
      <p:sp>
        <p:nvSpPr>
          <p:cNvPr id="484" name="Rectangle 51"/>
          <p:cNvSpPr/>
          <p:nvPr/>
        </p:nvSpPr>
        <p:spPr>
          <a:xfrm>
            <a:off x="2093611" y="1963496"/>
            <a:ext cx="1805569" cy="867595"/>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485" name="Group 14"/>
          <p:cNvGrpSpPr/>
          <p:nvPr/>
        </p:nvGrpSpPr>
        <p:grpSpPr>
          <a:xfrm>
            <a:off x="911097" y="2540331"/>
            <a:ext cx="1185394" cy="265814"/>
            <a:chOff x="4187319" y="3463339"/>
            <a:chExt cx="1185394" cy="265814"/>
          </a:xfrm>
        </p:grpSpPr>
        <p:grpSp>
          <p:nvGrpSpPr>
            <p:cNvPr id="486" name="Group 10"/>
            <p:cNvGrpSpPr/>
            <p:nvPr/>
          </p:nvGrpSpPr>
          <p:grpSpPr>
            <a:xfrm>
              <a:off x="4187319" y="3463339"/>
              <a:ext cx="257077" cy="265814"/>
              <a:chOff x="4446645" y="5328269"/>
              <a:chExt cx="393701" cy="407081"/>
            </a:xfrm>
          </p:grpSpPr>
          <p:sp>
            <p:nvSpPr>
              <p:cNvPr id="488"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89" name="Rectangle 195"/>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0"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491" name="Rectangle 197"/>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92" name="Rectangle 198"/>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493" name="Rectangle 209"/>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4" name="Rectangle 210"/>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5" name="Rectangle 211"/>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6" name="Rectangle 232"/>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7" name="Rectangle 233"/>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498" name="Rectangle 234"/>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499" name="Group 235"/>
              <p:cNvGrpSpPr>
                <a:grpSpLocks noChangeAspect="1"/>
              </p:cNvGrpSpPr>
              <p:nvPr/>
            </p:nvGrpSpPr>
            <p:grpSpPr>
              <a:xfrm>
                <a:off x="4616915" y="5503457"/>
                <a:ext cx="168922" cy="155424"/>
                <a:chOff x="9231726" y="3248067"/>
                <a:chExt cx="1060101" cy="975395"/>
              </a:xfrm>
              <a:solidFill>
                <a:schemeClr val="accent6"/>
              </a:solidFill>
            </p:grpSpPr>
            <p:sp>
              <p:nvSpPr>
                <p:cNvPr id="500"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01"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02"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487" name="TextBox 296"/>
            <p:cNvSpPr txBox="1"/>
            <p:nvPr/>
          </p:nvSpPr>
          <p:spPr>
            <a:xfrm>
              <a:off x="4426266" y="3467099"/>
              <a:ext cx="946447" cy="246221"/>
            </a:xfrm>
            <a:prstGeom prst="rect">
              <a:avLst/>
            </a:prstGeom>
            <a:noFill/>
          </p:spPr>
          <p:txBody>
            <a:bodyPr wrap="square" rtlCol="0">
              <a:spAutoFit/>
            </a:bodyPr>
            <a:lstStyle/>
            <a:p>
              <a:r>
                <a:rPr lang="en-US" sz="1000" b="1" dirty="0"/>
                <a:t>Inconsistent</a:t>
              </a:r>
            </a:p>
          </p:txBody>
        </p:sp>
      </p:grpSp>
      <p:grpSp>
        <p:nvGrpSpPr>
          <p:cNvPr id="503" name="Group 15"/>
          <p:cNvGrpSpPr/>
          <p:nvPr/>
        </p:nvGrpSpPr>
        <p:grpSpPr>
          <a:xfrm>
            <a:off x="921229" y="3013280"/>
            <a:ext cx="1197401" cy="272164"/>
            <a:chOff x="4197451" y="3936288"/>
            <a:chExt cx="1197401" cy="272164"/>
          </a:xfrm>
        </p:grpSpPr>
        <p:grpSp>
          <p:nvGrpSpPr>
            <p:cNvPr id="504" name="Group 11"/>
            <p:cNvGrpSpPr/>
            <p:nvPr/>
          </p:nvGrpSpPr>
          <p:grpSpPr>
            <a:xfrm>
              <a:off x="4197451" y="3942638"/>
              <a:ext cx="259696" cy="265814"/>
              <a:chOff x="5070378" y="5390637"/>
              <a:chExt cx="397712" cy="407081"/>
            </a:xfrm>
          </p:grpSpPr>
          <p:sp>
            <p:nvSpPr>
              <p:cNvPr id="506"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07" name="Rectangle 241"/>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8"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09" name="Rectangle 243"/>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10" name="Rectangle 244"/>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11" name="Rectangle 245"/>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2" name="Rectangle 246"/>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3" name="Rectangle 247"/>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4" name="Rectangle 248"/>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5" name="Rectangle 249"/>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16" name="Rectangle 250"/>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sp>
          <p:nvSpPr>
            <p:cNvPr id="505" name="TextBox 297"/>
            <p:cNvSpPr txBox="1"/>
            <p:nvPr/>
          </p:nvSpPr>
          <p:spPr>
            <a:xfrm>
              <a:off x="4448405" y="3936288"/>
              <a:ext cx="946447" cy="246221"/>
            </a:xfrm>
            <a:prstGeom prst="rect">
              <a:avLst/>
            </a:prstGeom>
            <a:noFill/>
          </p:spPr>
          <p:txBody>
            <a:bodyPr wrap="square" rtlCol="0">
              <a:spAutoFit/>
            </a:bodyPr>
            <a:lstStyle/>
            <a:p>
              <a:r>
                <a:rPr lang="en-US" sz="1000" b="1" dirty="0"/>
                <a:t>Unused</a:t>
              </a:r>
            </a:p>
          </p:txBody>
        </p:sp>
      </p:grpSp>
      <p:sp>
        <p:nvSpPr>
          <p:cNvPr id="517" name="TextBox 298"/>
          <p:cNvSpPr txBox="1"/>
          <p:nvPr/>
        </p:nvSpPr>
        <p:spPr>
          <a:xfrm>
            <a:off x="2113797" y="1516002"/>
            <a:ext cx="1707136" cy="400110"/>
          </a:xfrm>
          <a:prstGeom prst="rect">
            <a:avLst/>
          </a:prstGeom>
          <a:noFill/>
        </p:spPr>
        <p:txBody>
          <a:bodyPr wrap="square" rtlCol="0">
            <a:spAutoFit/>
          </a:bodyPr>
          <a:lstStyle/>
          <a:p>
            <a:r>
              <a:rPr lang="en-US" sz="1000" b="1" dirty="0">
                <a:solidFill>
                  <a:schemeClr val="accent1"/>
                </a:solidFill>
              </a:rPr>
              <a:t>Quickly see </a:t>
            </a:r>
            <a:br>
              <a:rPr lang="en-US" sz="1000" b="1" dirty="0">
                <a:solidFill>
                  <a:schemeClr val="accent1"/>
                </a:solidFill>
              </a:rPr>
            </a:br>
            <a:r>
              <a:rPr lang="en-US" sz="1000" b="1" dirty="0">
                <a:solidFill>
                  <a:schemeClr val="accent1"/>
                </a:solidFill>
              </a:rPr>
              <a:t>Duplicate Policies</a:t>
            </a:r>
          </a:p>
        </p:txBody>
      </p:sp>
      <p:sp>
        <p:nvSpPr>
          <p:cNvPr id="518" name="Rounded Rectangle 283"/>
          <p:cNvSpPr/>
          <p:nvPr/>
        </p:nvSpPr>
        <p:spPr>
          <a:xfrm>
            <a:off x="3209276" y="3236667"/>
            <a:ext cx="590991"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t>Edit Policy</a:t>
            </a:r>
          </a:p>
        </p:txBody>
      </p:sp>
      <p:sp>
        <p:nvSpPr>
          <p:cNvPr id="519" name="Rectangle 343"/>
          <p:cNvSpPr/>
          <p:nvPr/>
        </p:nvSpPr>
        <p:spPr>
          <a:xfrm>
            <a:off x="863382" y="2434650"/>
            <a:ext cx="1207513" cy="46095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0" name="TextBox 345"/>
          <p:cNvSpPr txBox="1"/>
          <p:nvPr/>
        </p:nvSpPr>
        <p:spPr>
          <a:xfrm>
            <a:off x="2113797" y="1512373"/>
            <a:ext cx="1707136" cy="400110"/>
          </a:xfrm>
          <a:prstGeom prst="rect">
            <a:avLst/>
          </a:prstGeom>
          <a:solidFill>
            <a:schemeClr val="bg1"/>
          </a:solidFill>
        </p:spPr>
        <p:txBody>
          <a:bodyPr wrap="square" rtlCol="0">
            <a:spAutoFit/>
          </a:bodyPr>
          <a:lstStyle/>
          <a:p>
            <a:r>
              <a:rPr lang="en-US" sz="1000" b="1" dirty="0">
                <a:solidFill>
                  <a:schemeClr val="accent1"/>
                </a:solidFill>
              </a:rPr>
              <a:t>Quickly see </a:t>
            </a:r>
            <a:br>
              <a:rPr lang="en-US" sz="1000" b="1" dirty="0">
                <a:solidFill>
                  <a:schemeClr val="accent1"/>
                </a:solidFill>
              </a:rPr>
            </a:br>
            <a:r>
              <a:rPr lang="en-US" sz="1000" b="1" dirty="0">
                <a:solidFill>
                  <a:schemeClr val="accent1"/>
                </a:solidFill>
              </a:rPr>
              <a:t>Inconsistent Policies</a:t>
            </a:r>
          </a:p>
        </p:txBody>
      </p:sp>
      <p:sp>
        <p:nvSpPr>
          <p:cNvPr id="521" name="Rectangle 278"/>
          <p:cNvSpPr/>
          <p:nvPr/>
        </p:nvSpPr>
        <p:spPr>
          <a:xfrm>
            <a:off x="2122457" y="1973306"/>
            <a:ext cx="815522" cy="77121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117475" indent="-117475"/>
            <a:r>
              <a:rPr lang="en-US" sz="1000" b="1" dirty="0">
                <a:solidFill>
                  <a:schemeClr val="tx1"/>
                </a:solidFill>
              </a:rPr>
              <a:t>Policy 1</a:t>
            </a:r>
          </a:p>
          <a:p>
            <a:pPr marL="117475" indent="-117475"/>
            <a:r>
              <a:rPr lang="en-US" sz="1000" dirty="0">
                <a:solidFill>
                  <a:schemeClr val="tx1"/>
                </a:solidFill>
              </a:rPr>
              <a:t>Objects</a:t>
            </a:r>
          </a:p>
          <a:p>
            <a:pPr marL="117475" indent="-117475">
              <a:buFont typeface="Arial" panose="020B0604020202020204" pitchFamily="34" charset="0"/>
              <a:buChar char="•"/>
            </a:pPr>
            <a:r>
              <a:rPr lang="en-US" sz="1000" dirty="0">
                <a:solidFill>
                  <a:schemeClr val="tx1"/>
                </a:solidFill>
              </a:rPr>
              <a:t>1</a:t>
            </a:r>
          </a:p>
          <a:p>
            <a:pPr marL="117475" indent="-117475">
              <a:buFont typeface="Arial" panose="020B0604020202020204" pitchFamily="34" charset="0"/>
              <a:buChar char="•"/>
            </a:pPr>
            <a:r>
              <a:rPr lang="en-US" sz="1000" dirty="0">
                <a:solidFill>
                  <a:schemeClr val="tx1"/>
                </a:solidFill>
              </a:rPr>
              <a:t>2</a:t>
            </a:r>
          </a:p>
          <a:p>
            <a:pPr marL="117475" indent="-117475">
              <a:buFont typeface="Arial" panose="020B0604020202020204" pitchFamily="34" charset="0"/>
              <a:buChar char="•"/>
            </a:pPr>
            <a:r>
              <a:rPr lang="en-US" sz="1000" dirty="0">
                <a:solidFill>
                  <a:schemeClr val="tx1"/>
                </a:solidFill>
              </a:rPr>
              <a:t>3</a:t>
            </a:r>
          </a:p>
        </p:txBody>
      </p:sp>
      <p:sp>
        <p:nvSpPr>
          <p:cNvPr id="522" name="Rectangle 349"/>
          <p:cNvSpPr/>
          <p:nvPr/>
        </p:nvSpPr>
        <p:spPr>
          <a:xfrm>
            <a:off x="2974112" y="1979656"/>
            <a:ext cx="815522" cy="77121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117475" indent="-117475"/>
            <a:r>
              <a:rPr lang="en-US" sz="1000" b="1" dirty="0">
                <a:solidFill>
                  <a:schemeClr val="tx1"/>
                </a:solidFill>
              </a:rPr>
              <a:t>Policy 1</a:t>
            </a:r>
          </a:p>
          <a:p>
            <a:pPr marL="117475" indent="-117475"/>
            <a:r>
              <a:rPr lang="en-US" sz="1000" dirty="0">
                <a:solidFill>
                  <a:schemeClr val="tx1"/>
                </a:solidFill>
              </a:rPr>
              <a:t>Objects</a:t>
            </a:r>
          </a:p>
          <a:p>
            <a:pPr marL="117475" indent="-117475">
              <a:buFont typeface="Arial" panose="020B0604020202020204" pitchFamily="34" charset="0"/>
              <a:buChar char="•"/>
            </a:pPr>
            <a:r>
              <a:rPr lang="en-US" sz="1000" dirty="0">
                <a:solidFill>
                  <a:schemeClr val="tx1"/>
                </a:solidFill>
              </a:rPr>
              <a:t>1</a:t>
            </a:r>
          </a:p>
          <a:p>
            <a:pPr marL="117475" indent="-117475">
              <a:buFont typeface="Arial" panose="020B0604020202020204" pitchFamily="34" charset="0"/>
              <a:buChar char="•"/>
            </a:pPr>
            <a:r>
              <a:rPr lang="en-US" sz="1000" dirty="0">
                <a:solidFill>
                  <a:schemeClr val="tx1"/>
                </a:solidFill>
              </a:rPr>
              <a:t>2</a:t>
            </a:r>
          </a:p>
          <a:p>
            <a:pPr marL="117475" indent="-117475">
              <a:buFont typeface="Arial" panose="020B0604020202020204" pitchFamily="34" charset="0"/>
              <a:buChar char="•"/>
            </a:pPr>
            <a:r>
              <a:rPr lang="en-US" sz="1000" dirty="0">
                <a:solidFill>
                  <a:schemeClr val="tx1"/>
                </a:solidFill>
              </a:rPr>
              <a:t>3b</a:t>
            </a:r>
          </a:p>
        </p:txBody>
      </p:sp>
      <p:sp>
        <p:nvSpPr>
          <p:cNvPr id="523" name="Rectangle 276"/>
          <p:cNvSpPr/>
          <p:nvPr/>
        </p:nvSpPr>
        <p:spPr>
          <a:xfrm>
            <a:off x="2124011" y="2587376"/>
            <a:ext cx="816471" cy="157149"/>
          </a:xfrm>
          <a:prstGeom prst="rect">
            <a:avLst/>
          </a:prstGeom>
          <a:noFill/>
          <a:ln>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4" name="Rectangle 386"/>
          <p:cNvSpPr/>
          <p:nvPr/>
        </p:nvSpPr>
        <p:spPr>
          <a:xfrm>
            <a:off x="2988697" y="2581589"/>
            <a:ext cx="816471" cy="157149"/>
          </a:xfrm>
          <a:prstGeom prst="rect">
            <a:avLst/>
          </a:prstGeom>
          <a:noFill/>
          <a:ln>
            <a:solidFill>
              <a:schemeClr val="accent6"/>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5" name="Rectangle 387"/>
          <p:cNvSpPr/>
          <p:nvPr/>
        </p:nvSpPr>
        <p:spPr>
          <a:xfrm>
            <a:off x="860270" y="2918112"/>
            <a:ext cx="1207513" cy="460953"/>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6" name="TextBox 388"/>
          <p:cNvSpPr txBox="1"/>
          <p:nvPr/>
        </p:nvSpPr>
        <p:spPr>
          <a:xfrm>
            <a:off x="2112103" y="1515740"/>
            <a:ext cx="1707136" cy="400110"/>
          </a:xfrm>
          <a:prstGeom prst="rect">
            <a:avLst/>
          </a:prstGeom>
          <a:solidFill>
            <a:schemeClr val="bg1"/>
          </a:solidFill>
        </p:spPr>
        <p:txBody>
          <a:bodyPr wrap="square" rtlCol="0">
            <a:spAutoFit/>
          </a:bodyPr>
          <a:lstStyle/>
          <a:p>
            <a:r>
              <a:rPr lang="en-US" sz="1000" b="1" dirty="0">
                <a:solidFill>
                  <a:schemeClr val="accent1"/>
                </a:solidFill>
              </a:rPr>
              <a:t>Quickly see </a:t>
            </a:r>
            <a:br>
              <a:rPr lang="en-US" sz="1000" b="1" dirty="0">
                <a:solidFill>
                  <a:schemeClr val="accent1"/>
                </a:solidFill>
              </a:rPr>
            </a:br>
            <a:r>
              <a:rPr lang="en-US" sz="1000" b="1" dirty="0">
                <a:solidFill>
                  <a:schemeClr val="accent1"/>
                </a:solidFill>
              </a:rPr>
              <a:t>Unused Policies</a:t>
            </a:r>
          </a:p>
        </p:txBody>
      </p:sp>
      <p:sp>
        <p:nvSpPr>
          <p:cNvPr id="527" name="Rectangle 389"/>
          <p:cNvSpPr/>
          <p:nvPr/>
        </p:nvSpPr>
        <p:spPr>
          <a:xfrm>
            <a:off x="2071619" y="1897936"/>
            <a:ext cx="1827683" cy="941203"/>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28" name="Rectangle 346"/>
          <p:cNvSpPr/>
          <p:nvPr/>
        </p:nvSpPr>
        <p:spPr>
          <a:xfrm>
            <a:off x="2118283" y="1969759"/>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Policy 5</a:t>
            </a:r>
          </a:p>
        </p:txBody>
      </p:sp>
      <p:sp>
        <p:nvSpPr>
          <p:cNvPr id="529" name="Rectangle 347"/>
          <p:cNvSpPr/>
          <p:nvPr/>
        </p:nvSpPr>
        <p:spPr>
          <a:xfrm>
            <a:off x="2113115" y="2241276"/>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Policy 6</a:t>
            </a:r>
          </a:p>
        </p:txBody>
      </p:sp>
      <p:sp>
        <p:nvSpPr>
          <p:cNvPr id="530" name="Rectangle 348"/>
          <p:cNvSpPr/>
          <p:nvPr/>
        </p:nvSpPr>
        <p:spPr>
          <a:xfrm>
            <a:off x="2114298" y="2515486"/>
            <a:ext cx="1662743" cy="22229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Policy 7</a:t>
            </a:r>
          </a:p>
        </p:txBody>
      </p:sp>
      <p:grpSp>
        <p:nvGrpSpPr>
          <p:cNvPr id="531" name="Group 27"/>
          <p:cNvGrpSpPr/>
          <p:nvPr/>
        </p:nvGrpSpPr>
        <p:grpSpPr>
          <a:xfrm>
            <a:off x="6821007" y="1782062"/>
            <a:ext cx="213207" cy="213207"/>
            <a:chOff x="11324668" y="464066"/>
            <a:chExt cx="365678" cy="365678"/>
          </a:xfrm>
        </p:grpSpPr>
        <p:sp>
          <p:nvSpPr>
            <p:cNvPr id="532" name="Oval 367"/>
            <p:cNvSpPr/>
            <p:nvPr/>
          </p:nvSpPr>
          <p:spPr>
            <a:xfrm>
              <a:off x="11324668" y="464066"/>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33" name="Group 390"/>
            <p:cNvGrpSpPr/>
            <p:nvPr/>
          </p:nvGrpSpPr>
          <p:grpSpPr>
            <a:xfrm>
              <a:off x="11390249" y="513998"/>
              <a:ext cx="259696" cy="265814"/>
              <a:chOff x="5070378" y="5390637"/>
              <a:chExt cx="397712" cy="407081"/>
            </a:xfrm>
          </p:grpSpPr>
          <p:sp>
            <p:nvSpPr>
              <p:cNvPr id="534"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35" name="Rectangle 392"/>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6"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37" name="Rectangle 394"/>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38" name="Rectangle 395"/>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39" name="Rectangle 396"/>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0" name="Rectangle 397"/>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1" name="Rectangle 398"/>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2" name="Rectangle 399"/>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3" name="Rectangle 400"/>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44" name="Rectangle 401"/>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545" name="Group 402"/>
          <p:cNvGrpSpPr/>
          <p:nvPr/>
        </p:nvGrpSpPr>
        <p:grpSpPr>
          <a:xfrm>
            <a:off x="6183954" y="2428087"/>
            <a:ext cx="213207" cy="213207"/>
            <a:chOff x="11324668" y="464066"/>
            <a:chExt cx="365678" cy="365678"/>
          </a:xfrm>
        </p:grpSpPr>
        <p:sp>
          <p:nvSpPr>
            <p:cNvPr id="546" name="Oval 403"/>
            <p:cNvSpPr/>
            <p:nvPr/>
          </p:nvSpPr>
          <p:spPr>
            <a:xfrm>
              <a:off x="11324668" y="464066"/>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47" name="Group 404"/>
            <p:cNvGrpSpPr/>
            <p:nvPr/>
          </p:nvGrpSpPr>
          <p:grpSpPr>
            <a:xfrm>
              <a:off x="11390249" y="513998"/>
              <a:ext cx="259696" cy="265814"/>
              <a:chOff x="5070378" y="5390637"/>
              <a:chExt cx="397712" cy="407081"/>
            </a:xfrm>
          </p:grpSpPr>
          <p:sp>
            <p:nvSpPr>
              <p:cNvPr id="548"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49" name="Rectangle 406"/>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0"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51" name="Rectangle 408"/>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52" name="Rectangle 409"/>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53" name="Rectangle 410"/>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4" name="Rectangle 411"/>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5" name="Rectangle 412"/>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6" name="Rectangle 413"/>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7" name="Rectangle 414"/>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58" name="Rectangle 415"/>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559" name="Group 416"/>
          <p:cNvGrpSpPr/>
          <p:nvPr/>
        </p:nvGrpSpPr>
        <p:grpSpPr>
          <a:xfrm>
            <a:off x="7536204" y="2387465"/>
            <a:ext cx="213207" cy="213207"/>
            <a:chOff x="11324668" y="464066"/>
            <a:chExt cx="365678" cy="365678"/>
          </a:xfrm>
        </p:grpSpPr>
        <p:sp>
          <p:nvSpPr>
            <p:cNvPr id="560" name="Oval 417"/>
            <p:cNvSpPr/>
            <p:nvPr/>
          </p:nvSpPr>
          <p:spPr>
            <a:xfrm>
              <a:off x="11324668" y="464066"/>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61" name="Group 418"/>
            <p:cNvGrpSpPr/>
            <p:nvPr/>
          </p:nvGrpSpPr>
          <p:grpSpPr>
            <a:xfrm>
              <a:off x="11390249" y="513998"/>
              <a:ext cx="259696" cy="265814"/>
              <a:chOff x="5070378" y="5390637"/>
              <a:chExt cx="397712" cy="407081"/>
            </a:xfrm>
          </p:grpSpPr>
          <p:sp>
            <p:nvSpPr>
              <p:cNvPr id="562"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63" name="Rectangle 420"/>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4"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65" name="Rectangle 422"/>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66" name="Rectangle 423"/>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67" name="Rectangle 424"/>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8" name="Rectangle 425"/>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69" name="Rectangle 426"/>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0" name="Rectangle 427"/>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1" name="Rectangle 428"/>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72" name="Rectangle 429"/>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573" name="Group 430"/>
          <p:cNvGrpSpPr/>
          <p:nvPr/>
        </p:nvGrpSpPr>
        <p:grpSpPr>
          <a:xfrm>
            <a:off x="6821007" y="2920223"/>
            <a:ext cx="213207" cy="213207"/>
            <a:chOff x="11324668" y="464066"/>
            <a:chExt cx="365678" cy="365678"/>
          </a:xfrm>
        </p:grpSpPr>
        <p:sp>
          <p:nvSpPr>
            <p:cNvPr id="574" name="Oval 431"/>
            <p:cNvSpPr/>
            <p:nvPr/>
          </p:nvSpPr>
          <p:spPr>
            <a:xfrm>
              <a:off x="11324668" y="464066"/>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75" name="Group 432"/>
            <p:cNvGrpSpPr/>
            <p:nvPr/>
          </p:nvGrpSpPr>
          <p:grpSpPr>
            <a:xfrm>
              <a:off x="11390249" y="513998"/>
              <a:ext cx="259696" cy="265814"/>
              <a:chOff x="5070378" y="5390637"/>
              <a:chExt cx="397712" cy="407081"/>
            </a:xfrm>
          </p:grpSpPr>
          <p:sp>
            <p:nvSpPr>
              <p:cNvPr id="576"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77" name="Rectangle 434"/>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8"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79" name="Rectangle 436"/>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80" name="Rectangle 437"/>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81" name="Rectangle 438"/>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2" name="Rectangle 439"/>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3" name="Rectangle 440"/>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4" name="Rectangle 441"/>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5" name="Rectangle 442"/>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86" name="Rectangle 443"/>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grpSp>
        <p:nvGrpSpPr>
          <p:cNvPr id="587" name="Group 444"/>
          <p:cNvGrpSpPr/>
          <p:nvPr/>
        </p:nvGrpSpPr>
        <p:grpSpPr>
          <a:xfrm>
            <a:off x="7679695" y="3317135"/>
            <a:ext cx="213207" cy="213207"/>
            <a:chOff x="11324668" y="464066"/>
            <a:chExt cx="365678" cy="365678"/>
          </a:xfrm>
        </p:grpSpPr>
        <p:sp>
          <p:nvSpPr>
            <p:cNvPr id="588" name="Oval 445"/>
            <p:cNvSpPr/>
            <p:nvPr/>
          </p:nvSpPr>
          <p:spPr>
            <a:xfrm>
              <a:off x="11324668" y="464066"/>
              <a:ext cx="365678" cy="365678"/>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89" name="Group 446"/>
            <p:cNvGrpSpPr/>
            <p:nvPr/>
          </p:nvGrpSpPr>
          <p:grpSpPr>
            <a:xfrm>
              <a:off x="11390249" y="513998"/>
              <a:ext cx="259696" cy="265814"/>
              <a:chOff x="5070378" y="5390637"/>
              <a:chExt cx="397712" cy="407081"/>
            </a:xfrm>
          </p:grpSpPr>
          <p:sp>
            <p:nvSpPr>
              <p:cNvPr id="590" name="Freeform 168"/>
              <p:cNvSpPr>
                <a:spLocks noEditPoints="1"/>
              </p:cNvSpPr>
              <p:nvPr/>
            </p:nvSpPr>
            <p:spPr bwMode="auto">
              <a:xfrm>
                <a:off x="5153921" y="539063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6"/>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91" name="Rectangle 448"/>
              <p:cNvSpPr/>
              <p:nvPr/>
            </p:nvSpPr>
            <p:spPr>
              <a:xfrm>
                <a:off x="5113232" y="5442403"/>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2" name="Freeform 168"/>
              <p:cNvSpPr>
                <a:spLocks noEditPoints="1"/>
              </p:cNvSpPr>
              <p:nvPr/>
            </p:nvSpPr>
            <p:spPr bwMode="auto">
              <a:xfrm>
                <a:off x="5070378" y="5421435"/>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593" name="Rectangle 450"/>
              <p:cNvSpPr/>
              <p:nvPr/>
            </p:nvSpPr>
            <p:spPr>
              <a:xfrm>
                <a:off x="5070378" y="5482806"/>
                <a:ext cx="23051" cy="314749"/>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94" name="Rectangle 451"/>
              <p:cNvSpPr/>
              <p:nvPr/>
            </p:nvSpPr>
            <p:spPr>
              <a:xfrm rot="5400000">
                <a:off x="5186337" y="5657530"/>
                <a:ext cx="24067" cy="255984"/>
              </a:xfrm>
              <a:prstGeom prst="rect">
                <a:avLst/>
              </a:prstGeom>
              <a:solidFill>
                <a:srgbClr val="84BD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595" name="Rectangle 452"/>
              <p:cNvSpPr/>
              <p:nvPr/>
            </p:nvSpPr>
            <p:spPr>
              <a:xfrm>
                <a:off x="5113232" y="5482805"/>
                <a:ext cx="128726"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6" name="Rectangle 453"/>
              <p:cNvSpPr/>
              <p:nvPr/>
            </p:nvSpPr>
            <p:spPr>
              <a:xfrm>
                <a:off x="5113232" y="5518271"/>
                <a:ext cx="118501"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7" name="Rectangle 454"/>
              <p:cNvSpPr/>
              <p:nvPr/>
            </p:nvSpPr>
            <p:spPr>
              <a:xfrm>
                <a:off x="5113232" y="5553734"/>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8" name="Rectangle 455"/>
              <p:cNvSpPr/>
              <p:nvPr/>
            </p:nvSpPr>
            <p:spPr>
              <a:xfrm>
                <a:off x="5113232" y="5589198"/>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599" name="Rectangle 456"/>
              <p:cNvSpPr/>
              <p:nvPr/>
            </p:nvSpPr>
            <p:spPr>
              <a:xfrm>
                <a:off x="5113232" y="5628942"/>
                <a:ext cx="50024"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00" name="Rectangle 457"/>
              <p:cNvSpPr/>
              <p:nvPr/>
            </p:nvSpPr>
            <p:spPr>
              <a:xfrm>
                <a:off x="5113232" y="5664406"/>
                <a:ext cx="69832" cy="16918"/>
              </a:xfrm>
              <a:prstGeom prst="rect">
                <a:avLst/>
              </a:prstGeom>
              <a:solidFill>
                <a:srgbClr val="84BD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grpSp>
      <p:pic>
        <p:nvPicPr>
          <p:cNvPr id="601" name="Picture 2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1731" y="2822435"/>
            <a:ext cx="2283009" cy="2335159"/>
          </a:xfrm>
          <a:prstGeom prst="rect">
            <a:avLst/>
          </a:prstGeom>
        </p:spPr>
      </p:pic>
      <p:sp>
        <p:nvSpPr>
          <p:cNvPr id="602" name="Rounded Rectangle 282"/>
          <p:cNvSpPr/>
          <p:nvPr/>
        </p:nvSpPr>
        <p:spPr>
          <a:xfrm>
            <a:off x="3206242" y="2849141"/>
            <a:ext cx="590991" cy="3001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800" b="1" dirty="0"/>
              <a:t>Delete Policy</a:t>
            </a:r>
          </a:p>
        </p:txBody>
      </p:sp>
      <p:grpSp>
        <p:nvGrpSpPr>
          <p:cNvPr id="603" name="Group 5"/>
          <p:cNvGrpSpPr/>
          <p:nvPr/>
        </p:nvGrpSpPr>
        <p:grpSpPr>
          <a:xfrm>
            <a:off x="859120" y="2419014"/>
            <a:ext cx="1254174" cy="490154"/>
            <a:chOff x="4135342" y="3342022"/>
            <a:chExt cx="1254174" cy="490154"/>
          </a:xfrm>
        </p:grpSpPr>
        <p:sp>
          <p:nvSpPr>
            <p:cNvPr id="604" name="Rectangle 273"/>
            <p:cNvSpPr/>
            <p:nvPr/>
          </p:nvSpPr>
          <p:spPr>
            <a:xfrm>
              <a:off x="4135342" y="3342022"/>
              <a:ext cx="1254174" cy="490154"/>
            </a:xfrm>
            <a:prstGeom prst="rect">
              <a:avLst/>
            </a:prstGeom>
            <a:solidFill>
              <a:srgbClr val="FFFFFF"/>
            </a:solidFill>
            <a:ln w="127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605" name="Group 274"/>
            <p:cNvGrpSpPr/>
            <p:nvPr/>
          </p:nvGrpSpPr>
          <p:grpSpPr>
            <a:xfrm>
              <a:off x="4189813" y="3459362"/>
              <a:ext cx="1185394" cy="265814"/>
              <a:chOff x="4187319" y="3463339"/>
              <a:chExt cx="1185394" cy="265814"/>
            </a:xfrm>
          </p:grpSpPr>
          <p:grpSp>
            <p:nvGrpSpPr>
              <p:cNvPr id="606" name="Group 275"/>
              <p:cNvGrpSpPr/>
              <p:nvPr/>
            </p:nvGrpSpPr>
            <p:grpSpPr>
              <a:xfrm>
                <a:off x="4187319" y="3463339"/>
                <a:ext cx="257077" cy="265814"/>
                <a:chOff x="4446645" y="5328269"/>
                <a:chExt cx="393701" cy="407081"/>
              </a:xfrm>
            </p:grpSpPr>
            <p:sp>
              <p:nvSpPr>
                <p:cNvPr id="608" name="Freeform 168"/>
                <p:cNvSpPr>
                  <a:spLocks noEditPoints="1"/>
                </p:cNvSpPr>
                <p:nvPr/>
              </p:nvSpPr>
              <p:spPr bwMode="auto">
                <a:xfrm>
                  <a:off x="4526177" y="5328269"/>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chemeClr val="accent2"/>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09" name="Rectangle 280"/>
                <p:cNvSpPr/>
                <p:nvPr/>
              </p:nvSpPr>
              <p:spPr>
                <a:xfrm>
                  <a:off x="4489499" y="5380035"/>
                  <a:ext cx="114230" cy="2057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0" name="Freeform 168"/>
                <p:cNvSpPr>
                  <a:spLocks noEditPoints="1"/>
                </p:cNvSpPr>
                <p:nvPr/>
              </p:nvSpPr>
              <p:spPr bwMode="auto">
                <a:xfrm>
                  <a:off x="4446645" y="5359067"/>
                  <a:ext cx="314169" cy="376283"/>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a:ln>
                      <a:noFill/>
                    </a:ln>
                    <a:solidFill>
                      <a:srgbClr val="676767"/>
                    </a:solidFill>
                    <a:effectLst/>
                    <a:uLnTx/>
                    <a:uFillTx/>
                  </a:endParaRPr>
                </a:p>
              </p:txBody>
            </p:sp>
            <p:sp>
              <p:nvSpPr>
                <p:cNvPr id="611" name="Rectangle 284"/>
                <p:cNvSpPr/>
                <p:nvPr/>
              </p:nvSpPr>
              <p:spPr>
                <a:xfrm>
                  <a:off x="4446645" y="5420438"/>
                  <a:ext cx="23051" cy="314749"/>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12" name="Rectangle 285"/>
                <p:cNvSpPr/>
                <p:nvPr/>
              </p:nvSpPr>
              <p:spPr>
                <a:xfrm rot="5400000">
                  <a:off x="4562604" y="5595162"/>
                  <a:ext cx="24067" cy="255984"/>
                </a:xfrm>
                <a:prstGeom prst="rect">
                  <a:avLst/>
                </a:prstGeom>
                <a:solidFill>
                  <a:srgbClr val="FFC000"/>
                </a:solidFill>
                <a:ln>
                  <a:noFill/>
                </a:ln>
                <a:extLst/>
              </p:spPr>
              <p:txBody>
                <a:bodyPr vert="horz" wrap="square" lIns="74613" tIns="37307" rIns="74613" bIns="37307" numCol="1" anchor="t" anchorCtr="0" compatLnSpc="1">
                  <a:prstTxWarp prst="textNoShape">
                    <a:avLst/>
                  </a:prstTxWarp>
                </a:bodyPr>
                <a:lstStyle/>
                <a:p>
                  <a:pPr marL="0" marR="0" lvl="0" indent="0"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676767"/>
                    </a:solidFill>
                    <a:effectLst/>
                    <a:uLnTx/>
                    <a:uFillTx/>
                  </a:endParaRPr>
                </a:p>
              </p:txBody>
            </p:sp>
            <p:sp>
              <p:nvSpPr>
                <p:cNvPr id="613" name="Rectangle 294"/>
                <p:cNvSpPr/>
                <p:nvPr/>
              </p:nvSpPr>
              <p:spPr>
                <a:xfrm>
                  <a:off x="4489499" y="5420437"/>
                  <a:ext cx="128726"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4" name="Rectangle 299"/>
                <p:cNvSpPr/>
                <p:nvPr/>
              </p:nvSpPr>
              <p:spPr>
                <a:xfrm>
                  <a:off x="4489499" y="5455903"/>
                  <a:ext cx="118501"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5" name="Rectangle 300"/>
                <p:cNvSpPr/>
                <p:nvPr/>
              </p:nvSpPr>
              <p:spPr>
                <a:xfrm>
                  <a:off x="4489499" y="5491366"/>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6" name="Rectangle 344"/>
                <p:cNvSpPr/>
                <p:nvPr/>
              </p:nvSpPr>
              <p:spPr>
                <a:xfrm>
                  <a:off x="4489499" y="5526830"/>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7" name="Rectangle 458"/>
                <p:cNvSpPr/>
                <p:nvPr/>
              </p:nvSpPr>
              <p:spPr>
                <a:xfrm>
                  <a:off x="4489499" y="5566574"/>
                  <a:ext cx="50024"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sp>
              <p:nvSpPr>
                <p:cNvPr id="618" name="Rectangle 459"/>
                <p:cNvSpPr/>
                <p:nvPr/>
              </p:nvSpPr>
              <p:spPr>
                <a:xfrm>
                  <a:off x="4489499" y="5602038"/>
                  <a:ext cx="69832" cy="16918"/>
                </a:xfrm>
                <a:prstGeom prst="rect">
                  <a:avLst/>
                </a:prstGeom>
                <a:solidFill>
                  <a:srgbClr val="FFC000"/>
                </a:solidFill>
                <a:ln w="25400" cap="flat" cmpd="sng" algn="ctr">
                  <a:noFill/>
                  <a:prstDash val="solid"/>
                </a:ln>
                <a:effectLst/>
              </p:spPr>
              <p:txBody>
                <a:bodyPr rtlCol="0" anchor="ctr"/>
                <a:lstStyle/>
                <a:p>
                  <a:pPr marL="0" marR="0" lvl="0" indent="0" algn="ctr" defTabSz="746150" eaLnBrk="1" fontAlgn="auto" latinLnBrk="0" hangingPunct="1">
                    <a:lnSpc>
                      <a:spcPct val="100000"/>
                    </a:lnSpc>
                    <a:spcBef>
                      <a:spcPts val="0"/>
                    </a:spcBef>
                    <a:spcAft>
                      <a:spcPts val="0"/>
                    </a:spcAft>
                    <a:buClrTx/>
                    <a:buSzTx/>
                    <a:buFontTx/>
                    <a:buNone/>
                    <a:tabLst/>
                    <a:defRPr/>
                  </a:pPr>
                  <a:endParaRPr kumimoji="0" lang="en-US" sz="1469" b="0" i="0" u="none" strike="noStrike" kern="0" cap="none" spc="0" normalizeH="0" baseline="0" noProof="0" dirty="0">
                    <a:ln>
                      <a:noFill/>
                    </a:ln>
                    <a:solidFill>
                      <a:srgbClr val="FFFFFF"/>
                    </a:solidFill>
                    <a:effectLst/>
                    <a:uLnTx/>
                    <a:uFillTx/>
                  </a:endParaRPr>
                </a:p>
              </p:txBody>
            </p:sp>
            <p:grpSp>
              <p:nvGrpSpPr>
                <p:cNvPr id="619" name="Group 460"/>
                <p:cNvGrpSpPr>
                  <a:grpSpLocks noChangeAspect="1"/>
                </p:cNvGrpSpPr>
                <p:nvPr/>
              </p:nvGrpSpPr>
              <p:grpSpPr>
                <a:xfrm>
                  <a:off x="4616915" y="5503457"/>
                  <a:ext cx="168922" cy="155424"/>
                  <a:chOff x="9231726" y="3248067"/>
                  <a:chExt cx="1060101" cy="975395"/>
                </a:xfrm>
                <a:solidFill>
                  <a:schemeClr val="accent6"/>
                </a:solidFill>
              </p:grpSpPr>
              <p:sp>
                <p:nvSpPr>
                  <p:cNvPr id="620" name="Freeform 87"/>
                  <p:cNvSpPr>
                    <a:spLocks/>
                  </p:cNvSpPr>
                  <p:nvPr/>
                </p:nvSpPr>
                <p:spPr bwMode="auto">
                  <a:xfrm>
                    <a:off x="9231726" y="3248067"/>
                    <a:ext cx="1060101" cy="975395"/>
                  </a:xfrm>
                  <a:custGeom>
                    <a:avLst/>
                    <a:gdLst>
                      <a:gd name="T0" fmla="*/ 708 w 826"/>
                      <a:gd name="T1" fmla="*/ 450 h 760"/>
                      <a:gd name="T2" fmla="*/ 554 w 826"/>
                      <a:gd name="T3" fmla="*/ 208 h 760"/>
                      <a:gd name="T4" fmla="*/ 460 w 826"/>
                      <a:gd name="T5" fmla="*/ 62 h 760"/>
                      <a:gd name="T6" fmla="*/ 438 w 826"/>
                      <a:gd name="T7" fmla="*/ 36 h 760"/>
                      <a:gd name="T8" fmla="*/ 414 w 826"/>
                      <a:gd name="T9" fmla="*/ 16 h 760"/>
                      <a:gd name="T10" fmla="*/ 388 w 826"/>
                      <a:gd name="T11" fmla="*/ 4 h 760"/>
                      <a:gd name="T12" fmla="*/ 358 w 826"/>
                      <a:gd name="T13" fmla="*/ 0 h 760"/>
                      <a:gd name="T14" fmla="*/ 344 w 826"/>
                      <a:gd name="T15" fmla="*/ 0 h 760"/>
                      <a:gd name="T16" fmla="*/ 316 w 826"/>
                      <a:gd name="T17" fmla="*/ 8 h 760"/>
                      <a:gd name="T18" fmla="*/ 290 w 826"/>
                      <a:gd name="T19" fmla="*/ 24 h 760"/>
                      <a:gd name="T20" fmla="*/ 268 w 826"/>
                      <a:gd name="T21" fmla="*/ 48 h 760"/>
                      <a:gd name="T22" fmla="*/ 4 w 826"/>
                      <a:gd name="T23" fmla="*/ 458 h 760"/>
                      <a:gd name="T24" fmla="*/ 0 w 826"/>
                      <a:gd name="T25" fmla="*/ 468 h 760"/>
                      <a:gd name="T26" fmla="*/ 6 w 826"/>
                      <a:gd name="T27" fmla="*/ 490 h 760"/>
                      <a:gd name="T28" fmla="*/ 14 w 826"/>
                      <a:gd name="T29" fmla="*/ 498 h 760"/>
                      <a:gd name="T30" fmla="*/ 34 w 826"/>
                      <a:gd name="T31" fmla="*/ 502 h 760"/>
                      <a:gd name="T32" fmla="*/ 52 w 826"/>
                      <a:gd name="T33" fmla="*/ 488 h 760"/>
                      <a:gd name="T34" fmla="*/ 306 w 826"/>
                      <a:gd name="T35" fmla="*/ 94 h 760"/>
                      <a:gd name="T36" fmla="*/ 330 w 826"/>
                      <a:gd name="T37" fmla="*/ 66 h 760"/>
                      <a:gd name="T38" fmla="*/ 358 w 826"/>
                      <a:gd name="T39" fmla="*/ 56 h 760"/>
                      <a:gd name="T40" fmla="*/ 372 w 826"/>
                      <a:gd name="T41" fmla="*/ 60 h 760"/>
                      <a:gd name="T42" fmla="*/ 400 w 826"/>
                      <a:gd name="T43" fmla="*/ 78 h 760"/>
                      <a:gd name="T44" fmla="*/ 506 w 826"/>
                      <a:gd name="T45" fmla="*/ 240 h 760"/>
                      <a:gd name="T46" fmla="*/ 660 w 826"/>
                      <a:gd name="T47" fmla="*/ 480 h 760"/>
                      <a:gd name="T48" fmla="*/ 754 w 826"/>
                      <a:gd name="T49" fmla="*/ 626 h 760"/>
                      <a:gd name="T50" fmla="*/ 768 w 826"/>
                      <a:gd name="T51" fmla="*/ 658 h 760"/>
                      <a:gd name="T52" fmla="*/ 766 w 826"/>
                      <a:gd name="T53" fmla="*/ 682 h 760"/>
                      <a:gd name="T54" fmla="*/ 758 w 826"/>
                      <a:gd name="T55" fmla="*/ 690 h 760"/>
                      <a:gd name="T56" fmla="*/ 730 w 826"/>
                      <a:gd name="T57" fmla="*/ 702 h 760"/>
                      <a:gd name="T58" fmla="*/ 534 w 826"/>
                      <a:gd name="T59" fmla="*/ 702 h 760"/>
                      <a:gd name="T60" fmla="*/ 522 w 826"/>
                      <a:gd name="T61" fmla="*/ 704 h 760"/>
                      <a:gd name="T62" fmla="*/ 508 w 826"/>
                      <a:gd name="T63" fmla="*/ 720 h 760"/>
                      <a:gd name="T64" fmla="*/ 506 w 826"/>
                      <a:gd name="T65" fmla="*/ 732 h 760"/>
                      <a:gd name="T66" fmla="*/ 514 w 826"/>
                      <a:gd name="T67" fmla="*/ 752 h 760"/>
                      <a:gd name="T68" fmla="*/ 534 w 826"/>
                      <a:gd name="T69" fmla="*/ 760 h 760"/>
                      <a:gd name="T70" fmla="*/ 712 w 826"/>
                      <a:gd name="T71" fmla="*/ 760 h 760"/>
                      <a:gd name="T72" fmla="*/ 746 w 826"/>
                      <a:gd name="T73" fmla="*/ 756 h 760"/>
                      <a:gd name="T74" fmla="*/ 776 w 826"/>
                      <a:gd name="T75" fmla="*/ 746 h 760"/>
                      <a:gd name="T76" fmla="*/ 798 w 826"/>
                      <a:gd name="T77" fmla="*/ 730 h 760"/>
                      <a:gd name="T78" fmla="*/ 816 w 826"/>
                      <a:gd name="T79" fmla="*/ 710 h 760"/>
                      <a:gd name="T80" fmla="*/ 822 w 826"/>
                      <a:gd name="T81" fmla="*/ 696 h 760"/>
                      <a:gd name="T82" fmla="*/ 826 w 826"/>
                      <a:gd name="T83" fmla="*/ 670 h 760"/>
                      <a:gd name="T84" fmla="*/ 822 w 826"/>
                      <a:gd name="T85" fmla="*/ 640 h 760"/>
                      <a:gd name="T86" fmla="*/ 810 w 826"/>
                      <a:gd name="T87" fmla="*/ 610 h 760"/>
                      <a:gd name="T88" fmla="*/ 802 w 826"/>
                      <a:gd name="T89" fmla="*/ 596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26" h="760">
                        <a:moveTo>
                          <a:pt x="802" y="596"/>
                        </a:moveTo>
                        <a:lnTo>
                          <a:pt x="708" y="450"/>
                        </a:lnTo>
                        <a:lnTo>
                          <a:pt x="666" y="384"/>
                        </a:lnTo>
                        <a:lnTo>
                          <a:pt x="554" y="208"/>
                        </a:lnTo>
                        <a:lnTo>
                          <a:pt x="460" y="62"/>
                        </a:lnTo>
                        <a:lnTo>
                          <a:pt x="460" y="62"/>
                        </a:lnTo>
                        <a:lnTo>
                          <a:pt x="450" y="48"/>
                        </a:lnTo>
                        <a:lnTo>
                          <a:pt x="438" y="36"/>
                        </a:lnTo>
                        <a:lnTo>
                          <a:pt x="426" y="24"/>
                        </a:lnTo>
                        <a:lnTo>
                          <a:pt x="414" y="16"/>
                        </a:lnTo>
                        <a:lnTo>
                          <a:pt x="400" y="8"/>
                        </a:lnTo>
                        <a:lnTo>
                          <a:pt x="388" y="4"/>
                        </a:lnTo>
                        <a:lnTo>
                          <a:pt x="372" y="0"/>
                        </a:lnTo>
                        <a:lnTo>
                          <a:pt x="358" y="0"/>
                        </a:lnTo>
                        <a:lnTo>
                          <a:pt x="358" y="0"/>
                        </a:lnTo>
                        <a:lnTo>
                          <a:pt x="344" y="0"/>
                        </a:lnTo>
                        <a:lnTo>
                          <a:pt x="330" y="4"/>
                        </a:lnTo>
                        <a:lnTo>
                          <a:pt x="316" y="8"/>
                        </a:lnTo>
                        <a:lnTo>
                          <a:pt x="304" y="16"/>
                        </a:lnTo>
                        <a:lnTo>
                          <a:pt x="290" y="24"/>
                        </a:lnTo>
                        <a:lnTo>
                          <a:pt x="278" y="36"/>
                        </a:lnTo>
                        <a:lnTo>
                          <a:pt x="268" y="48"/>
                        </a:lnTo>
                        <a:lnTo>
                          <a:pt x="258" y="62"/>
                        </a:lnTo>
                        <a:lnTo>
                          <a:pt x="4" y="458"/>
                        </a:lnTo>
                        <a:lnTo>
                          <a:pt x="4" y="458"/>
                        </a:lnTo>
                        <a:lnTo>
                          <a:pt x="0" y="468"/>
                        </a:lnTo>
                        <a:lnTo>
                          <a:pt x="0" y="480"/>
                        </a:lnTo>
                        <a:lnTo>
                          <a:pt x="6" y="490"/>
                        </a:lnTo>
                        <a:lnTo>
                          <a:pt x="14" y="498"/>
                        </a:lnTo>
                        <a:lnTo>
                          <a:pt x="14" y="498"/>
                        </a:lnTo>
                        <a:lnTo>
                          <a:pt x="24" y="502"/>
                        </a:lnTo>
                        <a:lnTo>
                          <a:pt x="34" y="502"/>
                        </a:lnTo>
                        <a:lnTo>
                          <a:pt x="44" y="496"/>
                        </a:lnTo>
                        <a:lnTo>
                          <a:pt x="52" y="488"/>
                        </a:lnTo>
                        <a:lnTo>
                          <a:pt x="306" y="94"/>
                        </a:lnTo>
                        <a:lnTo>
                          <a:pt x="306" y="94"/>
                        </a:lnTo>
                        <a:lnTo>
                          <a:pt x="318" y="78"/>
                        </a:lnTo>
                        <a:lnTo>
                          <a:pt x="330" y="66"/>
                        </a:lnTo>
                        <a:lnTo>
                          <a:pt x="344" y="60"/>
                        </a:lnTo>
                        <a:lnTo>
                          <a:pt x="358" y="56"/>
                        </a:lnTo>
                        <a:lnTo>
                          <a:pt x="358" y="56"/>
                        </a:lnTo>
                        <a:lnTo>
                          <a:pt x="372" y="60"/>
                        </a:lnTo>
                        <a:lnTo>
                          <a:pt x="386" y="66"/>
                        </a:lnTo>
                        <a:lnTo>
                          <a:pt x="400" y="78"/>
                        </a:lnTo>
                        <a:lnTo>
                          <a:pt x="412" y="94"/>
                        </a:lnTo>
                        <a:lnTo>
                          <a:pt x="506" y="240"/>
                        </a:lnTo>
                        <a:lnTo>
                          <a:pt x="618" y="414"/>
                        </a:lnTo>
                        <a:lnTo>
                          <a:pt x="660" y="480"/>
                        </a:lnTo>
                        <a:lnTo>
                          <a:pt x="754" y="626"/>
                        </a:lnTo>
                        <a:lnTo>
                          <a:pt x="754" y="626"/>
                        </a:lnTo>
                        <a:lnTo>
                          <a:pt x="762" y="642"/>
                        </a:lnTo>
                        <a:lnTo>
                          <a:pt x="768" y="658"/>
                        </a:lnTo>
                        <a:lnTo>
                          <a:pt x="768" y="670"/>
                        </a:lnTo>
                        <a:lnTo>
                          <a:pt x="766" y="682"/>
                        </a:lnTo>
                        <a:lnTo>
                          <a:pt x="766" y="682"/>
                        </a:lnTo>
                        <a:lnTo>
                          <a:pt x="758" y="690"/>
                        </a:lnTo>
                        <a:lnTo>
                          <a:pt x="746" y="698"/>
                        </a:lnTo>
                        <a:lnTo>
                          <a:pt x="730" y="702"/>
                        </a:lnTo>
                        <a:lnTo>
                          <a:pt x="712" y="702"/>
                        </a:lnTo>
                        <a:lnTo>
                          <a:pt x="534" y="702"/>
                        </a:lnTo>
                        <a:lnTo>
                          <a:pt x="534" y="702"/>
                        </a:lnTo>
                        <a:lnTo>
                          <a:pt x="522" y="704"/>
                        </a:lnTo>
                        <a:lnTo>
                          <a:pt x="514" y="710"/>
                        </a:lnTo>
                        <a:lnTo>
                          <a:pt x="508" y="720"/>
                        </a:lnTo>
                        <a:lnTo>
                          <a:pt x="506" y="732"/>
                        </a:lnTo>
                        <a:lnTo>
                          <a:pt x="506" y="732"/>
                        </a:lnTo>
                        <a:lnTo>
                          <a:pt x="508" y="742"/>
                        </a:lnTo>
                        <a:lnTo>
                          <a:pt x="514" y="752"/>
                        </a:lnTo>
                        <a:lnTo>
                          <a:pt x="522" y="758"/>
                        </a:lnTo>
                        <a:lnTo>
                          <a:pt x="534" y="760"/>
                        </a:lnTo>
                        <a:lnTo>
                          <a:pt x="712" y="760"/>
                        </a:lnTo>
                        <a:lnTo>
                          <a:pt x="712" y="760"/>
                        </a:lnTo>
                        <a:lnTo>
                          <a:pt x="730" y="758"/>
                        </a:lnTo>
                        <a:lnTo>
                          <a:pt x="746" y="756"/>
                        </a:lnTo>
                        <a:lnTo>
                          <a:pt x="762" y="752"/>
                        </a:lnTo>
                        <a:lnTo>
                          <a:pt x="776" y="746"/>
                        </a:lnTo>
                        <a:lnTo>
                          <a:pt x="788" y="740"/>
                        </a:lnTo>
                        <a:lnTo>
                          <a:pt x="798" y="730"/>
                        </a:lnTo>
                        <a:lnTo>
                          <a:pt x="808" y="720"/>
                        </a:lnTo>
                        <a:lnTo>
                          <a:pt x="816" y="710"/>
                        </a:lnTo>
                        <a:lnTo>
                          <a:pt x="816" y="710"/>
                        </a:lnTo>
                        <a:lnTo>
                          <a:pt x="822" y="696"/>
                        </a:lnTo>
                        <a:lnTo>
                          <a:pt x="824" y="684"/>
                        </a:lnTo>
                        <a:lnTo>
                          <a:pt x="826" y="670"/>
                        </a:lnTo>
                        <a:lnTo>
                          <a:pt x="826" y="656"/>
                        </a:lnTo>
                        <a:lnTo>
                          <a:pt x="822" y="640"/>
                        </a:lnTo>
                        <a:lnTo>
                          <a:pt x="818" y="626"/>
                        </a:lnTo>
                        <a:lnTo>
                          <a:pt x="810" y="610"/>
                        </a:lnTo>
                        <a:lnTo>
                          <a:pt x="802" y="596"/>
                        </a:lnTo>
                        <a:lnTo>
                          <a:pt x="802" y="596"/>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21" name="Freeform 88"/>
                  <p:cNvSpPr>
                    <a:spLocks/>
                  </p:cNvSpPr>
                  <p:nvPr/>
                </p:nvSpPr>
                <p:spPr bwMode="auto">
                  <a:xfrm>
                    <a:off x="9611617" y="4046351"/>
                    <a:ext cx="177111" cy="177111"/>
                  </a:xfrm>
                  <a:custGeom>
                    <a:avLst/>
                    <a:gdLst>
                      <a:gd name="T0" fmla="*/ 70 w 138"/>
                      <a:gd name="T1" fmla="*/ 0 h 138"/>
                      <a:gd name="T2" fmla="*/ 70 w 138"/>
                      <a:gd name="T3" fmla="*/ 0 h 138"/>
                      <a:gd name="T4" fmla="*/ 56 w 138"/>
                      <a:gd name="T5" fmla="*/ 0 h 138"/>
                      <a:gd name="T6" fmla="*/ 42 w 138"/>
                      <a:gd name="T7" fmla="*/ 4 h 138"/>
                      <a:gd name="T8" fmla="*/ 30 w 138"/>
                      <a:gd name="T9" fmla="*/ 12 h 138"/>
                      <a:gd name="T10" fmla="*/ 20 w 138"/>
                      <a:gd name="T11" fmla="*/ 20 h 138"/>
                      <a:gd name="T12" fmla="*/ 12 w 138"/>
                      <a:gd name="T13" fmla="*/ 30 h 138"/>
                      <a:gd name="T14" fmla="*/ 6 w 138"/>
                      <a:gd name="T15" fmla="*/ 42 h 138"/>
                      <a:gd name="T16" fmla="*/ 2 w 138"/>
                      <a:gd name="T17" fmla="*/ 54 h 138"/>
                      <a:gd name="T18" fmla="*/ 0 w 138"/>
                      <a:gd name="T19" fmla="*/ 68 h 138"/>
                      <a:gd name="T20" fmla="*/ 0 w 138"/>
                      <a:gd name="T21" fmla="*/ 68 h 138"/>
                      <a:gd name="T22" fmla="*/ 2 w 138"/>
                      <a:gd name="T23" fmla="*/ 82 h 138"/>
                      <a:gd name="T24" fmla="*/ 6 w 138"/>
                      <a:gd name="T25" fmla="*/ 94 h 138"/>
                      <a:gd name="T26" fmla="*/ 12 w 138"/>
                      <a:gd name="T27" fmla="*/ 106 h 138"/>
                      <a:gd name="T28" fmla="*/ 20 w 138"/>
                      <a:gd name="T29" fmla="*/ 116 h 138"/>
                      <a:gd name="T30" fmla="*/ 30 w 138"/>
                      <a:gd name="T31" fmla="*/ 126 h 138"/>
                      <a:gd name="T32" fmla="*/ 42 w 138"/>
                      <a:gd name="T33" fmla="*/ 132 h 138"/>
                      <a:gd name="T34" fmla="*/ 56 w 138"/>
                      <a:gd name="T35" fmla="*/ 136 h 138"/>
                      <a:gd name="T36" fmla="*/ 70 w 138"/>
                      <a:gd name="T37" fmla="*/ 138 h 138"/>
                      <a:gd name="T38" fmla="*/ 70 w 138"/>
                      <a:gd name="T39" fmla="*/ 138 h 138"/>
                      <a:gd name="T40" fmla="*/ 82 w 138"/>
                      <a:gd name="T41" fmla="*/ 136 h 138"/>
                      <a:gd name="T42" fmla="*/ 96 w 138"/>
                      <a:gd name="T43" fmla="*/ 132 h 138"/>
                      <a:gd name="T44" fmla="*/ 108 w 138"/>
                      <a:gd name="T45" fmla="*/ 126 h 138"/>
                      <a:gd name="T46" fmla="*/ 118 w 138"/>
                      <a:gd name="T47" fmla="*/ 116 h 138"/>
                      <a:gd name="T48" fmla="*/ 126 w 138"/>
                      <a:gd name="T49" fmla="*/ 106 h 138"/>
                      <a:gd name="T50" fmla="*/ 132 w 138"/>
                      <a:gd name="T51" fmla="*/ 94 h 138"/>
                      <a:gd name="T52" fmla="*/ 136 w 138"/>
                      <a:gd name="T53" fmla="*/ 82 h 138"/>
                      <a:gd name="T54" fmla="*/ 138 w 138"/>
                      <a:gd name="T55" fmla="*/ 68 h 138"/>
                      <a:gd name="T56" fmla="*/ 138 w 138"/>
                      <a:gd name="T57" fmla="*/ 68 h 138"/>
                      <a:gd name="T58" fmla="*/ 136 w 138"/>
                      <a:gd name="T59" fmla="*/ 54 h 138"/>
                      <a:gd name="T60" fmla="*/ 132 w 138"/>
                      <a:gd name="T61" fmla="*/ 42 h 138"/>
                      <a:gd name="T62" fmla="*/ 126 w 138"/>
                      <a:gd name="T63" fmla="*/ 30 h 138"/>
                      <a:gd name="T64" fmla="*/ 118 w 138"/>
                      <a:gd name="T65" fmla="*/ 20 h 138"/>
                      <a:gd name="T66" fmla="*/ 108 w 138"/>
                      <a:gd name="T67" fmla="*/ 12 h 138"/>
                      <a:gd name="T68" fmla="*/ 96 w 138"/>
                      <a:gd name="T69" fmla="*/ 4 h 138"/>
                      <a:gd name="T70" fmla="*/ 82 w 138"/>
                      <a:gd name="T71" fmla="*/ 0 h 138"/>
                      <a:gd name="T72" fmla="*/ 70 w 138"/>
                      <a:gd name="T73" fmla="*/ 0 h 138"/>
                      <a:gd name="T74" fmla="*/ 70 w 138"/>
                      <a:gd name="T7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70" y="0"/>
                        </a:moveTo>
                        <a:lnTo>
                          <a:pt x="70" y="0"/>
                        </a:lnTo>
                        <a:lnTo>
                          <a:pt x="56" y="0"/>
                        </a:lnTo>
                        <a:lnTo>
                          <a:pt x="42" y="4"/>
                        </a:lnTo>
                        <a:lnTo>
                          <a:pt x="30" y="12"/>
                        </a:lnTo>
                        <a:lnTo>
                          <a:pt x="20" y="20"/>
                        </a:lnTo>
                        <a:lnTo>
                          <a:pt x="12" y="30"/>
                        </a:lnTo>
                        <a:lnTo>
                          <a:pt x="6" y="42"/>
                        </a:lnTo>
                        <a:lnTo>
                          <a:pt x="2" y="54"/>
                        </a:lnTo>
                        <a:lnTo>
                          <a:pt x="0" y="68"/>
                        </a:lnTo>
                        <a:lnTo>
                          <a:pt x="0" y="68"/>
                        </a:lnTo>
                        <a:lnTo>
                          <a:pt x="2" y="82"/>
                        </a:lnTo>
                        <a:lnTo>
                          <a:pt x="6" y="94"/>
                        </a:lnTo>
                        <a:lnTo>
                          <a:pt x="12" y="106"/>
                        </a:lnTo>
                        <a:lnTo>
                          <a:pt x="20" y="116"/>
                        </a:lnTo>
                        <a:lnTo>
                          <a:pt x="30" y="126"/>
                        </a:lnTo>
                        <a:lnTo>
                          <a:pt x="42" y="132"/>
                        </a:lnTo>
                        <a:lnTo>
                          <a:pt x="56" y="136"/>
                        </a:lnTo>
                        <a:lnTo>
                          <a:pt x="70" y="138"/>
                        </a:lnTo>
                        <a:lnTo>
                          <a:pt x="70" y="138"/>
                        </a:lnTo>
                        <a:lnTo>
                          <a:pt x="82" y="136"/>
                        </a:lnTo>
                        <a:lnTo>
                          <a:pt x="96" y="132"/>
                        </a:lnTo>
                        <a:lnTo>
                          <a:pt x="108" y="126"/>
                        </a:lnTo>
                        <a:lnTo>
                          <a:pt x="118" y="116"/>
                        </a:lnTo>
                        <a:lnTo>
                          <a:pt x="126" y="106"/>
                        </a:lnTo>
                        <a:lnTo>
                          <a:pt x="132" y="94"/>
                        </a:lnTo>
                        <a:lnTo>
                          <a:pt x="136" y="82"/>
                        </a:lnTo>
                        <a:lnTo>
                          <a:pt x="138" y="68"/>
                        </a:lnTo>
                        <a:lnTo>
                          <a:pt x="138" y="68"/>
                        </a:lnTo>
                        <a:lnTo>
                          <a:pt x="136" y="54"/>
                        </a:lnTo>
                        <a:lnTo>
                          <a:pt x="132" y="42"/>
                        </a:lnTo>
                        <a:lnTo>
                          <a:pt x="126" y="30"/>
                        </a:lnTo>
                        <a:lnTo>
                          <a:pt x="118" y="20"/>
                        </a:lnTo>
                        <a:lnTo>
                          <a:pt x="108" y="12"/>
                        </a:lnTo>
                        <a:lnTo>
                          <a:pt x="96" y="4"/>
                        </a:lnTo>
                        <a:lnTo>
                          <a:pt x="82" y="0"/>
                        </a:lnTo>
                        <a:lnTo>
                          <a:pt x="70" y="0"/>
                        </a:lnTo>
                        <a:lnTo>
                          <a:pt x="7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622" name="Freeform 89"/>
                  <p:cNvSpPr>
                    <a:spLocks/>
                  </p:cNvSpPr>
                  <p:nvPr/>
                </p:nvSpPr>
                <p:spPr bwMode="auto">
                  <a:xfrm>
                    <a:off x="9591082" y="3525285"/>
                    <a:ext cx="218181" cy="459462"/>
                  </a:xfrm>
                  <a:custGeom>
                    <a:avLst/>
                    <a:gdLst>
                      <a:gd name="T0" fmla="*/ 86 w 170"/>
                      <a:gd name="T1" fmla="*/ 0 h 358"/>
                      <a:gd name="T2" fmla="*/ 86 w 170"/>
                      <a:gd name="T3" fmla="*/ 0 h 358"/>
                      <a:gd name="T4" fmla="*/ 86 w 170"/>
                      <a:gd name="T5" fmla="*/ 0 h 358"/>
                      <a:gd name="T6" fmla="*/ 68 w 170"/>
                      <a:gd name="T7" fmla="*/ 2 h 358"/>
                      <a:gd name="T8" fmla="*/ 52 w 170"/>
                      <a:gd name="T9" fmla="*/ 6 h 358"/>
                      <a:gd name="T10" fmla="*/ 38 w 170"/>
                      <a:gd name="T11" fmla="*/ 14 h 358"/>
                      <a:gd name="T12" fmla="*/ 26 w 170"/>
                      <a:gd name="T13" fmla="*/ 24 h 358"/>
                      <a:gd name="T14" fmla="*/ 14 w 170"/>
                      <a:gd name="T15" fmla="*/ 36 h 358"/>
                      <a:gd name="T16" fmla="*/ 8 w 170"/>
                      <a:gd name="T17" fmla="*/ 52 h 358"/>
                      <a:gd name="T18" fmla="*/ 2 w 170"/>
                      <a:gd name="T19" fmla="*/ 68 h 358"/>
                      <a:gd name="T20" fmla="*/ 0 w 170"/>
                      <a:gd name="T21" fmla="*/ 84 h 358"/>
                      <a:gd name="T22" fmla="*/ 0 w 170"/>
                      <a:gd name="T23" fmla="*/ 84 h 358"/>
                      <a:gd name="T24" fmla="*/ 2 w 170"/>
                      <a:gd name="T25" fmla="*/ 104 h 358"/>
                      <a:gd name="T26" fmla="*/ 50 w 170"/>
                      <a:gd name="T27" fmla="*/ 330 h 358"/>
                      <a:gd name="T28" fmla="*/ 50 w 170"/>
                      <a:gd name="T29" fmla="*/ 330 h 358"/>
                      <a:gd name="T30" fmla="*/ 56 w 170"/>
                      <a:gd name="T31" fmla="*/ 340 h 358"/>
                      <a:gd name="T32" fmla="*/ 62 w 170"/>
                      <a:gd name="T33" fmla="*/ 350 h 358"/>
                      <a:gd name="T34" fmla="*/ 74 w 170"/>
                      <a:gd name="T35" fmla="*/ 356 h 358"/>
                      <a:gd name="T36" fmla="*/ 86 w 170"/>
                      <a:gd name="T37" fmla="*/ 358 h 358"/>
                      <a:gd name="T38" fmla="*/ 86 w 170"/>
                      <a:gd name="T39" fmla="*/ 358 h 358"/>
                      <a:gd name="T40" fmla="*/ 86 w 170"/>
                      <a:gd name="T41" fmla="*/ 358 h 358"/>
                      <a:gd name="T42" fmla="*/ 96 w 170"/>
                      <a:gd name="T43" fmla="*/ 356 h 358"/>
                      <a:gd name="T44" fmla="*/ 108 w 170"/>
                      <a:gd name="T45" fmla="*/ 350 h 358"/>
                      <a:gd name="T46" fmla="*/ 114 w 170"/>
                      <a:gd name="T47" fmla="*/ 340 h 358"/>
                      <a:gd name="T48" fmla="*/ 120 w 170"/>
                      <a:gd name="T49" fmla="*/ 330 h 358"/>
                      <a:gd name="T50" fmla="*/ 168 w 170"/>
                      <a:gd name="T51" fmla="*/ 104 h 358"/>
                      <a:gd name="T52" fmla="*/ 168 w 170"/>
                      <a:gd name="T53" fmla="*/ 104 h 358"/>
                      <a:gd name="T54" fmla="*/ 170 w 170"/>
                      <a:gd name="T55" fmla="*/ 84 h 358"/>
                      <a:gd name="T56" fmla="*/ 170 w 170"/>
                      <a:gd name="T57" fmla="*/ 84 h 358"/>
                      <a:gd name="T58" fmla="*/ 168 w 170"/>
                      <a:gd name="T59" fmla="*/ 68 h 358"/>
                      <a:gd name="T60" fmla="*/ 162 w 170"/>
                      <a:gd name="T61" fmla="*/ 52 h 358"/>
                      <a:gd name="T62" fmla="*/ 156 w 170"/>
                      <a:gd name="T63" fmla="*/ 36 h 358"/>
                      <a:gd name="T64" fmla="*/ 144 w 170"/>
                      <a:gd name="T65" fmla="*/ 24 h 358"/>
                      <a:gd name="T66" fmla="*/ 132 w 170"/>
                      <a:gd name="T67" fmla="*/ 14 h 358"/>
                      <a:gd name="T68" fmla="*/ 118 w 170"/>
                      <a:gd name="T69" fmla="*/ 6 h 358"/>
                      <a:gd name="T70" fmla="*/ 102 w 170"/>
                      <a:gd name="T71" fmla="*/ 2 h 358"/>
                      <a:gd name="T72" fmla="*/ 86 w 170"/>
                      <a:gd name="T73" fmla="*/ 0 h 358"/>
                      <a:gd name="T74" fmla="*/ 86 w 170"/>
                      <a:gd name="T7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358">
                        <a:moveTo>
                          <a:pt x="86" y="0"/>
                        </a:moveTo>
                        <a:lnTo>
                          <a:pt x="86" y="0"/>
                        </a:lnTo>
                        <a:lnTo>
                          <a:pt x="86" y="0"/>
                        </a:lnTo>
                        <a:lnTo>
                          <a:pt x="68" y="2"/>
                        </a:lnTo>
                        <a:lnTo>
                          <a:pt x="52" y="6"/>
                        </a:lnTo>
                        <a:lnTo>
                          <a:pt x="38" y="14"/>
                        </a:lnTo>
                        <a:lnTo>
                          <a:pt x="26" y="24"/>
                        </a:lnTo>
                        <a:lnTo>
                          <a:pt x="14" y="36"/>
                        </a:lnTo>
                        <a:lnTo>
                          <a:pt x="8" y="52"/>
                        </a:lnTo>
                        <a:lnTo>
                          <a:pt x="2" y="68"/>
                        </a:lnTo>
                        <a:lnTo>
                          <a:pt x="0" y="84"/>
                        </a:lnTo>
                        <a:lnTo>
                          <a:pt x="0" y="84"/>
                        </a:lnTo>
                        <a:lnTo>
                          <a:pt x="2" y="104"/>
                        </a:lnTo>
                        <a:lnTo>
                          <a:pt x="50" y="330"/>
                        </a:lnTo>
                        <a:lnTo>
                          <a:pt x="50" y="330"/>
                        </a:lnTo>
                        <a:lnTo>
                          <a:pt x="56" y="340"/>
                        </a:lnTo>
                        <a:lnTo>
                          <a:pt x="62" y="350"/>
                        </a:lnTo>
                        <a:lnTo>
                          <a:pt x="74" y="356"/>
                        </a:lnTo>
                        <a:lnTo>
                          <a:pt x="86" y="358"/>
                        </a:lnTo>
                        <a:lnTo>
                          <a:pt x="86" y="358"/>
                        </a:lnTo>
                        <a:lnTo>
                          <a:pt x="86" y="358"/>
                        </a:lnTo>
                        <a:lnTo>
                          <a:pt x="96" y="356"/>
                        </a:lnTo>
                        <a:lnTo>
                          <a:pt x="108" y="350"/>
                        </a:lnTo>
                        <a:lnTo>
                          <a:pt x="114" y="340"/>
                        </a:lnTo>
                        <a:lnTo>
                          <a:pt x="120" y="330"/>
                        </a:lnTo>
                        <a:lnTo>
                          <a:pt x="168" y="104"/>
                        </a:lnTo>
                        <a:lnTo>
                          <a:pt x="168" y="104"/>
                        </a:lnTo>
                        <a:lnTo>
                          <a:pt x="170" y="84"/>
                        </a:lnTo>
                        <a:lnTo>
                          <a:pt x="170" y="84"/>
                        </a:lnTo>
                        <a:lnTo>
                          <a:pt x="168" y="68"/>
                        </a:lnTo>
                        <a:lnTo>
                          <a:pt x="162" y="52"/>
                        </a:lnTo>
                        <a:lnTo>
                          <a:pt x="156" y="36"/>
                        </a:lnTo>
                        <a:lnTo>
                          <a:pt x="144" y="24"/>
                        </a:lnTo>
                        <a:lnTo>
                          <a:pt x="132" y="14"/>
                        </a:lnTo>
                        <a:lnTo>
                          <a:pt x="118" y="6"/>
                        </a:lnTo>
                        <a:lnTo>
                          <a:pt x="102" y="2"/>
                        </a:lnTo>
                        <a:lnTo>
                          <a:pt x="86" y="0"/>
                        </a:lnTo>
                        <a:lnTo>
                          <a:pt x="86"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607" name="TextBox 277"/>
              <p:cNvSpPr txBox="1"/>
              <p:nvPr/>
            </p:nvSpPr>
            <p:spPr>
              <a:xfrm>
                <a:off x="4426266" y="3467099"/>
                <a:ext cx="946447" cy="246221"/>
              </a:xfrm>
              <a:prstGeom prst="rect">
                <a:avLst/>
              </a:prstGeom>
              <a:noFill/>
            </p:spPr>
            <p:txBody>
              <a:bodyPr wrap="square" rtlCol="0">
                <a:spAutoFit/>
              </a:bodyPr>
              <a:lstStyle/>
              <a:p>
                <a:r>
                  <a:rPr lang="en-US" sz="1000" b="1" dirty="0"/>
                  <a:t>Inconsistent</a:t>
                </a:r>
              </a:p>
            </p:txBody>
          </p:sp>
        </p:grpSp>
      </p:grpSp>
      <p:sp>
        <p:nvSpPr>
          <p:cNvPr id="623" name="Freeform 195"/>
          <p:cNvSpPr>
            <a:spLocks/>
          </p:cNvSpPr>
          <p:nvPr/>
        </p:nvSpPr>
        <p:spPr bwMode="auto">
          <a:xfrm>
            <a:off x="1610337" y="2721376"/>
            <a:ext cx="161678" cy="280019"/>
          </a:xfrm>
          <a:custGeom>
            <a:avLst/>
            <a:gdLst>
              <a:gd name="T0" fmla="*/ 12 w 194"/>
              <a:gd name="T1" fmla="*/ 0 h 336"/>
              <a:gd name="T2" fmla="*/ 22 w 194"/>
              <a:gd name="T3" fmla="*/ 8 h 336"/>
              <a:gd name="T4" fmla="*/ 30 w 194"/>
              <a:gd name="T5" fmla="*/ 18 h 336"/>
              <a:gd name="T6" fmla="*/ 64 w 194"/>
              <a:gd name="T7" fmla="*/ 58 h 336"/>
              <a:gd name="T8" fmla="*/ 96 w 194"/>
              <a:gd name="T9" fmla="*/ 96 h 336"/>
              <a:gd name="T10" fmla="*/ 126 w 194"/>
              <a:gd name="T11" fmla="*/ 132 h 336"/>
              <a:gd name="T12" fmla="*/ 160 w 194"/>
              <a:gd name="T13" fmla="*/ 172 h 336"/>
              <a:gd name="T14" fmla="*/ 190 w 194"/>
              <a:gd name="T15" fmla="*/ 210 h 336"/>
              <a:gd name="T16" fmla="*/ 194 w 194"/>
              <a:gd name="T17" fmla="*/ 220 h 336"/>
              <a:gd name="T18" fmla="*/ 194 w 194"/>
              <a:gd name="T19" fmla="*/ 224 h 336"/>
              <a:gd name="T20" fmla="*/ 188 w 194"/>
              <a:gd name="T21" fmla="*/ 228 h 336"/>
              <a:gd name="T22" fmla="*/ 184 w 194"/>
              <a:gd name="T23" fmla="*/ 228 h 336"/>
              <a:gd name="T24" fmla="*/ 174 w 194"/>
              <a:gd name="T25" fmla="*/ 228 h 336"/>
              <a:gd name="T26" fmla="*/ 112 w 194"/>
              <a:gd name="T27" fmla="*/ 216 h 336"/>
              <a:gd name="T28" fmla="*/ 110 w 194"/>
              <a:gd name="T29" fmla="*/ 214 h 336"/>
              <a:gd name="T30" fmla="*/ 114 w 194"/>
              <a:gd name="T31" fmla="*/ 228 h 336"/>
              <a:gd name="T32" fmla="*/ 126 w 194"/>
              <a:gd name="T33" fmla="*/ 266 h 336"/>
              <a:gd name="T34" fmla="*/ 138 w 194"/>
              <a:gd name="T35" fmla="*/ 296 h 336"/>
              <a:gd name="T36" fmla="*/ 142 w 194"/>
              <a:gd name="T37" fmla="*/ 310 h 336"/>
              <a:gd name="T38" fmla="*/ 138 w 194"/>
              <a:gd name="T39" fmla="*/ 326 h 336"/>
              <a:gd name="T40" fmla="*/ 124 w 194"/>
              <a:gd name="T41" fmla="*/ 336 h 336"/>
              <a:gd name="T42" fmla="*/ 122 w 194"/>
              <a:gd name="T43" fmla="*/ 336 h 336"/>
              <a:gd name="T44" fmla="*/ 116 w 194"/>
              <a:gd name="T45" fmla="*/ 336 h 336"/>
              <a:gd name="T46" fmla="*/ 116 w 194"/>
              <a:gd name="T47" fmla="*/ 336 h 336"/>
              <a:gd name="T48" fmla="*/ 110 w 194"/>
              <a:gd name="T49" fmla="*/ 334 h 336"/>
              <a:gd name="T50" fmla="*/ 100 w 194"/>
              <a:gd name="T51" fmla="*/ 326 h 336"/>
              <a:gd name="T52" fmla="*/ 98 w 194"/>
              <a:gd name="T53" fmla="*/ 320 h 336"/>
              <a:gd name="T54" fmla="*/ 86 w 194"/>
              <a:gd name="T55" fmla="*/ 286 h 336"/>
              <a:gd name="T56" fmla="*/ 68 w 194"/>
              <a:gd name="T57" fmla="*/ 238 h 336"/>
              <a:gd name="T58" fmla="*/ 66 w 194"/>
              <a:gd name="T59" fmla="*/ 228 h 336"/>
              <a:gd name="T60" fmla="*/ 64 w 194"/>
              <a:gd name="T61" fmla="*/ 230 h 336"/>
              <a:gd name="T62" fmla="*/ 36 w 194"/>
              <a:gd name="T63" fmla="*/ 268 h 336"/>
              <a:gd name="T64" fmla="*/ 18 w 194"/>
              <a:gd name="T65" fmla="*/ 292 h 336"/>
              <a:gd name="T66" fmla="*/ 12 w 194"/>
              <a:gd name="T67" fmla="*/ 296 h 336"/>
              <a:gd name="T68" fmla="*/ 4 w 194"/>
              <a:gd name="T69" fmla="*/ 294 h 336"/>
              <a:gd name="T70" fmla="*/ 0 w 194"/>
              <a:gd name="T71" fmla="*/ 288 h 336"/>
              <a:gd name="T72" fmla="*/ 0 w 194"/>
              <a:gd name="T73" fmla="*/ 282 h 336"/>
              <a:gd name="T74" fmla="*/ 0 w 194"/>
              <a:gd name="T75" fmla="*/ 14 h 336"/>
              <a:gd name="T76" fmla="*/ 2 w 194"/>
              <a:gd name="T77" fmla="*/ 6 h 336"/>
              <a:gd name="T78" fmla="*/ 8 w 194"/>
              <a:gd name="T79" fmla="*/ 0 h 336"/>
              <a:gd name="T80" fmla="*/ 12 w 194"/>
              <a:gd name="T8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4" h="336">
                <a:moveTo>
                  <a:pt x="12" y="0"/>
                </a:moveTo>
                <a:lnTo>
                  <a:pt x="12" y="0"/>
                </a:lnTo>
                <a:lnTo>
                  <a:pt x="18" y="4"/>
                </a:lnTo>
                <a:lnTo>
                  <a:pt x="22" y="8"/>
                </a:lnTo>
                <a:lnTo>
                  <a:pt x="30" y="18"/>
                </a:lnTo>
                <a:lnTo>
                  <a:pt x="30" y="18"/>
                </a:lnTo>
                <a:lnTo>
                  <a:pt x="64" y="58"/>
                </a:lnTo>
                <a:lnTo>
                  <a:pt x="64" y="58"/>
                </a:lnTo>
                <a:lnTo>
                  <a:pt x="96" y="96"/>
                </a:lnTo>
                <a:lnTo>
                  <a:pt x="96" y="96"/>
                </a:lnTo>
                <a:lnTo>
                  <a:pt x="126" y="132"/>
                </a:lnTo>
                <a:lnTo>
                  <a:pt x="126" y="132"/>
                </a:lnTo>
                <a:lnTo>
                  <a:pt x="160" y="172"/>
                </a:lnTo>
                <a:lnTo>
                  <a:pt x="160" y="172"/>
                </a:lnTo>
                <a:lnTo>
                  <a:pt x="190" y="210"/>
                </a:lnTo>
                <a:lnTo>
                  <a:pt x="190" y="210"/>
                </a:lnTo>
                <a:lnTo>
                  <a:pt x="194" y="214"/>
                </a:lnTo>
                <a:lnTo>
                  <a:pt x="194" y="220"/>
                </a:lnTo>
                <a:lnTo>
                  <a:pt x="194" y="220"/>
                </a:lnTo>
                <a:lnTo>
                  <a:pt x="194" y="224"/>
                </a:lnTo>
                <a:lnTo>
                  <a:pt x="192" y="226"/>
                </a:lnTo>
                <a:lnTo>
                  <a:pt x="188" y="228"/>
                </a:lnTo>
                <a:lnTo>
                  <a:pt x="184" y="228"/>
                </a:lnTo>
                <a:lnTo>
                  <a:pt x="184" y="228"/>
                </a:lnTo>
                <a:lnTo>
                  <a:pt x="174" y="228"/>
                </a:lnTo>
                <a:lnTo>
                  <a:pt x="174" y="228"/>
                </a:lnTo>
                <a:lnTo>
                  <a:pt x="112" y="216"/>
                </a:lnTo>
                <a:lnTo>
                  <a:pt x="112" y="216"/>
                </a:lnTo>
                <a:lnTo>
                  <a:pt x="110" y="214"/>
                </a:lnTo>
                <a:lnTo>
                  <a:pt x="110" y="214"/>
                </a:lnTo>
                <a:lnTo>
                  <a:pt x="114" y="228"/>
                </a:lnTo>
                <a:lnTo>
                  <a:pt x="114" y="228"/>
                </a:lnTo>
                <a:lnTo>
                  <a:pt x="126" y="266"/>
                </a:lnTo>
                <a:lnTo>
                  <a:pt x="126" y="266"/>
                </a:lnTo>
                <a:lnTo>
                  <a:pt x="138" y="296"/>
                </a:lnTo>
                <a:lnTo>
                  <a:pt x="138" y="296"/>
                </a:lnTo>
                <a:lnTo>
                  <a:pt x="142" y="310"/>
                </a:lnTo>
                <a:lnTo>
                  <a:pt x="142" y="310"/>
                </a:lnTo>
                <a:lnTo>
                  <a:pt x="142" y="318"/>
                </a:lnTo>
                <a:lnTo>
                  <a:pt x="138" y="326"/>
                </a:lnTo>
                <a:lnTo>
                  <a:pt x="132" y="332"/>
                </a:lnTo>
                <a:lnTo>
                  <a:pt x="124" y="336"/>
                </a:lnTo>
                <a:lnTo>
                  <a:pt x="124" y="336"/>
                </a:lnTo>
                <a:lnTo>
                  <a:pt x="122" y="336"/>
                </a:lnTo>
                <a:lnTo>
                  <a:pt x="122" y="336"/>
                </a:lnTo>
                <a:lnTo>
                  <a:pt x="116" y="336"/>
                </a:lnTo>
                <a:lnTo>
                  <a:pt x="116" y="336"/>
                </a:lnTo>
                <a:lnTo>
                  <a:pt x="116" y="336"/>
                </a:lnTo>
                <a:lnTo>
                  <a:pt x="116" y="336"/>
                </a:lnTo>
                <a:lnTo>
                  <a:pt x="110" y="334"/>
                </a:lnTo>
                <a:lnTo>
                  <a:pt x="104" y="330"/>
                </a:lnTo>
                <a:lnTo>
                  <a:pt x="100" y="326"/>
                </a:lnTo>
                <a:lnTo>
                  <a:pt x="98" y="320"/>
                </a:lnTo>
                <a:lnTo>
                  <a:pt x="98" y="320"/>
                </a:lnTo>
                <a:lnTo>
                  <a:pt x="86" y="286"/>
                </a:lnTo>
                <a:lnTo>
                  <a:pt x="86" y="286"/>
                </a:lnTo>
                <a:lnTo>
                  <a:pt x="68" y="238"/>
                </a:lnTo>
                <a:lnTo>
                  <a:pt x="68" y="238"/>
                </a:lnTo>
                <a:lnTo>
                  <a:pt x="66" y="228"/>
                </a:lnTo>
                <a:lnTo>
                  <a:pt x="66" y="228"/>
                </a:lnTo>
                <a:lnTo>
                  <a:pt x="64" y="230"/>
                </a:lnTo>
                <a:lnTo>
                  <a:pt x="64" y="230"/>
                </a:lnTo>
                <a:lnTo>
                  <a:pt x="36" y="268"/>
                </a:lnTo>
                <a:lnTo>
                  <a:pt x="36" y="268"/>
                </a:lnTo>
                <a:lnTo>
                  <a:pt x="18" y="292"/>
                </a:lnTo>
                <a:lnTo>
                  <a:pt x="18" y="292"/>
                </a:lnTo>
                <a:lnTo>
                  <a:pt x="16" y="294"/>
                </a:lnTo>
                <a:lnTo>
                  <a:pt x="12" y="296"/>
                </a:lnTo>
                <a:lnTo>
                  <a:pt x="8" y="296"/>
                </a:lnTo>
                <a:lnTo>
                  <a:pt x="4" y="294"/>
                </a:lnTo>
                <a:lnTo>
                  <a:pt x="4" y="294"/>
                </a:lnTo>
                <a:lnTo>
                  <a:pt x="0" y="288"/>
                </a:lnTo>
                <a:lnTo>
                  <a:pt x="0" y="282"/>
                </a:lnTo>
                <a:lnTo>
                  <a:pt x="0" y="282"/>
                </a:lnTo>
                <a:lnTo>
                  <a:pt x="0" y="14"/>
                </a:lnTo>
                <a:lnTo>
                  <a:pt x="0" y="14"/>
                </a:lnTo>
                <a:lnTo>
                  <a:pt x="0" y="8"/>
                </a:lnTo>
                <a:lnTo>
                  <a:pt x="2" y="6"/>
                </a:lnTo>
                <a:lnTo>
                  <a:pt x="4" y="2"/>
                </a:lnTo>
                <a:lnTo>
                  <a:pt x="8" y="0"/>
                </a:lnTo>
                <a:lnTo>
                  <a:pt x="8" y="0"/>
                </a:lnTo>
                <a:lnTo>
                  <a:pt x="12" y="0"/>
                </a:lnTo>
                <a:lnTo>
                  <a:pt x="12" y="0"/>
                </a:lnTo>
                <a:close/>
              </a:path>
            </a:pathLst>
          </a:custGeom>
          <a:solidFill>
            <a:schemeClr val="bg1"/>
          </a:solidFill>
          <a:ln w="1905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624" name="Rectangle 207"/>
          <p:cNvSpPr/>
          <p:nvPr/>
        </p:nvSpPr>
        <p:spPr>
          <a:xfrm>
            <a:off x="463779" y="726185"/>
            <a:ext cx="7735333" cy="31394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smtClean="0">
                <a:latin typeface="メイリオ"/>
                <a:ea typeface="メイリオ"/>
                <a:cs typeface="メイリオ"/>
              </a:rPr>
              <a:t>未使用のポリシーを自動検出、削除</a:t>
            </a:r>
            <a:endParaRPr lang="en-US" dirty="0">
              <a:latin typeface="メイリオ"/>
              <a:ea typeface="メイリオ"/>
              <a:cs typeface="メイリオ"/>
            </a:endParaRPr>
          </a:p>
        </p:txBody>
      </p:sp>
    </p:spTree>
    <p:extLst>
      <p:ext uri="{BB962C8B-B14F-4D97-AF65-F5344CB8AC3E}">
        <p14:creationId xmlns:p14="http://schemas.microsoft.com/office/powerpoint/2010/main" val="29717883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path" presetSubtype="0" accel="50000" decel="50000" fill="hold" grpId="0" nodeType="withEffect">
                                  <p:stCondLst>
                                    <p:cond delay="0"/>
                                  </p:stCondLst>
                                  <p:childTnLst>
                                    <p:animMotion origin="layout" path="M -1.875E-6 -1.85185E-6 L 0.00222 0.02408 C 0.003 0.02871 0.00209 0.03542 0.00078 0.04306 C -0.00065 0.05093 -0.0026 0.05648 -0.00469 0.06019 L -0.01445 0.07801 " pathEditMode="relative" rAng="6480000" ptsTypes="AAAAA">
                                      <p:cBhvr>
                                        <p:cTn id="6" dur="750" fill="hold"/>
                                        <p:tgtEl>
                                          <p:spTgt spid="623"/>
                                        </p:tgtEl>
                                        <p:attrNameLst>
                                          <p:attrName>ppt_x</p:attrName>
                                          <p:attrName>ppt_y</p:attrName>
                                        </p:attrNameLst>
                                      </p:cBhvr>
                                      <p:rCtr x="-326" y="4120"/>
                                    </p:animMotion>
                                  </p:childTnLst>
                                </p:cTn>
                              </p:par>
                              <p:par>
                                <p:cTn id="7" presetID="1" presetClass="entr" presetSubtype="0" fill="hold" grpId="0" nodeType="withEffect">
                                  <p:stCondLst>
                                    <p:cond delay="750"/>
                                  </p:stCondLst>
                                  <p:childTnLst>
                                    <p:set>
                                      <p:cBhvr>
                                        <p:cTn id="8" dur="1" fill="hold">
                                          <p:stCondLst>
                                            <p:cond delay="0"/>
                                          </p:stCondLst>
                                        </p:cTn>
                                        <p:tgtEl>
                                          <p:spTgt spid="525"/>
                                        </p:tgtEl>
                                        <p:attrNameLst>
                                          <p:attrName>style.visibility</p:attrName>
                                        </p:attrNameLst>
                                      </p:cBhvr>
                                      <p:to>
                                        <p:strVal val="visible"/>
                                      </p:to>
                                    </p:set>
                                  </p:childTnLst>
                                </p:cTn>
                              </p:par>
                              <p:par>
                                <p:cTn id="9" presetID="1" presetClass="entr" presetSubtype="0" fill="hold" grpId="0" nodeType="withEffect">
                                  <p:stCondLst>
                                    <p:cond delay="750"/>
                                  </p:stCondLst>
                                  <p:childTnLst>
                                    <p:set>
                                      <p:cBhvr>
                                        <p:cTn id="10" dur="1" fill="hold">
                                          <p:stCondLst>
                                            <p:cond delay="0"/>
                                          </p:stCondLst>
                                        </p:cTn>
                                        <p:tgtEl>
                                          <p:spTgt spid="526"/>
                                        </p:tgtEl>
                                        <p:attrNameLst>
                                          <p:attrName>style.visibility</p:attrName>
                                        </p:attrNameLst>
                                      </p:cBhvr>
                                      <p:to>
                                        <p:strVal val="visible"/>
                                      </p:to>
                                    </p:set>
                                  </p:childTnLst>
                                </p:cTn>
                              </p:par>
                              <p:par>
                                <p:cTn id="11" presetID="1" presetClass="entr" presetSubtype="0" fill="hold" grpId="0" nodeType="withEffect">
                                  <p:stCondLst>
                                    <p:cond delay="750"/>
                                  </p:stCondLst>
                                  <p:childTnLst>
                                    <p:set>
                                      <p:cBhvr>
                                        <p:cTn id="12" dur="1" fill="hold">
                                          <p:stCondLst>
                                            <p:cond delay="0"/>
                                          </p:stCondLst>
                                        </p:cTn>
                                        <p:tgtEl>
                                          <p:spTgt spid="527"/>
                                        </p:tgtEl>
                                        <p:attrNameLst>
                                          <p:attrName>style.visibility</p:attrName>
                                        </p:attrNameLst>
                                      </p:cBhvr>
                                      <p:to>
                                        <p:strVal val="visible"/>
                                      </p:to>
                                    </p:set>
                                  </p:childTnLst>
                                </p:cTn>
                              </p:par>
                              <p:par>
                                <p:cTn id="13" presetID="1" presetClass="entr" presetSubtype="0" fill="hold" nodeType="withEffect">
                                  <p:stCondLst>
                                    <p:cond delay="750"/>
                                  </p:stCondLst>
                                  <p:childTnLst>
                                    <p:set>
                                      <p:cBhvr>
                                        <p:cTn id="14" dur="1" fill="hold">
                                          <p:stCondLst>
                                            <p:cond delay="0"/>
                                          </p:stCondLst>
                                        </p:cTn>
                                        <p:tgtEl>
                                          <p:spTgt spid="603"/>
                                        </p:tgtEl>
                                        <p:attrNameLst>
                                          <p:attrName>style.visibility</p:attrName>
                                        </p:attrNameLst>
                                      </p:cBhvr>
                                      <p:to>
                                        <p:strVal val="visible"/>
                                      </p:to>
                                    </p:set>
                                  </p:childTnLst>
                                </p:cTn>
                              </p:par>
                            </p:childTnLst>
                          </p:cTn>
                        </p:par>
                        <p:par>
                          <p:cTn id="15" fill="hold">
                            <p:stCondLst>
                              <p:cond delay="750"/>
                            </p:stCondLst>
                            <p:childTnLst>
                              <p:par>
                                <p:cTn id="16" presetID="1" presetClass="entr" presetSubtype="0" fill="hold" grpId="0" nodeType="afterEffect">
                                  <p:stCondLst>
                                    <p:cond delay="500"/>
                                  </p:stCondLst>
                                  <p:childTnLst>
                                    <p:set>
                                      <p:cBhvr>
                                        <p:cTn id="17" dur="1" fill="hold">
                                          <p:stCondLst>
                                            <p:cond delay="0"/>
                                          </p:stCondLst>
                                        </p:cTn>
                                        <p:tgtEl>
                                          <p:spTgt spid="528"/>
                                        </p:tgtEl>
                                        <p:attrNameLst>
                                          <p:attrName>style.visibility</p:attrName>
                                        </p:attrNameLst>
                                      </p:cBhvr>
                                      <p:to>
                                        <p:strVal val="visible"/>
                                      </p:to>
                                    </p:set>
                                  </p:childTnLst>
                                </p:cTn>
                              </p:par>
                              <p:par>
                                <p:cTn id="18" presetID="1" presetClass="entr" presetSubtype="0" fill="hold" grpId="0" nodeType="withEffect">
                                  <p:stCondLst>
                                    <p:cond delay="750"/>
                                  </p:stCondLst>
                                  <p:childTnLst>
                                    <p:set>
                                      <p:cBhvr>
                                        <p:cTn id="19" dur="1" fill="hold">
                                          <p:stCondLst>
                                            <p:cond delay="0"/>
                                          </p:stCondLst>
                                        </p:cTn>
                                        <p:tgtEl>
                                          <p:spTgt spid="529"/>
                                        </p:tgtEl>
                                        <p:attrNameLst>
                                          <p:attrName>style.visibility</p:attrName>
                                        </p:attrNameLst>
                                      </p:cBhvr>
                                      <p:to>
                                        <p:strVal val="visible"/>
                                      </p:to>
                                    </p:set>
                                  </p:childTnLst>
                                </p:cTn>
                              </p:par>
                              <p:par>
                                <p:cTn id="20" presetID="1" presetClass="entr" presetSubtype="0" fill="hold" grpId="0" nodeType="withEffect">
                                  <p:stCondLst>
                                    <p:cond delay="1000"/>
                                  </p:stCondLst>
                                  <p:childTnLst>
                                    <p:set>
                                      <p:cBhvr>
                                        <p:cTn id="21" dur="1" fill="hold">
                                          <p:stCondLst>
                                            <p:cond delay="0"/>
                                          </p:stCondLst>
                                        </p:cTn>
                                        <p:tgtEl>
                                          <p:spTgt spid="530"/>
                                        </p:tgtEl>
                                        <p:attrNameLst>
                                          <p:attrName>style.visibility</p:attrName>
                                        </p:attrNameLst>
                                      </p:cBhvr>
                                      <p:to>
                                        <p:strVal val="visible"/>
                                      </p:to>
                                    </p:set>
                                  </p:childTnLst>
                                </p:cTn>
                              </p:par>
                              <p:par>
                                <p:cTn id="22" presetID="1" presetClass="entr" presetSubtype="0" fill="hold" nodeType="withEffect">
                                  <p:stCondLst>
                                    <p:cond delay="2500"/>
                                  </p:stCondLst>
                                  <p:childTnLst>
                                    <p:set>
                                      <p:cBhvr>
                                        <p:cTn id="23" dur="1" fill="hold">
                                          <p:stCondLst>
                                            <p:cond delay="0"/>
                                          </p:stCondLst>
                                        </p:cTn>
                                        <p:tgtEl>
                                          <p:spTgt spid="531"/>
                                        </p:tgtEl>
                                        <p:attrNameLst>
                                          <p:attrName>style.visibility</p:attrName>
                                        </p:attrNameLst>
                                      </p:cBhvr>
                                      <p:to>
                                        <p:strVal val="visible"/>
                                      </p:to>
                                    </p:set>
                                  </p:childTnLst>
                                </p:cTn>
                              </p:par>
                              <p:par>
                                <p:cTn id="24" presetID="1" presetClass="entr" presetSubtype="0" fill="hold" nodeType="withEffect">
                                  <p:stCondLst>
                                    <p:cond delay="2750"/>
                                  </p:stCondLst>
                                  <p:childTnLst>
                                    <p:set>
                                      <p:cBhvr>
                                        <p:cTn id="25" dur="1" fill="hold">
                                          <p:stCondLst>
                                            <p:cond delay="0"/>
                                          </p:stCondLst>
                                        </p:cTn>
                                        <p:tgtEl>
                                          <p:spTgt spid="573"/>
                                        </p:tgtEl>
                                        <p:attrNameLst>
                                          <p:attrName>style.visibility</p:attrName>
                                        </p:attrNameLst>
                                      </p:cBhvr>
                                      <p:to>
                                        <p:strVal val="visible"/>
                                      </p:to>
                                    </p:set>
                                  </p:childTnLst>
                                </p:cTn>
                              </p:par>
                              <p:par>
                                <p:cTn id="26" presetID="1" presetClass="entr" presetSubtype="0" fill="hold" nodeType="withEffect">
                                  <p:stCondLst>
                                    <p:cond delay="3000"/>
                                  </p:stCondLst>
                                  <p:childTnLst>
                                    <p:set>
                                      <p:cBhvr>
                                        <p:cTn id="27" dur="1" fill="hold">
                                          <p:stCondLst>
                                            <p:cond delay="0"/>
                                          </p:stCondLst>
                                        </p:cTn>
                                        <p:tgtEl>
                                          <p:spTgt spid="587"/>
                                        </p:tgtEl>
                                        <p:attrNameLst>
                                          <p:attrName>style.visibility</p:attrName>
                                        </p:attrNameLst>
                                      </p:cBhvr>
                                      <p:to>
                                        <p:strVal val="visible"/>
                                      </p:to>
                                    </p:set>
                                  </p:childTnLst>
                                </p:cTn>
                              </p:par>
                              <p:par>
                                <p:cTn id="28" presetID="1" presetClass="entr" presetSubtype="0" fill="hold" nodeType="withEffect">
                                  <p:stCondLst>
                                    <p:cond delay="3250"/>
                                  </p:stCondLst>
                                  <p:childTnLst>
                                    <p:set>
                                      <p:cBhvr>
                                        <p:cTn id="29" dur="1" fill="hold">
                                          <p:stCondLst>
                                            <p:cond delay="0"/>
                                          </p:stCondLst>
                                        </p:cTn>
                                        <p:tgtEl>
                                          <p:spTgt spid="545"/>
                                        </p:tgtEl>
                                        <p:attrNameLst>
                                          <p:attrName>style.visibility</p:attrName>
                                        </p:attrNameLst>
                                      </p:cBhvr>
                                      <p:to>
                                        <p:strVal val="visible"/>
                                      </p:to>
                                    </p:set>
                                  </p:childTnLst>
                                </p:cTn>
                              </p:par>
                              <p:par>
                                <p:cTn id="30" presetID="1" presetClass="entr" presetSubtype="0" fill="hold" nodeType="withEffect">
                                  <p:stCondLst>
                                    <p:cond delay="3500"/>
                                  </p:stCondLst>
                                  <p:childTnLst>
                                    <p:set>
                                      <p:cBhvr>
                                        <p:cTn id="31" dur="1" fill="hold">
                                          <p:stCondLst>
                                            <p:cond delay="0"/>
                                          </p:stCondLst>
                                        </p:cTn>
                                        <p:tgtEl>
                                          <p:spTgt spid="5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5" grpId="0" animBg="1"/>
      <p:bldP spid="526" grpId="0" animBg="1"/>
      <p:bldP spid="527" grpId="0" animBg="1"/>
      <p:bldP spid="528" grpId="0" animBg="1"/>
      <p:bldP spid="529" grpId="0" animBg="1"/>
      <p:bldP spid="530" grpId="0" animBg="1"/>
      <p:bldP spid="62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021" y="1032125"/>
            <a:ext cx="7717155" cy="3296025"/>
          </a:xfrm>
          <a:prstGeom prst="rect">
            <a:avLst/>
          </a:prstGeom>
          <a:noFill/>
          <a:ln w="28575" cap="flat" cmpd="sng" algn="ctr">
            <a:solidFill>
              <a:srgbClr val="1A315D"/>
            </a:solidFill>
            <a:prstDash val="sysDash"/>
          </a:ln>
          <a:effectLst/>
        </p:spPr>
        <p:txBody>
          <a:bodyPr lIns="68580" tIns="34290" rIns="68580" bIns="34290" rtlCol="0" anchor="ctr"/>
          <a:lstStyle/>
          <a:p>
            <a:pPr algn="ctr"/>
            <a:endParaRPr lang="en-US" sz="1200" kern="0" dirty="0">
              <a:solidFill>
                <a:srgbClr val="FFFFFF"/>
              </a:solidFill>
              <a:latin typeface="メイリオ"/>
              <a:ea typeface="メイリオ"/>
              <a:cs typeface="メイリオ"/>
            </a:endParaRPr>
          </a:p>
        </p:txBody>
      </p:sp>
      <p:sp>
        <p:nvSpPr>
          <p:cNvPr id="5" name="Oval 4"/>
          <p:cNvSpPr/>
          <p:nvPr/>
        </p:nvSpPr>
        <p:spPr>
          <a:xfrm>
            <a:off x="5679565" y="1084512"/>
            <a:ext cx="3481578" cy="3481578"/>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endParaRPr>
          </a:p>
        </p:txBody>
      </p:sp>
      <p:sp>
        <p:nvSpPr>
          <p:cNvPr id="208" name="Freeform 5"/>
          <p:cNvSpPr>
            <a:spLocks noEditPoints="1"/>
          </p:cNvSpPr>
          <p:nvPr/>
        </p:nvSpPr>
        <p:spPr bwMode="auto">
          <a:xfrm>
            <a:off x="5779418" y="1155046"/>
            <a:ext cx="3291840" cy="3291840"/>
          </a:xfrm>
          <a:custGeom>
            <a:avLst/>
            <a:gdLst>
              <a:gd name="T0" fmla="*/ 3483 w 4600"/>
              <a:gd name="T1" fmla="*/ 324 h 4608"/>
              <a:gd name="T2" fmla="*/ 1030 w 4600"/>
              <a:gd name="T3" fmla="*/ 391 h 4608"/>
              <a:gd name="T4" fmla="*/ 1224 w 4600"/>
              <a:gd name="T5" fmla="*/ 735 h 4608"/>
              <a:gd name="T6" fmla="*/ 4472 w 4600"/>
              <a:gd name="T7" fmla="*/ 2015 h 4608"/>
              <a:gd name="T8" fmla="*/ 4278 w 4600"/>
              <a:gd name="T9" fmla="*/ 1298 h 4608"/>
              <a:gd name="T10" fmla="*/ 4001 w 4600"/>
              <a:gd name="T11" fmla="*/ 836 h 4608"/>
              <a:gd name="T12" fmla="*/ 3970 w 4600"/>
              <a:gd name="T13" fmla="*/ 770 h 4608"/>
              <a:gd name="T14" fmla="*/ 3785 w 4600"/>
              <a:gd name="T15" fmla="*/ 539 h 4608"/>
              <a:gd name="T16" fmla="*/ 3551 w 4600"/>
              <a:gd name="T17" fmla="*/ 370 h 4608"/>
              <a:gd name="T18" fmla="*/ 3581 w 4600"/>
              <a:gd name="T19" fmla="*/ 432 h 4608"/>
              <a:gd name="T20" fmla="*/ 2328 w 4600"/>
              <a:gd name="T21" fmla="*/ 0 h 4608"/>
              <a:gd name="T22" fmla="*/ 1338 w 4600"/>
              <a:gd name="T23" fmla="*/ 309 h 4608"/>
              <a:gd name="T24" fmla="*/ 1071 w 4600"/>
              <a:gd name="T25" fmla="*/ 448 h 4608"/>
              <a:gd name="T26" fmla="*/ 137 w 4600"/>
              <a:gd name="T27" fmla="*/ 1519 h 4608"/>
              <a:gd name="T28" fmla="*/ 1048 w 4600"/>
              <a:gd name="T29" fmla="*/ 4231 h 4608"/>
              <a:gd name="T30" fmla="*/ 3629 w 4600"/>
              <a:gd name="T31" fmla="*/ 4183 h 4608"/>
              <a:gd name="T32" fmla="*/ 3904 w 4600"/>
              <a:gd name="T33" fmla="*/ 786 h 4608"/>
              <a:gd name="T34" fmla="*/ 3442 w 4600"/>
              <a:gd name="T35" fmla="*/ 1400 h 4608"/>
              <a:gd name="T36" fmla="*/ 2915 w 4600"/>
              <a:gd name="T37" fmla="*/ 84 h 4608"/>
              <a:gd name="T38" fmla="*/ 2930 w 4600"/>
              <a:gd name="T39" fmla="*/ 333 h 4608"/>
              <a:gd name="T40" fmla="*/ 3346 w 4600"/>
              <a:gd name="T41" fmla="*/ 544 h 4608"/>
              <a:gd name="T42" fmla="*/ 3063 w 4600"/>
              <a:gd name="T43" fmla="*/ 729 h 4608"/>
              <a:gd name="T44" fmla="*/ 2665 w 4600"/>
              <a:gd name="T45" fmla="*/ 498 h 4608"/>
              <a:gd name="T46" fmla="*/ 2752 w 4600"/>
              <a:gd name="T47" fmla="*/ 795 h 4608"/>
              <a:gd name="T48" fmla="*/ 2930 w 4600"/>
              <a:gd name="T49" fmla="*/ 816 h 4608"/>
              <a:gd name="T50" fmla="*/ 2412 w 4600"/>
              <a:gd name="T51" fmla="*/ 470 h 4608"/>
              <a:gd name="T52" fmla="*/ 2613 w 4600"/>
              <a:gd name="T53" fmla="*/ 489 h 4608"/>
              <a:gd name="T54" fmla="*/ 2449 w 4600"/>
              <a:gd name="T55" fmla="*/ 594 h 4608"/>
              <a:gd name="T56" fmla="*/ 2316 w 4600"/>
              <a:gd name="T57" fmla="*/ 631 h 4608"/>
              <a:gd name="T58" fmla="*/ 2234 w 4600"/>
              <a:gd name="T59" fmla="*/ 621 h 4608"/>
              <a:gd name="T60" fmla="*/ 1886 w 4600"/>
              <a:gd name="T61" fmla="*/ 566 h 4608"/>
              <a:gd name="T62" fmla="*/ 1967 w 4600"/>
              <a:gd name="T63" fmla="*/ 724 h 4608"/>
              <a:gd name="T64" fmla="*/ 4063 w 4600"/>
              <a:gd name="T65" fmla="*/ 3413 h 4608"/>
              <a:gd name="T66" fmla="*/ 3309 w 4600"/>
              <a:gd name="T67" fmla="*/ 4181 h 4608"/>
              <a:gd name="T68" fmla="*/ 2771 w 4600"/>
              <a:gd name="T69" fmla="*/ 4508 h 4608"/>
              <a:gd name="T70" fmla="*/ 2807 w 4600"/>
              <a:gd name="T71" fmla="*/ 4279 h 4608"/>
              <a:gd name="T72" fmla="*/ 2730 w 4600"/>
              <a:gd name="T73" fmla="*/ 3290 h 4608"/>
              <a:gd name="T74" fmla="*/ 2690 w 4600"/>
              <a:gd name="T75" fmla="*/ 2942 h 4608"/>
              <a:gd name="T76" fmla="*/ 2376 w 4600"/>
              <a:gd name="T77" fmla="*/ 2721 h 4608"/>
              <a:gd name="T78" fmla="*/ 1629 w 4600"/>
              <a:gd name="T79" fmla="*/ 2102 h 4608"/>
              <a:gd name="T80" fmla="*/ 1562 w 4600"/>
              <a:gd name="T81" fmla="*/ 2195 h 4608"/>
              <a:gd name="T82" fmla="*/ 1403 w 4600"/>
              <a:gd name="T83" fmla="*/ 1405 h 4608"/>
              <a:gd name="T84" fmla="*/ 1210 w 4600"/>
              <a:gd name="T85" fmla="*/ 775 h 4608"/>
              <a:gd name="T86" fmla="*/ 1076 w 4600"/>
              <a:gd name="T87" fmla="*/ 667 h 4608"/>
              <a:gd name="T88" fmla="*/ 1471 w 4600"/>
              <a:gd name="T89" fmla="*/ 468 h 4608"/>
              <a:gd name="T90" fmla="*/ 1967 w 4600"/>
              <a:gd name="T91" fmla="*/ 754 h 4608"/>
              <a:gd name="T92" fmla="*/ 2485 w 4600"/>
              <a:gd name="T93" fmla="*/ 775 h 4608"/>
              <a:gd name="T94" fmla="*/ 2627 w 4600"/>
              <a:gd name="T95" fmla="*/ 1252 h 4608"/>
              <a:gd name="T96" fmla="*/ 3223 w 4600"/>
              <a:gd name="T97" fmla="*/ 1154 h 4608"/>
              <a:gd name="T98" fmla="*/ 3104 w 4600"/>
              <a:gd name="T99" fmla="*/ 1517 h 4608"/>
              <a:gd name="T100" fmla="*/ 2869 w 4600"/>
              <a:gd name="T101" fmla="*/ 1743 h 4608"/>
              <a:gd name="T102" fmla="*/ 2583 w 4600"/>
              <a:gd name="T103" fmla="*/ 2113 h 4608"/>
              <a:gd name="T104" fmla="*/ 2234 w 4600"/>
              <a:gd name="T105" fmla="*/ 2547 h 4608"/>
              <a:gd name="T106" fmla="*/ 2439 w 4600"/>
              <a:gd name="T107" fmla="*/ 2650 h 4608"/>
              <a:gd name="T108" fmla="*/ 2690 w 4600"/>
              <a:gd name="T109" fmla="*/ 2911 h 4608"/>
              <a:gd name="T110" fmla="*/ 3131 w 4600"/>
              <a:gd name="T111" fmla="*/ 2830 h 4608"/>
              <a:gd name="T112" fmla="*/ 3780 w 4600"/>
              <a:gd name="T113" fmla="*/ 2947 h 4608"/>
              <a:gd name="T114" fmla="*/ 3063 w 4600"/>
              <a:gd name="T115" fmla="*/ 2522 h 4608"/>
              <a:gd name="T116" fmla="*/ 2674 w 4600"/>
              <a:gd name="T117" fmla="*/ 2378 h 4608"/>
              <a:gd name="T118" fmla="*/ 2627 w 4600"/>
              <a:gd name="T119" fmla="*/ 4519 h 4608"/>
              <a:gd name="T120" fmla="*/ 4324 w 4600"/>
              <a:gd name="T121" fmla="*/ 1266 h 4608"/>
              <a:gd name="T122" fmla="*/ 4164 w 4600"/>
              <a:gd name="T123" fmla="*/ 1001 h 4608"/>
              <a:gd name="T124" fmla="*/ 4267 w 4600"/>
              <a:gd name="T125" fmla="*/ 1119 h 4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00" h="4608">
                <a:moveTo>
                  <a:pt x="1117" y="329"/>
                </a:moveTo>
                <a:lnTo>
                  <a:pt x="1101" y="345"/>
                </a:lnTo>
                <a:lnTo>
                  <a:pt x="1128" y="329"/>
                </a:lnTo>
                <a:lnTo>
                  <a:pt x="1131" y="329"/>
                </a:lnTo>
                <a:lnTo>
                  <a:pt x="1137" y="324"/>
                </a:lnTo>
                <a:lnTo>
                  <a:pt x="1117" y="329"/>
                </a:lnTo>
                <a:close/>
                <a:moveTo>
                  <a:pt x="1055" y="375"/>
                </a:moveTo>
                <a:lnTo>
                  <a:pt x="1046" y="386"/>
                </a:lnTo>
                <a:lnTo>
                  <a:pt x="1066" y="381"/>
                </a:lnTo>
                <a:lnTo>
                  <a:pt x="1087" y="375"/>
                </a:lnTo>
                <a:lnTo>
                  <a:pt x="1101" y="375"/>
                </a:lnTo>
                <a:lnTo>
                  <a:pt x="1137" y="356"/>
                </a:lnTo>
                <a:lnTo>
                  <a:pt x="1142" y="345"/>
                </a:lnTo>
                <a:lnTo>
                  <a:pt x="1122" y="356"/>
                </a:lnTo>
                <a:lnTo>
                  <a:pt x="1106" y="356"/>
                </a:lnTo>
                <a:lnTo>
                  <a:pt x="1147" y="329"/>
                </a:lnTo>
                <a:lnTo>
                  <a:pt x="1163" y="320"/>
                </a:lnTo>
                <a:lnTo>
                  <a:pt x="1131" y="329"/>
                </a:lnTo>
                <a:lnTo>
                  <a:pt x="1131" y="329"/>
                </a:lnTo>
                <a:lnTo>
                  <a:pt x="1083" y="361"/>
                </a:lnTo>
                <a:lnTo>
                  <a:pt x="1035" y="391"/>
                </a:lnTo>
                <a:lnTo>
                  <a:pt x="1041" y="386"/>
                </a:lnTo>
                <a:lnTo>
                  <a:pt x="1055" y="375"/>
                </a:lnTo>
                <a:close/>
                <a:moveTo>
                  <a:pt x="2787" y="4560"/>
                </a:moveTo>
                <a:lnTo>
                  <a:pt x="2782" y="4560"/>
                </a:lnTo>
                <a:lnTo>
                  <a:pt x="2777" y="4560"/>
                </a:lnTo>
                <a:lnTo>
                  <a:pt x="2777" y="4560"/>
                </a:lnTo>
                <a:lnTo>
                  <a:pt x="2750" y="4565"/>
                </a:lnTo>
                <a:lnTo>
                  <a:pt x="2725" y="4571"/>
                </a:lnTo>
                <a:lnTo>
                  <a:pt x="2700" y="4576"/>
                </a:lnTo>
                <a:lnTo>
                  <a:pt x="2674" y="4581"/>
                </a:lnTo>
                <a:lnTo>
                  <a:pt x="2674" y="4581"/>
                </a:lnTo>
                <a:lnTo>
                  <a:pt x="2732" y="4572"/>
                </a:lnTo>
                <a:lnTo>
                  <a:pt x="2761" y="4567"/>
                </a:lnTo>
                <a:lnTo>
                  <a:pt x="2787" y="4560"/>
                </a:lnTo>
                <a:lnTo>
                  <a:pt x="2787" y="4560"/>
                </a:lnTo>
                <a:close/>
                <a:moveTo>
                  <a:pt x="3483" y="324"/>
                </a:moveTo>
                <a:lnTo>
                  <a:pt x="3483" y="324"/>
                </a:lnTo>
                <a:lnTo>
                  <a:pt x="3483" y="324"/>
                </a:lnTo>
                <a:lnTo>
                  <a:pt x="3488" y="327"/>
                </a:lnTo>
                <a:lnTo>
                  <a:pt x="3492" y="329"/>
                </a:lnTo>
                <a:lnTo>
                  <a:pt x="3504" y="334"/>
                </a:lnTo>
                <a:lnTo>
                  <a:pt x="3504" y="334"/>
                </a:lnTo>
                <a:lnTo>
                  <a:pt x="3497" y="334"/>
                </a:lnTo>
                <a:lnTo>
                  <a:pt x="3492" y="331"/>
                </a:lnTo>
                <a:lnTo>
                  <a:pt x="3483" y="324"/>
                </a:lnTo>
                <a:lnTo>
                  <a:pt x="3483" y="324"/>
                </a:lnTo>
                <a:close/>
                <a:moveTo>
                  <a:pt x="1957" y="612"/>
                </a:moveTo>
                <a:lnTo>
                  <a:pt x="1978" y="606"/>
                </a:lnTo>
                <a:lnTo>
                  <a:pt x="1998" y="601"/>
                </a:lnTo>
                <a:lnTo>
                  <a:pt x="1998" y="601"/>
                </a:lnTo>
                <a:lnTo>
                  <a:pt x="1967" y="606"/>
                </a:lnTo>
                <a:lnTo>
                  <a:pt x="1957" y="612"/>
                </a:lnTo>
                <a:close/>
                <a:moveTo>
                  <a:pt x="3300" y="228"/>
                </a:moveTo>
                <a:lnTo>
                  <a:pt x="3278" y="217"/>
                </a:lnTo>
                <a:lnTo>
                  <a:pt x="3278" y="217"/>
                </a:lnTo>
                <a:lnTo>
                  <a:pt x="3278" y="217"/>
                </a:lnTo>
                <a:lnTo>
                  <a:pt x="3284" y="221"/>
                </a:lnTo>
                <a:lnTo>
                  <a:pt x="3289" y="222"/>
                </a:lnTo>
                <a:lnTo>
                  <a:pt x="3294" y="224"/>
                </a:lnTo>
                <a:lnTo>
                  <a:pt x="3300" y="228"/>
                </a:lnTo>
                <a:lnTo>
                  <a:pt x="3300" y="228"/>
                </a:lnTo>
                <a:close/>
                <a:moveTo>
                  <a:pt x="3551" y="365"/>
                </a:moveTo>
                <a:lnTo>
                  <a:pt x="3551" y="365"/>
                </a:lnTo>
                <a:lnTo>
                  <a:pt x="3554" y="368"/>
                </a:lnTo>
                <a:lnTo>
                  <a:pt x="3556" y="370"/>
                </a:lnTo>
                <a:lnTo>
                  <a:pt x="3561" y="370"/>
                </a:lnTo>
                <a:lnTo>
                  <a:pt x="3561" y="370"/>
                </a:lnTo>
                <a:lnTo>
                  <a:pt x="3558" y="370"/>
                </a:lnTo>
                <a:lnTo>
                  <a:pt x="3556" y="368"/>
                </a:lnTo>
                <a:lnTo>
                  <a:pt x="3554" y="366"/>
                </a:lnTo>
                <a:lnTo>
                  <a:pt x="3551" y="365"/>
                </a:lnTo>
                <a:lnTo>
                  <a:pt x="3551" y="365"/>
                </a:lnTo>
                <a:close/>
                <a:moveTo>
                  <a:pt x="3561" y="370"/>
                </a:moveTo>
                <a:lnTo>
                  <a:pt x="3561" y="370"/>
                </a:lnTo>
                <a:lnTo>
                  <a:pt x="3561" y="370"/>
                </a:lnTo>
                <a:lnTo>
                  <a:pt x="3561" y="370"/>
                </a:lnTo>
                <a:close/>
                <a:moveTo>
                  <a:pt x="1030" y="391"/>
                </a:moveTo>
                <a:lnTo>
                  <a:pt x="1030" y="391"/>
                </a:lnTo>
                <a:lnTo>
                  <a:pt x="1009" y="404"/>
                </a:lnTo>
                <a:lnTo>
                  <a:pt x="987" y="416"/>
                </a:lnTo>
                <a:lnTo>
                  <a:pt x="971" y="430"/>
                </a:lnTo>
                <a:lnTo>
                  <a:pt x="959" y="443"/>
                </a:lnTo>
                <a:lnTo>
                  <a:pt x="959" y="443"/>
                </a:lnTo>
                <a:lnTo>
                  <a:pt x="977" y="429"/>
                </a:lnTo>
                <a:lnTo>
                  <a:pt x="996" y="414"/>
                </a:lnTo>
                <a:lnTo>
                  <a:pt x="1030" y="391"/>
                </a:lnTo>
                <a:lnTo>
                  <a:pt x="1030" y="391"/>
                </a:lnTo>
                <a:close/>
                <a:moveTo>
                  <a:pt x="3561" y="370"/>
                </a:moveTo>
                <a:lnTo>
                  <a:pt x="3570" y="381"/>
                </a:lnTo>
                <a:lnTo>
                  <a:pt x="3570" y="381"/>
                </a:lnTo>
                <a:lnTo>
                  <a:pt x="3570" y="377"/>
                </a:lnTo>
                <a:lnTo>
                  <a:pt x="3568" y="375"/>
                </a:lnTo>
                <a:lnTo>
                  <a:pt x="3561" y="370"/>
                </a:lnTo>
                <a:lnTo>
                  <a:pt x="3561" y="370"/>
                </a:lnTo>
                <a:close/>
                <a:moveTo>
                  <a:pt x="3458" y="315"/>
                </a:moveTo>
                <a:lnTo>
                  <a:pt x="3458" y="315"/>
                </a:lnTo>
                <a:lnTo>
                  <a:pt x="3469" y="322"/>
                </a:lnTo>
                <a:lnTo>
                  <a:pt x="3479" y="329"/>
                </a:lnTo>
                <a:lnTo>
                  <a:pt x="3479" y="329"/>
                </a:lnTo>
                <a:lnTo>
                  <a:pt x="3474" y="324"/>
                </a:lnTo>
                <a:lnTo>
                  <a:pt x="3470" y="318"/>
                </a:lnTo>
                <a:lnTo>
                  <a:pt x="3465" y="315"/>
                </a:lnTo>
                <a:lnTo>
                  <a:pt x="3458" y="315"/>
                </a:lnTo>
                <a:lnTo>
                  <a:pt x="3458" y="315"/>
                </a:lnTo>
                <a:close/>
                <a:moveTo>
                  <a:pt x="3832" y="580"/>
                </a:moveTo>
                <a:lnTo>
                  <a:pt x="3832" y="580"/>
                </a:lnTo>
                <a:lnTo>
                  <a:pt x="3817" y="567"/>
                </a:lnTo>
                <a:lnTo>
                  <a:pt x="3810" y="562"/>
                </a:lnTo>
                <a:lnTo>
                  <a:pt x="3807" y="555"/>
                </a:lnTo>
                <a:lnTo>
                  <a:pt x="3807" y="555"/>
                </a:lnTo>
                <a:lnTo>
                  <a:pt x="3814" y="560"/>
                </a:lnTo>
                <a:lnTo>
                  <a:pt x="3819" y="566"/>
                </a:lnTo>
                <a:lnTo>
                  <a:pt x="3832" y="580"/>
                </a:lnTo>
                <a:lnTo>
                  <a:pt x="3832" y="580"/>
                </a:lnTo>
                <a:close/>
                <a:moveTo>
                  <a:pt x="1251" y="724"/>
                </a:moveTo>
                <a:lnTo>
                  <a:pt x="1224" y="735"/>
                </a:lnTo>
                <a:lnTo>
                  <a:pt x="1245" y="735"/>
                </a:lnTo>
                <a:lnTo>
                  <a:pt x="1251" y="724"/>
                </a:lnTo>
                <a:close/>
                <a:moveTo>
                  <a:pt x="4600" y="2451"/>
                </a:moveTo>
                <a:lnTo>
                  <a:pt x="4600" y="2451"/>
                </a:lnTo>
                <a:lnTo>
                  <a:pt x="4600" y="2458"/>
                </a:lnTo>
                <a:lnTo>
                  <a:pt x="4598" y="2461"/>
                </a:lnTo>
                <a:lnTo>
                  <a:pt x="4595" y="2465"/>
                </a:lnTo>
                <a:lnTo>
                  <a:pt x="4595" y="2470"/>
                </a:lnTo>
                <a:lnTo>
                  <a:pt x="4589" y="2465"/>
                </a:lnTo>
                <a:lnTo>
                  <a:pt x="4586" y="2445"/>
                </a:lnTo>
                <a:lnTo>
                  <a:pt x="4580" y="2435"/>
                </a:lnTo>
                <a:lnTo>
                  <a:pt x="4575" y="2419"/>
                </a:lnTo>
                <a:lnTo>
                  <a:pt x="4559" y="2413"/>
                </a:lnTo>
                <a:lnTo>
                  <a:pt x="4559" y="2369"/>
                </a:lnTo>
                <a:lnTo>
                  <a:pt x="4548" y="2353"/>
                </a:lnTo>
                <a:lnTo>
                  <a:pt x="4545" y="2342"/>
                </a:lnTo>
                <a:lnTo>
                  <a:pt x="4540" y="2342"/>
                </a:lnTo>
                <a:lnTo>
                  <a:pt x="4534" y="2337"/>
                </a:lnTo>
                <a:lnTo>
                  <a:pt x="4534" y="2317"/>
                </a:lnTo>
                <a:lnTo>
                  <a:pt x="4529" y="2317"/>
                </a:lnTo>
                <a:lnTo>
                  <a:pt x="4524" y="2307"/>
                </a:lnTo>
                <a:lnTo>
                  <a:pt x="4518" y="2296"/>
                </a:lnTo>
                <a:lnTo>
                  <a:pt x="4518" y="2291"/>
                </a:lnTo>
                <a:lnTo>
                  <a:pt x="4513" y="2285"/>
                </a:lnTo>
                <a:lnTo>
                  <a:pt x="4513" y="2285"/>
                </a:lnTo>
                <a:lnTo>
                  <a:pt x="4511" y="2280"/>
                </a:lnTo>
                <a:lnTo>
                  <a:pt x="4509" y="2273"/>
                </a:lnTo>
                <a:lnTo>
                  <a:pt x="4508" y="2255"/>
                </a:lnTo>
                <a:lnTo>
                  <a:pt x="4508" y="2236"/>
                </a:lnTo>
                <a:lnTo>
                  <a:pt x="4499" y="2214"/>
                </a:lnTo>
                <a:lnTo>
                  <a:pt x="4493" y="2204"/>
                </a:lnTo>
                <a:lnTo>
                  <a:pt x="4499" y="2189"/>
                </a:lnTo>
                <a:lnTo>
                  <a:pt x="4499" y="2132"/>
                </a:lnTo>
                <a:lnTo>
                  <a:pt x="4493" y="2116"/>
                </a:lnTo>
                <a:lnTo>
                  <a:pt x="4493" y="2102"/>
                </a:lnTo>
                <a:lnTo>
                  <a:pt x="4488" y="2067"/>
                </a:lnTo>
                <a:lnTo>
                  <a:pt x="4488" y="2067"/>
                </a:lnTo>
                <a:lnTo>
                  <a:pt x="4481" y="2038"/>
                </a:lnTo>
                <a:lnTo>
                  <a:pt x="4472" y="2015"/>
                </a:lnTo>
                <a:lnTo>
                  <a:pt x="4467" y="1994"/>
                </a:lnTo>
                <a:lnTo>
                  <a:pt x="4461" y="1979"/>
                </a:lnTo>
                <a:lnTo>
                  <a:pt x="4452" y="1969"/>
                </a:lnTo>
                <a:lnTo>
                  <a:pt x="4452" y="1969"/>
                </a:lnTo>
                <a:lnTo>
                  <a:pt x="4449" y="1962"/>
                </a:lnTo>
                <a:lnTo>
                  <a:pt x="4447" y="1953"/>
                </a:lnTo>
                <a:lnTo>
                  <a:pt x="4445" y="1946"/>
                </a:lnTo>
                <a:lnTo>
                  <a:pt x="4442" y="1939"/>
                </a:lnTo>
                <a:lnTo>
                  <a:pt x="4442" y="1901"/>
                </a:lnTo>
                <a:lnTo>
                  <a:pt x="4436" y="1892"/>
                </a:lnTo>
                <a:lnTo>
                  <a:pt x="4431" y="1866"/>
                </a:lnTo>
                <a:lnTo>
                  <a:pt x="4431" y="1830"/>
                </a:lnTo>
                <a:lnTo>
                  <a:pt x="4426" y="1810"/>
                </a:lnTo>
                <a:lnTo>
                  <a:pt x="4420" y="1784"/>
                </a:lnTo>
                <a:lnTo>
                  <a:pt x="4417" y="1759"/>
                </a:lnTo>
                <a:lnTo>
                  <a:pt x="4417" y="1738"/>
                </a:lnTo>
                <a:lnTo>
                  <a:pt x="4406" y="1697"/>
                </a:lnTo>
                <a:lnTo>
                  <a:pt x="4406" y="1677"/>
                </a:lnTo>
                <a:lnTo>
                  <a:pt x="4411" y="1661"/>
                </a:lnTo>
                <a:lnTo>
                  <a:pt x="4406" y="1626"/>
                </a:lnTo>
                <a:lnTo>
                  <a:pt x="4406" y="1563"/>
                </a:lnTo>
                <a:lnTo>
                  <a:pt x="4385" y="1522"/>
                </a:lnTo>
                <a:lnTo>
                  <a:pt x="4385" y="1522"/>
                </a:lnTo>
                <a:lnTo>
                  <a:pt x="4381" y="1508"/>
                </a:lnTo>
                <a:lnTo>
                  <a:pt x="4376" y="1496"/>
                </a:lnTo>
                <a:lnTo>
                  <a:pt x="4365" y="1473"/>
                </a:lnTo>
                <a:lnTo>
                  <a:pt x="4355" y="1441"/>
                </a:lnTo>
                <a:lnTo>
                  <a:pt x="4355" y="1441"/>
                </a:lnTo>
                <a:lnTo>
                  <a:pt x="4355" y="1428"/>
                </a:lnTo>
                <a:lnTo>
                  <a:pt x="4351" y="1416"/>
                </a:lnTo>
                <a:lnTo>
                  <a:pt x="4344" y="1389"/>
                </a:lnTo>
                <a:lnTo>
                  <a:pt x="4344" y="1389"/>
                </a:lnTo>
                <a:lnTo>
                  <a:pt x="4330" y="1359"/>
                </a:lnTo>
                <a:lnTo>
                  <a:pt x="4323" y="1341"/>
                </a:lnTo>
                <a:lnTo>
                  <a:pt x="4319" y="1323"/>
                </a:lnTo>
                <a:lnTo>
                  <a:pt x="4319" y="1313"/>
                </a:lnTo>
                <a:lnTo>
                  <a:pt x="4303" y="1318"/>
                </a:lnTo>
                <a:lnTo>
                  <a:pt x="4292" y="1313"/>
                </a:lnTo>
                <a:lnTo>
                  <a:pt x="4278" y="1298"/>
                </a:lnTo>
                <a:lnTo>
                  <a:pt x="4273" y="1304"/>
                </a:lnTo>
                <a:lnTo>
                  <a:pt x="4278" y="1318"/>
                </a:lnTo>
                <a:lnTo>
                  <a:pt x="4273" y="1318"/>
                </a:lnTo>
                <a:lnTo>
                  <a:pt x="4273" y="1329"/>
                </a:lnTo>
                <a:lnTo>
                  <a:pt x="4257" y="1304"/>
                </a:lnTo>
                <a:lnTo>
                  <a:pt x="4242" y="1282"/>
                </a:lnTo>
                <a:lnTo>
                  <a:pt x="4232" y="1272"/>
                </a:lnTo>
                <a:lnTo>
                  <a:pt x="4242" y="1252"/>
                </a:lnTo>
                <a:lnTo>
                  <a:pt x="4237" y="1236"/>
                </a:lnTo>
                <a:lnTo>
                  <a:pt x="4237" y="1236"/>
                </a:lnTo>
                <a:lnTo>
                  <a:pt x="4226" y="1220"/>
                </a:lnTo>
                <a:lnTo>
                  <a:pt x="4216" y="1206"/>
                </a:lnTo>
                <a:lnTo>
                  <a:pt x="4205" y="1190"/>
                </a:lnTo>
                <a:lnTo>
                  <a:pt x="4202" y="1184"/>
                </a:lnTo>
                <a:lnTo>
                  <a:pt x="4202" y="1184"/>
                </a:lnTo>
                <a:lnTo>
                  <a:pt x="4194" y="1177"/>
                </a:lnTo>
                <a:lnTo>
                  <a:pt x="4189" y="1170"/>
                </a:lnTo>
                <a:lnTo>
                  <a:pt x="4180" y="1154"/>
                </a:lnTo>
                <a:lnTo>
                  <a:pt x="4170" y="1144"/>
                </a:lnTo>
                <a:lnTo>
                  <a:pt x="4161" y="1108"/>
                </a:lnTo>
                <a:lnTo>
                  <a:pt x="4170" y="1097"/>
                </a:lnTo>
                <a:lnTo>
                  <a:pt x="4175" y="1083"/>
                </a:lnTo>
                <a:lnTo>
                  <a:pt x="4180" y="1078"/>
                </a:lnTo>
                <a:lnTo>
                  <a:pt x="4180" y="1048"/>
                </a:lnTo>
                <a:lnTo>
                  <a:pt x="4164" y="1026"/>
                </a:lnTo>
                <a:lnTo>
                  <a:pt x="4120" y="964"/>
                </a:lnTo>
                <a:lnTo>
                  <a:pt x="4098" y="944"/>
                </a:lnTo>
                <a:lnTo>
                  <a:pt x="4082" y="939"/>
                </a:lnTo>
                <a:lnTo>
                  <a:pt x="4073" y="944"/>
                </a:lnTo>
                <a:lnTo>
                  <a:pt x="4052" y="923"/>
                </a:lnTo>
                <a:lnTo>
                  <a:pt x="4047" y="914"/>
                </a:lnTo>
                <a:lnTo>
                  <a:pt x="4057" y="903"/>
                </a:lnTo>
                <a:lnTo>
                  <a:pt x="4033" y="877"/>
                </a:lnTo>
                <a:lnTo>
                  <a:pt x="4041" y="877"/>
                </a:lnTo>
                <a:lnTo>
                  <a:pt x="4022" y="832"/>
                </a:lnTo>
                <a:lnTo>
                  <a:pt x="4001" y="811"/>
                </a:lnTo>
                <a:lnTo>
                  <a:pt x="4001" y="816"/>
                </a:lnTo>
                <a:lnTo>
                  <a:pt x="4006" y="836"/>
                </a:lnTo>
                <a:lnTo>
                  <a:pt x="4001" y="836"/>
                </a:lnTo>
                <a:lnTo>
                  <a:pt x="4011" y="857"/>
                </a:lnTo>
                <a:lnTo>
                  <a:pt x="4006" y="863"/>
                </a:lnTo>
                <a:lnTo>
                  <a:pt x="4017" y="882"/>
                </a:lnTo>
                <a:lnTo>
                  <a:pt x="4011" y="882"/>
                </a:lnTo>
                <a:lnTo>
                  <a:pt x="3992" y="841"/>
                </a:lnTo>
                <a:lnTo>
                  <a:pt x="3986" y="827"/>
                </a:lnTo>
                <a:lnTo>
                  <a:pt x="3981" y="836"/>
                </a:lnTo>
                <a:lnTo>
                  <a:pt x="3965" y="827"/>
                </a:lnTo>
                <a:lnTo>
                  <a:pt x="3960" y="806"/>
                </a:lnTo>
                <a:lnTo>
                  <a:pt x="3945" y="816"/>
                </a:lnTo>
                <a:lnTo>
                  <a:pt x="3924" y="795"/>
                </a:lnTo>
                <a:lnTo>
                  <a:pt x="3929" y="781"/>
                </a:lnTo>
                <a:lnTo>
                  <a:pt x="3919" y="770"/>
                </a:lnTo>
                <a:lnTo>
                  <a:pt x="3899" y="759"/>
                </a:lnTo>
                <a:lnTo>
                  <a:pt x="3899" y="770"/>
                </a:lnTo>
                <a:lnTo>
                  <a:pt x="3888" y="765"/>
                </a:lnTo>
                <a:lnTo>
                  <a:pt x="3872" y="749"/>
                </a:lnTo>
                <a:lnTo>
                  <a:pt x="3864" y="745"/>
                </a:lnTo>
                <a:lnTo>
                  <a:pt x="3878" y="765"/>
                </a:lnTo>
                <a:lnTo>
                  <a:pt x="3853" y="745"/>
                </a:lnTo>
                <a:lnTo>
                  <a:pt x="3837" y="735"/>
                </a:lnTo>
                <a:lnTo>
                  <a:pt x="3812" y="708"/>
                </a:lnTo>
                <a:lnTo>
                  <a:pt x="3785" y="672"/>
                </a:lnTo>
                <a:lnTo>
                  <a:pt x="3785" y="658"/>
                </a:lnTo>
                <a:lnTo>
                  <a:pt x="3812" y="694"/>
                </a:lnTo>
                <a:lnTo>
                  <a:pt x="3807" y="678"/>
                </a:lnTo>
                <a:lnTo>
                  <a:pt x="3807" y="667"/>
                </a:lnTo>
                <a:lnTo>
                  <a:pt x="3826" y="688"/>
                </a:lnTo>
                <a:lnTo>
                  <a:pt x="3848" y="713"/>
                </a:lnTo>
                <a:lnTo>
                  <a:pt x="3853" y="704"/>
                </a:lnTo>
                <a:lnTo>
                  <a:pt x="3888" y="724"/>
                </a:lnTo>
                <a:lnTo>
                  <a:pt x="3894" y="718"/>
                </a:lnTo>
                <a:lnTo>
                  <a:pt x="3894" y="718"/>
                </a:lnTo>
                <a:lnTo>
                  <a:pt x="3913" y="733"/>
                </a:lnTo>
                <a:lnTo>
                  <a:pt x="3924" y="740"/>
                </a:lnTo>
                <a:lnTo>
                  <a:pt x="3935" y="745"/>
                </a:lnTo>
                <a:lnTo>
                  <a:pt x="3940" y="735"/>
                </a:lnTo>
                <a:lnTo>
                  <a:pt x="3960" y="754"/>
                </a:lnTo>
                <a:lnTo>
                  <a:pt x="3970" y="770"/>
                </a:lnTo>
                <a:lnTo>
                  <a:pt x="3981" y="775"/>
                </a:lnTo>
                <a:lnTo>
                  <a:pt x="3976" y="770"/>
                </a:lnTo>
                <a:lnTo>
                  <a:pt x="3929" y="718"/>
                </a:lnTo>
                <a:lnTo>
                  <a:pt x="3913" y="699"/>
                </a:lnTo>
                <a:lnTo>
                  <a:pt x="3908" y="688"/>
                </a:lnTo>
                <a:lnTo>
                  <a:pt x="3904" y="683"/>
                </a:lnTo>
                <a:lnTo>
                  <a:pt x="3899" y="672"/>
                </a:lnTo>
                <a:lnTo>
                  <a:pt x="3883" y="658"/>
                </a:lnTo>
                <a:lnTo>
                  <a:pt x="3883" y="658"/>
                </a:lnTo>
                <a:lnTo>
                  <a:pt x="3876" y="653"/>
                </a:lnTo>
                <a:lnTo>
                  <a:pt x="3869" y="647"/>
                </a:lnTo>
                <a:lnTo>
                  <a:pt x="3865" y="642"/>
                </a:lnTo>
                <a:lnTo>
                  <a:pt x="3864" y="637"/>
                </a:lnTo>
                <a:lnTo>
                  <a:pt x="3848" y="626"/>
                </a:lnTo>
                <a:lnTo>
                  <a:pt x="3848" y="626"/>
                </a:lnTo>
                <a:lnTo>
                  <a:pt x="3835" y="617"/>
                </a:lnTo>
                <a:lnTo>
                  <a:pt x="3824" y="608"/>
                </a:lnTo>
                <a:lnTo>
                  <a:pt x="3812" y="601"/>
                </a:lnTo>
                <a:lnTo>
                  <a:pt x="3801" y="590"/>
                </a:lnTo>
                <a:lnTo>
                  <a:pt x="3796" y="580"/>
                </a:lnTo>
                <a:lnTo>
                  <a:pt x="3796" y="580"/>
                </a:lnTo>
                <a:lnTo>
                  <a:pt x="3776" y="560"/>
                </a:lnTo>
                <a:lnTo>
                  <a:pt x="3791" y="571"/>
                </a:lnTo>
                <a:lnTo>
                  <a:pt x="3801" y="580"/>
                </a:lnTo>
                <a:lnTo>
                  <a:pt x="3812" y="585"/>
                </a:lnTo>
                <a:lnTo>
                  <a:pt x="3826" y="596"/>
                </a:lnTo>
                <a:lnTo>
                  <a:pt x="3848" y="617"/>
                </a:lnTo>
                <a:lnTo>
                  <a:pt x="3864" y="626"/>
                </a:lnTo>
                <a:lnTo>
                  <a:pt x="3872" y="637"/>
                </a:lnTo>
                <a:lnTo>
                  <a:pt x="3872" y="631"/>
                </a:lnTo>
                <a:lnTo>
                  <a:pt x="3883" y="642"/>
                </a:lnTo>
                <a:lnTo>
                  <a:pt x="3872" y="626"/>
                </a:lnTo>
                <a:lnTo>
                  <a:pt x="3864" y="617"/>
                </a:lnTo>
                <a:lnTo>
                  <a:pt x="3867" y="617"/>
                </a:lnTo>
                <a:lnTo>
                  <a:pt x="3832" y="585"/>
                </a:lnTo>
                <a:lnTo>
                  <a:pt x="3832" y="580"/>
                </a:lnTo>
                <a:lnTo>
                  <a:pt x="3807" y="555"/>
                </a:lnTo>
                <a:lnTo>
                  <a:pt x="3801" y="550"/>
                </a:lnTo>
                <a:lnTo>
                  <a:pt x="3785" y="539"/>
                </a:lnTo>
                <a:lnTo>
                  <a:pt x="3785" y="539"/>
                </a:lnTo>
                <a:lnTo>
                  <a:pt x="3784" y="539"/>
                </a:lnTo>
                <a:lnTo>
                  <a:pt x="3780" y="537"/>
                </a:lnTo>
                <a:lnTo>
                  <a:pt x="3778" y="535"/>
                </a:lnTo>
                <a:lnTo>
                  <a:pt x="3776" y="535"/>
                </a:lnTo>
                <a:lnTo>
                  <a:pt x="3760" y="519"/>
                </a:lnTo>
                <a:lnTo>
                  <a:pt x="3760" y="519"/>
                </a:lnTo>
                <a:lnTo>
                  <a:pt x="3743" y="503"/>
                </a:lnTo>
                <a:lnTo>
                  <a:pt x="3725" y="489"/>
                </a:lnTo>
                <a:lnTo>
                  <a:pt x="3725" y="489"/>
                </a:lnTo>
                <a:lnTo>
                  <a:pt x="3743" y="503"/>
                </a:lnTo>
                <a:lnTo>
                  <a:pt x="3760" y="519"/>
                </a:lnTo>
                <a:lnTo>
                  <a:pt x="3760" y="519"/>
                </a:lnTo>
                <a:lnTo>
                  <a:pt x="3764" y="521"/>
                </a:lnTo>
                <a:lnTo>
                  <a:pt x="3768" y="525"/>
                </a:lnTo>
                <a:lnTo>
                  <a:pt x="3776" y="535"/>
                </a:lnTo>
                <a:lnTo>
                  <a:pt x="3776" y="535"/>
                </a:lnTo>
                <a:lnTo>
                  <a:pt x="3780" y="535"/>
                </a:lnTo>
                <a:lnTo>
                  <a:pt x="3785" y="539"/>
                </a:lnTo>
                <a:lnTo>
                  <a:pt x="3785" y="539"/>
                </a:lnTo>
                <a:lnTo>
                  <a:pt x="3789" y="541"/>
                </a:lnTo>
                <a:lnTo>
                  <a:pt x="3794" y="542"/>
                </a:lnTo>
                <a:lnTo>
                  <a:pt x="3801" y="550"/>
                </a:lnTo>
                <a:lnTo>
                  <a:pt x="3807" y="550"/>
                </a:lnTo>
                <a:lnTo>
                  <a:pt x="3807" y="550"/>
                </a:lnTo>
                <a:lnTo>
                  <a:pt x="3780" y="526"/>
                </a:lnTo>
                <a:lnTo>
                  <a:pt x="3752" y="503"/>
                </a:lnTo>
                <a:lnTo>
                  <a:pt x="3695" y="459"/>
                </a:lnTo>
                <a:lnTo>
                  <a:pt x="3636" y="418"/>
                </a:lnTo>
                <a:lnTo>
                  <a:pt x="3575" y="375"/>
                </a:lnTo>
                <a:lnTo>
                  <a:pt x="3575" y="375"/>
                </a:lnTo>
                <a:lnTo>
                  <a:pt x="3602" y="393"/>
                </a:lnTo>
                <a:lnTo>
                  <a:pt x="3627" y="411"/>
                </a:lnTo>
                <a:lnTo>
                  <a:pt x="3616" y="411"/>
                </a:lnTo>
                <a:lnTo>
                  <a:pt x="3611" y="407"/>
                </a:lnTo>
                <a:lnTo>
                  <a:pt x="3616" y="411"/>
                </a:lnTo>
                <a:lnTo>
                  <a:pt x="3616" y="411"/>
                </a:lnTo>
                <a:lnTo>
                  <a:pt x="3616" y="411"/>
                </a:lnTo>
                <a:lnTo>
                  <a:pt x="3551" y="370"/>
                </a:lnTo>
                <a:lnTo>
                  <a:pt x="3517" y="347"/>
                </a:lnTo>
                <a:lnTo>
                  <a:pt x="3483" y="324"/>
                </a:lnTo>
                <a:lnTo>
                  <a:pt x="3483" y="324"/>
                </a:lnTo>
                <a:lnTo>
                  <a:pt x="3474" y="317"/>
                </a:lnTo>
                <a:lnTo>
                  <a:pt x="3463" y="309"/>
                </a:lnTo>
                <a:lnTo>
                  <a:pt x="3458" y="315"/>
                </a:lnTo>
                <a:lnTo>
                  <a:pt x="3458" y="315"/>
                </a:lnTo>
                <a:lnTo>
                  <a:pt x="3485" y="331"/>
                </a:lnTo>
                <a:lnTo>
                  <a:pt x="3499" y="340"/>
                </a:lnTo>
                <a:lnTo>
                  <a:pt x="3515" y="350"/>
                </a:lnTo>
                <a:lnTo>
                  <a:pt x="3515" y="350"/>
                </a:lnTo>
                <a:lnTo>
                  <a:pt x="3545" y="370"/>
                </a:lnTo>
                <a:lnTo>
                  <a:pt x="3574" y="391"/>
                </a:lnTo>
                <a:lnTo>
                  <a:pt x="3602" y="413"/>
                </a:lnTo>
                <a:lnTo>
                  <a:pt x="3632" y="432"/>
                </a:lnTo>
                <a:lnTo>
                  <a:pt x="3648" y="443"/>
                </a:lnTo>
                <a:lnTo>
                  <a:pt x="3657" y="448"/>
                </a:lnTo>
                <a:lnTo>
                  <a:pt x="3693" y="473"/>
                </a:lnTo>
                <a:lnTo>
                  <a:pt x="3709" y="489"/>
                </a:lnTo>
                <a:lnTo>
                  <a:pt x="3709" y="489"/>
                </a:lnTo>
                <a:lnTo>
                  <a:pt x="3785" y="550"/>
                </a:lnTo>
                <a:lnTo>
                  <a:pt x="3791" y="560"/>
                </a:lnTo>
                <a:lnTo>
                  <a:pt x="3801" y="571"/>
                </a:lnTo>
                <a:lnTo>
                  <a:pt x="3801" y="571"/>
                </a:lnTo>
                <a:lnTo>
                  <a:pt x="3785" y="560"/>
                </a:lnTo>
                <a:lnTo>
                  <a:pt x="3771" y="551"/>
                </a:lnTo>
                <a:lnTo>
                  <a:pt x="3739" y="535"/>
                </a:lnTo>
                <a:lnTo>
                  <a:pt x="3725" y="530"/>
                </a:lnTo>
                <a:lnTo>
                  <a:pt x="3766" y="571"/>
                </a:lnTo>
                <a:lnTo>
                  <a:pt x="3780" y="590"/>
                </a:lnTo>
                <a:lnTo>
                  <a:pt x="3771" y="590"/>
                </a:lnTo>
                <a:lnTo>
                  <a:pt x="3771" y="590"/>
                </a:lnTo>
                <a:lnTo>
                  <a:pt x="3721" y="560"/>
                </a:lnTo>
                <a:lnTo>
                  <a:pt x="3696" y="542"/>
                </a:lnTo>
                <a:lnTo>
                  <a:pt x="3673" y="525"/>
                </a:lnTo>
                <a:lnTo>
                  <a:pt x="3652" y="503"/>
                </a:lnTo>
                <a:lnTo>
                  <a:pt x="3622" y="462"/>
                </a:lnTo>
                <a:lnTo>
                  <a:pt x="3581" y="432"/>
                </a:lnTo>
                <a:lnTo>
                  <a:pt x="3581" y="432"/>
                </a:lnTo>
                <a:lnTo>
                  <a:pt x="3554" y="411"/>
                </a:lnTo>
                <a:lnTo>
                  <a:pt x="3524" y="391"/>
                </a:lnTo>
                <a:lnTo>
                  <a:pt x="3465" y="350"/>
                </a:lnTo>
                <a:lnTo>
                  <a:pt x="3341" y="274"/>
                </a:lnTo>
                <a:lnTo>
                  <a:pt x="3330" y="258"/>
                </a:lnTo>
                <a:lnTo>
                  <a:pt x="3294" y="237"/>
                </a:lnTo>
                <a:lnTo>
                  <a:pt x="3278" y="233"/>
                </a:lnTo>
                <a:lnTo>
                  <a:pt x="3259" y="217"/>
                </a:lnTo>
                <a:lnTo>
                  <a:pt x="3248" y="206"/>
                </a:lnTo>
                <a:lnTo>
                  <a:pt x="3268" y="217"/>
                </a:lnTo>
                <a:lnTo>
                  <a:pt x="3278" y="217"/>
                </a:lnTo>
                <a:lnTo>
                  <a:pt x="3278" y="217"/>
                </a:lnTo>
                <a:lnTo>
                  <a:pt x="3252" y="206"/>
                </a:lnTo>
                <a:lnTo>
                  <a:pt x="3223" y="192"/>
                </a:lnTo>
                <a:lnTo>
                  <a:pt x="3278" y="217"/>
                </a:lnTo>
                <a:lnTo>
                  <a:pt x="3278" y="217"/>
                </a:lnTo>
                <a:lnTo>
                  <a:pt x="3259" y="206"/>
                </a:lnTo>
                <a:lnTo>
                  <a:pt x="3259" y="206"/>
                </a:lnTo>
                <a:lnTo>
                  <a:pt x="3248" y="203"/>
                </a:lnTo>
                <a:lnTo>
                  <a:pt x="3241" y="196"/>
                </a:lnTo>
                <a:lnTo>
                  <a:pt x="3232" y="190"/>
                </a:lnTo>
                <a:lnTo>
                  <a:pt x="3223" y="187"/>
                </a:lnTo>
                <a:lnTo>
                  <a:pt x="3223" y="187"/>
                </a:lnTo>
                <a:lnTo>
                  <a:pt x="3145" y="153"/>
                </a:lnTo>
                <a:lnTo>
                  <a:pt x="3068" y="124"/>
                </a:lnTo>
                <a:lnTo>
                  <a:pt x="2990" y="98"/>
                </a:lnTo>
                <a:lnTo>
                  <a:pt x="2910" y="73"/>
                </a:lnTo>
                <a:lnTo>
                  <a:pt x="2910" y="73"/>
                </a:lnTo>
                <a:lnTo>
                  <a:pt x="2860" y="60"/>
                </a:lnTo>
                <a:lnTo>
                  <a:pt x="2809" y="48"/>
                </a:lnTo>
                <a:lnTo>
                  <a:pt x="2706" y="27"/>
                </a:lnTo>
                <a:lnTo>
                  <a:pt x="2706" y="27"/>
                </a:lnTo>
                <a:lnTo>
                  <a:pt x="2652" y="20"/>
                </a:lnTo>
                <a:lnTo>
                  <a:pt x="2599" y="14"/>
                </a:lnTo>
                <a:lnTo>
                  <a:pt x="2545" y="9"/>
                </a:lnTo>
                <a:lnTo>
                  <a:pt x="2490" y="5"/>
                </a:lnTo>
                <a:lnTo>
                  <a:pt x="2437" y="2"/>
                </a:lnTo>
                <a:lnTo>
                  <a:pt x="2384" y="2"/>
                </a:lnTo>
                <a:lnTo>
                  <a:pt x="2328" y="0"/>
                </a:lnTo>
                <a:lnTo>
                  <a:pt x="2275" y="2"/>
                </a:lnTo>
                <a:lnTo>
                  <a:pt x="2220" y="4"/>
                </a:lnTo>
                <a:lnTo>
                  <a:pt x="2167" y="5"/>
                </a:lnTo>
                <a:lnTo>
                  <a:pt x="2111" y="11"/>
                </a:lnTo>
                <a:lnTo>
                  <a:pt x="2058" y="16"/>
                </a:lnTo>
                <a:lnTo>
                  <a:pt x="2005" y="21"/>
                </a:lnTo>
                <a:lnTo>
                  <a:pt x="1951" y="28"/>
                </a:lnTo>
                <a:lnTo>
                  <a:pt x="1898" y="37"/>
                </a:lnTo>
                <a:lnTo>
                  <a:pt x="1845" y="48"/>
                </a:lnTo>
                <a:lnTo>
                  <a:pt x="1845" y="48"/>
                </a:lnTo>
                <a:lnTo>
                  <a:pt x="1770" y="64"/>
                </a:lnTo>
                <a:lnTo>
                  <a:pt x="1733" y="73"/>
                </a:lnTo>
                <a:lnTo>
                  <a:pt x="1695" y="84"/>
                </a:lnTo>
                <a:lnTo>
                  <a:pt x="1706" y="84"/>
                </a:lnTo>
                <a:lnTo>
                  <a:pt x="1676" y="94"/>
                </a:lnTo>
                <a:lnTo>
                  <a:pt x="1676" y="94"/>
                </a:lnTo>
                <a:lnTo>
                  <a:pt x="1667" y="94"/>
                </a:lnTo>
                <a:lnTo>
                  <a:pt x="1660" y="96"/>
                </a:lnTo>
                <a:lnTo>
                  <a:pt x="1653" y="98"/>
                </a:lnTo>
                <a:lnTo>
                  <a:pt x="1644" y="100"/>
                </a:lnTo>
                <a:lnTo>
                  <a:pt x="1644" y="114"/>
                </a:lnTo>
                <a:lnTo>
                  <a:pt x="1558" y="146"/>
                </a:lnTo>
                <a:lnTo>
                  <a:pt x="1558" y="146"/>
                </a:lnTo>
                <a:lnTo>
                  <a:pt x="1521" y="160"/>
                </a:lnTo>
                <a:lnTo>
                  <a:pt x="1475" y="181"/>
                </a:lnTo>
                <a:lnTo>
                  <a:pt x="1450" y="206"/>
                </a:lnTo>
                <a:lnTo>
                  <a:pt x="1430" y="217"/>
                </a:lnTo>
                <a:lnTo>
                  <a:pt x="1409" y="228"/>
                </a:lnTo>
                <a:lnTo>
                  <a:pt x="1387" y="237"/>
                </a:lnTo>
                <a:lnTo>
                  <a:pt x="1368" y="247"/>
                </a:lnTo>
                <a:lnTo>
                  <a:pt x="1368" y="253"/>
                </a:lnTo>
                <a:lnTo>
                  <a:pt x="1357" y="263"/>
                </a:lnTo>
                <a:lnTo>
                  <a:pt x="1343" y="279"/>
                </a:lnTo>
                <a:lnTo>
                  <a:pt x="1343" y="293"/>
                </a:lnTo>
                <a:lnTo>
                  <a:pt x="1306" y="315"/>
                </a:lnTo>
                <a:lnTo>
                  <a:pt x="1316" y="320"/>
                </a:lnTo>
                <a:lnTo>
                  <a:pt x="1338" y="304"/>
                </a:lnTo>
                <a:lnTo>
                  <a:pt x="1352" y="299"/>
                </a:lnTo>
                <a:lnTo>
                  <a:pt x="1338" y="309"/>
                </a:lnTo>
                <a:lnTo>
                  <a:pt x="1338" y="324"/>
                </a:lnTo>
                <a:lnTo>
                  <a:pt x="1316" y="350"/>
                </a:lnTo>
                <a:lnTo>
                  <a:pt x="1302" y="365"/>
                </a:lnTo>
                <a:lnTo>
                  <a:pt x="1302" y="365"/>
                </a:lnTo>
                <a:lnTo>
                  <a:pt x="1288" y="381"/>
                </a:lnTo>
                <a:lnTo>
                  <a:pt x="1275" y="397"/>
                </a:lnTo>
                <a:lnTo>
                  <a:pt x="1263" y="414"/>
                </a:lnTo>
                <a:lnTo>
                  <a:pt x="1251" y="432"/>
                </a:lnTo>
                <a:lnTo>
                  <a:pt x="1229" y="443"/>
                </a:lnTo>
                <a:lnTo>
                  <a:pt x="1224" y="452"/>
                </a:lnTo>
                <a:lnTo>
                  <a:pt x="1245" y="438"/>
                </a:lnTo>
                <a:lnTo>
                  <a:pt x="1251" y="457"/>
                </a:lnTo>
                <a:lnTo>
                  <a:pt x="1229" y="489"/>
                </a:lnTo>
                <a:lnTo>
                  <a:pt x="1210" y="489"/>
                </a:lnTo>
                <a:lnTo>
                  <a:pt x="1194" y="478"/>
                </a:lnTo>
                <a:lnTo>
                  <a:pt x="1163" y="498"/>
                </a:lnTo>
                <a:lnTo>
                  <a:pt x="1153" y="498"/>
                </a:lnTo>
                <a:lnTo>
                  <a:pt x="1153" y="489"/>
                </a:lnTo>
                <a:lnTo>
                  <a:pt x="1163" y="473"/>
                </a:lnTo>
                <a:lnTo>
                  <a:pt x="1169" y="457"/>
                </a:lnTo>
                <a:lnTo>
                  <a:pt x="1183" y="448"/>
                </a:lnTo>
                <a:lnTo>
                  <a:pt x="1188" y="438"/>
                </a:lnTo>
                <a:lnTo>
                  <a:pt x="1183" y="432"/>
                </a:lnTo>
                <a:lnTo>
                  <a:pt x="1199" y="416"/>
                </a:lnTo>
                <a:lnTo>
                  <a:pt x="1215" y="411"/>
                </a:lnTo>
                <a:lnTo>
                  <a:pt x="1199" y="407"/>
                </a:lnTo>
                <a:lnTo>
                  <a:pt x="1183" y="421"/>
                </a:lnTo>
                <a:lnTo>
                  <a:pt x="1169" y="427"/>
                </a:lnTo>
                <a:lnTo>
                  <a:pt x="1169" y="427"/>
                </a:lnTo>
                <a:lnTo>
                  <a:pt x="1163" y="427"/>
                </a:lnTo>
                <a:lnTo>
                  <a:pt x="1147" y="427"/>
                </a:lnTo>
                <a:lnTo>
                  <a:pt x="1153" y="416"/>
                </a:lnTo>
                <a:lnTo>
                  <a:pt x="1131" y="438"/>
                </a:lnTo>
                <a:lnTo>
                  <a:pt x="1112" y="462"/>
                </a:lnTo>
                <a:lnTo>
                  <a:pt x="1106" y="462"/>
                </a:lnTo>
                <a:lnTo>
                  <a:pt x="1090" y="473"/>
                </a:lnTo>
                <a:lnTo>
                  <a:pt x="1082" y="478"/>
                </a:lnTo>
                <a:lnTo>
                  <a:pt x="1090" y="457"/>
                </a:lnTo>
                <a:lnTo>
                  <a:pt x="1071" y="448"/>
                </a:lnTo>
                <a:lnTo>
                  <a:pt x="1071" y="443"/>
                </a:lnTo>
                <a:lnTo>
                  <a:pt x="1041" y="443"/>
                </a:lnTo>
                <a:lnTo>
                  <a:pt x="1025" y="448"/>
                </a:lnTo>
                <a:lnTo>
                  <a:pt x="1049" y="427"/>
                </a:lnTo>
                <a:lnTo>
                  <a:pt x="1035" y="416"/>
                </a:lnTo>
                <a:lnTo>
                  <a:pt x="1049" y="407"/>
                </a:lnTo>
                <a:lnTo>
                  <a:pt x="1041" y="407"/>
                </a:lnTo>
                <a:lnTo>
                  <a:pt x="1055" y="391"/>
                </a:lnTo>
                <a:lnTo>
                  <a:pt x="1035" y="402"/>
                </a:lnTo>
                <a:lnTo>
                  <a:pt x="1014" y="411"/>
                </a:lnTo>
                <a:lnTo>
                  <a:pt x="1000" y="421"/>
                </a:lnTo>
                <a:lnTo>
                  <a:pt x="984" y="438"/>
                </a:lnTo>
                <a:lnTo>
                  <a:pt x="948" y="462"/>
                </a:lnTo>
                <a:lnTo>
                  <a:pt x="953" y="452"/>
                </a:lnTo>
                <a:lnTo>
                  <a:pt x="932" y="462"/>
                </a:lnTo>
                <a:lnTo>
                  <a:pt x="918" y="478"/>
                </a:lnTo>
                <a:lnTo>
                  <a:pt x="918" y="473"/>
                </a:lnTo>
                <a:lnTo>
                  <a:pt x="891" y="493"/>
                </a:lnTo>
                <a:lnTo>
                  <a:pt x="902" y="484"/>
                </a:lnTo>
                <a:lnTo>
                  <a:pt x="902" y="484"/>
                </a:lnTo>
                <a:lnTo>
                  <a:pt x="895" y="487"/>
                </a:lnTo>
                <a:lnTo>
                  <a:pt x="888" y="493"/>
                </a:lnTo>
                <a:lnTo>
                  <a:pt x="882" y="500"/>
                </a:lnTo>
                <a:lnTo>
                  <a:pt x="881" y="503"/>
                </a:lnTo>
                <a:lnTo>
                  <a:pt x="881" y="503"/>
                </a:lnTo>
                <a:lnTo>
                  <a:pt x="809" y="562"/>
                </a:lnTo>
                <a:lnTo>
                  <a:pt x="740" y="622"/>
                </a:lnTo>
                <a:lnTo>
                  <a:pt x="674" y="686"/>
                </a:lnTo>
                <a:lnTo>
                  <a:pt x="610" y="751"/>
                </a:lnTo>
                <a:lnTo>
                  <a:pt x="550" y="820"/>
                </a:lnTo>
                <a:lnTo>
                  <a:pt x="491" y="889"/>
                </a:lnTo>
                <a:lnTo>
                  <a:pt x="436" y="962"/>
                </a:lnTo>
                <a:lnTo>
                  <a:pt x="384" y="1037"/>
                </a:lnTo>
                <a:lnTo>
                  <a:pt x="334" y="1113"/>
                </a:lnTo>
                <a:lnTo>
                  <a:pt x="288" y="1192"/>
                </a:lnTo>
                <a:lnTo>
                  <a:pt x="245" y="1272"/>
                </a:lnTo>
                <a:lnTo>
                  <a:pt x="206" y="1352"/>
                </a:lnTo>
                <a:lnTo>
                  <a:pt x="171" y="1435"/>
                </a:lnTo>
                <a:lnTo>
                  <a:pt x="137" y="1519"/>
                </a:lnTo>
                <a:lnTo>
                  <a:pt x="109" y="1606"/>
                </a:lnTo>
                <a:lnTo>
                  <a:pt x="82" y="1691"/>
                </a:lnTo>
                <a:lnTo>
                  <a:pt x="82" y="1691"/>
                </a:lnTo>
                <a:lnTo>
                  <a:pt x="60" y="1777"/>
                </a:lnTo>
                <a:lnTo>
                  <a:pt x="43" y="1862"/>
                </a:lnTo>
                <a:lnTo>
                  <a:pt x="27" y="1949"/>
                </a:lnTo>
                <a:lnTo>
                  <a:pt x="16" y="2036"/>
                </a:lnTo>
                <a:lnTo>
                  <a:pt x="7" y="2122"/>
                </a:lnTo>
                <a:lnTo>
                  <a:pt x="2" y="2211"/>
                </a:lnTo>
                <a:lnTo>
                  <a:pt x="0" y="2298"/>
                </a:lnTo>
                <a:lnTo>
                  <a:pt x="2" y="2385"/>
                </a:lnTo>
                <a:lnTo>
                  <a:pt x="5" y="2472"/>
                </a:lnTo>
                <a:lnTo>
                  <a:pt x="14" y="2559"/>
                </a:lnTo>
                <a:lnTo>
                  <a:pt x="25" y="2646"/>
                </a:lnTo>
                <a:lnTo>
                  <a:pt x="39" y="2732"/>
                </a:lnTo>
                <a:lnTo>
                  <a:pt x="57" y="2817"/>
                </a:lnTo>
                <a:lnTo>
                  <a:pt x="76" y="2902"/>
                </a:lnTo>
                <a:lnTo>
                  <a:pt x="101" y="2986"/>
                </a:lnTo>
                <a:lnTo>
                  <a:pt x="128" y="3070"/>
                </a:lnTo>
                <a:lnTo>
                  <a:pt x="128" y="3070"/>
                </a:lnTo>
                <a:lnTo>
                  <a:pt x="157" y="3144"/>
                </a:lnTo>
                <a:lnTo>
                  <a:pt x="187" y="3219"/>
                </a:lnTo>
                <a:lnTo>
                  <a:pt x="221" y="3292"/>
                </a:lnTo>
                <a:lnTo>
                  <a:pt x="256" y="3363"/>
                </a:lnTo>
                <a:lnTo>
                  <a:pt x="295" y="3432"/>
                </a:lnTo>
                <a:lnTo>
                  <a:pt x="334" y="3502"/>
                </a:lnTo>
                <a:lnTo>
                  <a:pt x="379" y="3568"/>
                </a:lnTo>
                <a:lnTo>
                  <a:pt x="423" y="3633"/>
                </a:lnTo>
                <a:lnTo>
                  <a:pt x="471" y="3697"/>
                </a:lnTo>
                <a:lnTo>
                  <a:pt x="519" y="3758"/>
                </a:lnTo>
                <a:lnTo>
                  <a:pt x="571" y="3818"/>
                </a:lnTo>
                <a:lnTo>
                  <a:pt x="624" y="3877"/>
                </a:lnTo>
                <a:lnTo>
                  <a:pt x="680" y="3934"/>
                </a:lnTo>
                <a:lnTo>
                  <a:pt x="736" y="3989"/>
                </a:lnTo>
                <a:lnTo>
                  <a:pt x="797" y="4041"/>
                </a:lnTo>
                <a:lnTo>
                  <a:pt x="857" y="4092"/>
                </a:lnTo>
                <a:lnTo>
                  <a:pt x="920" y="4140"/>
                </a:lnTo>
                <a:lnTo>
                  <a:pt x="984" y="4187"/>
                </a:lnTo>
                <a:lnTo>
                  <a:pt x="1048" y="4231"/>
                </a:lnTo>
                <a:lnTo>
                  <a:pt x="1115" y="4274"/>
                </a:lnTo>
                <a:lnTo>
                  <a:pt x="1183" y="4313"/>
                </a:lnTo>
                <a:lnTo>
                  <a:pt x="1252" y="4352"/>
                </a:lnTo>
                <a:lnTo>
                  <a:pt x="1323" y="4387"/>
                </a:lnTo>
                <a:lnTo>
                  <a:pt x="1396" y="4419"/>
                </a:lnTo>
                <a:lnTo>
                  <a:pt x="1469" y="4450"/>
                </a:lnTo>
                <a:lnTo>
                  <a:pt x="1544" y="4478"/>
                </a:lnTo>
                <a:lnTo>
                  <a:pt x="1619" y="4503"/>
                </a:lnTo>
                <a:lnTo>
                  <a:pt x="1695" y="4526"/>
                </a:lnTo>
                <a:lnTo>
                  <a:pt x="1772" y="4548"/>
                </a:lnTo>
                <a:lnTo>
                  <a:pt x="1850" y="4564"/>
                </a:lnTo>
                <a:lnTo>
                  <a:pt x="1928" y="4580"/>
                </a:lnTo>
                <a:lnTo>
                  <a:pt x="2008" y="4590"/>
                </a:lnTo>
                <a:lnTo>
                  <a:pt x="2008" y="4590"/>
                </a:lnTo>
                <a:lnTo>
                  <a:pt x="2085" y="4599"/>
                </a:lnTo>
                <a:lnTo>
                  <a:pt x="2163" y="4604"/>
                </a:lnTo>
                <a:lnTo>
                  <a:pt x="2241" y="4608"/>
                </a:lnTo>
                <a:lnTo>
                  <a:pt x="2321" y="4608"/>
                </a:lnTo>
                <a:lnTo>
                  <a:pt x="2400" y="4606"/>
                </a:lnTo>
                <a:lnTo>
                  <a:pt x="2478" y="4601"/>
                </a:lnTo>
                <a:lnTo>
                  <a:pt x="2556" y="4594"/>
                </a:lnTo>
                <a:lnTo>
                  <a:pt x="2633" y="4587"/>
                </a:lnTo>
                <a:lnTo>
                  <a:pt x="2633" y="4587"/>
                </a:lnTo>
                <a:lnTo>
                  <a:pt x="2707" y="4571"/>
                </a:lnTo>
                <a:lnTo>
                  <a:pt x="2741" y="4565"/>
                </a:lnTo>
                <a:lnTo>
                  <a:pt x="2777" y="4560"/>
                </a:lnTo>
                <a:lnTo>
                  <a:pt x="2777" y="4560"/>
                </a:lnTo>
                <a:lnTo>
                  <a:pt x="2853" y="4542"/>
                </a:lnTo>
                <a:lnTo>
                  <a:pt x="2930" y="4523"/>
                </a:lnTo>
                <a:lnTo>
                  <a:pt x="3004" y="4500"/>
                </a:lnTo>
                <a:lnTo>
                  <a:pt x="3079" y="4475"/>
                </a:lnTo>
                <a:lnTo>
                  <a:pt x="3152" y="4446"/>
                </a:lnTo>
                <a:lnTo>
                  <a:pt x="3223" y="4416"/>
                </a:lnTo>
                <a:lnTo>
                  <a:pt x="3294" y="4382"/>
                </a:lnTo>
                <a:lnTo>
                  <a:pt x="3364" y="4347"/>
                </a:lnTo>
                <a:lnTo>
                  <a:pt x="3433" y="4309"/>
                </a:lnTo>
                <a:lnTo>
                  <a:pt x="3499" y="4270"/>
                </a:lnTo>
                <a:lnTo>
                  <a:pt x="3565" y="4227"/>
                </a:lnTo>
                <a:lnTo>
                  <a:pt x="3629" y="4183"/>
                </a:lnTo>
                <a:lnTo>
                  <a:pt x="3693" y="4137"/>
                </a:lnTo>
                <a:lnTo>
                  <a:pt x="3753" y="4089"/>
                </a:lnTo>
                <a:lnTo>
                  <a:pt x="3812" y="4039"/>
                </a:lnTo>
                <a:lnTo>
                  <a:pt x="3871" y="3987"/>
                </a:lnTo>
                <a:lnTo>
                  <a:pt x="3926" y="3932"/>
                </a:lnTo>
                <a:lnTo>
                  <a:pt x="3981" y="3877"/>
                </a:lnTo>
                <a:lnTo>
                  <a:pt x="4033" y="3820"/>
                </a:lnTo>
                <a:lnTo>
                  <a:pt x="4084" y="3760"/>
                </a:lnTo>
                <a:lnTo>
                  <a:pt x="4132" y="3699"/>
                </a:lnTo>
                <a:lnTo>
                  <a:pt x="4178" y="3637"/>
                </a:lnTo>
                <a:lnTo>
                  <a:pt x="4223" y="3573"/>
                </a:lnTo>
                <a:lnTo>
                  <a:pt x="4266" y="3507"/>
                </a:lnTo>
                <a:lnTo>
                  <a:pt x="4305" y="3440"/>
                </a:lnTo>
                <a:lnTo>
                  <a:pt x="4342" y="3372"/>
                </a:lnTo>
                <a:lnTo>
                  <a:pt x="4378" y="3303"/>
                </a:lnTo>
                <a:lnTo>
                  <a:pt x="4411" y="3231"/>
                </a:lnTo>
                <a:lnTo>
                  <a:pt x="4442" y="3160"/>
                </a:lnTo>
                <a:lnTo>
                  <a:pt x="4470" y="3086"/>
                </a:lnTo>
                <a:lnTo>
                  <a:pt x="4495" y="3013"/>
                </a:lnTo>
                <a:lnTo>
                  <a:pt x="4518" y="2936"/>
                </a:lnTo>
                <a:lnTo>
                  <a:pt x="4518" y="2936"/>
                </a:lnTo>
                <a:lnTo>
                  <a:pt x="4534" y="2881"/>
                </a:lnTo>
                <a:lnTo>
                  <a:pt x="4548" y="2824"/>
                </a:lnTo>
                <a:lnTo>
                  <a:pt x="4563" y="2767"/>
                </a:lnTo>
                <a:lnTo>
                  <a:pt x="4573" y="2710"/>
                </a:lnTo>
                <a:lnTo>
                  <a:pt x="4582" y="2652"/>
                </a:lnTo>
                <a:lnTo>
                  <a:pt x="4589" y="2593"/>
                </a:lnTo>
                <a:lnTo>
                  <a:pt x="4596" y="2534"/>
                </a:lnTo>
                <a:lnTo>
                  <a:pt x="4600" y="2476"/>
                </a:lnTo>
                <a:lnTo>
                  <a:pt x="4600" y="2451"/>
                </a:lnTo>
                <a:close/>
                <a:moveTo>
                  <a:pt x="3684" y="457"/>
                </a:moveTo>
                <a:lnTo>
                  <a:pt x="3684" y="457"/>
                </a:lnTo>
                <a:lnTo>
                  <a:pt x="3684" y="457"/>
                </a:lnTo>
                <a:lnTo>
                  <a:pt x="3687" y="461"/>
                </a:lnTo>
                <a:lnTo>
                  <a:pt x="3689" y="462"/>
                </a:lnTo>
                <a:lnTo>
                  <a:pt x="3693" y="462"/>
                </a:lnTo>
                <a:lnTo>
                  <a:pt x="3684" y="457"/>
                </a:lnTo>
                <a:close/>
                <a:moveTo>
                  <a:pt x="3883" y="781"/>
                </a:moveTo>
                <a:lnTo>
                  <a:pt x="3904" y="786"/>
                </a:lnTo>
                <a:lnTo>
                  <a:pt x="3945" y="827"/>
                </a:lnTo>
                <a:lnTo>
                  <a:pt x="3965" y="857"/>
                </a:lnTo>
                <a:lnTo>
                  <a:pt x="3965" y="887"/>
                </a:lnTo>
                <a:lnTo>
                  <a:pt x="3954" y="898"/>
                </a:lnTo>
                <a:lnTo>
                  <a:pt x="3935" y="863"/>
                </a:lnTo>
                <a:lnTo>
                  <a:pt x="3908" y="841"/>
                </a:lnTo>
                <a:lnTo>
                  <a:pt x="3908" y="841"/>
                </a:lnTo>
                <a:lnTo>
                  <a:pt x="3894" y="815"/>
                </a:lnTo>
                <a:lnTo>
                  <a:pt x="3888" y="802"/>
                </a:lnTo>
                <a:lnTo>
                  <a:pt x="3883" y="791"/>
                </a:lnTo>
                <a:lnTo>
                  <a:pt x="3883" y="781"/>
                </a:lnTo>
                <a:lnTo>
                  <a:pt x="3883" y="781"/>
                </a:lnTo>
                <a:close/>
                <a:moveTo>
                  <a:pt x="3474" y="626"/>
                </a:moveTo>
                <a:lnTo>
                  <a:pt x="3504" y="631"/>
                </a:lnTo>
                <a:lnTo>
                  <a:pt x="3499" y="612"/>
                </a:lnTo>
                <a:lnTo>
                  <a:pt x="3520" y="612"/>
                </a:lnTo>
                <a:lnTo>
                  <a:pt x="3504" y="590"/>
                </a:lnTo>
                <a:lnTo>
                  <a:pt x="3515" y="580"/>
                </a:lnTo>
                <a:lnTo>
                  <a:pt x="3534" y="596"/>
                </a:lnTo>
                <a:lnTo>
                  <a:pt x="3561" y="606"/>
                </a:lnTo>
                <a:lnTo>
                  <a:pt x="3581" y="631"/>
                </a:lnTo>
                <a:lnTo>
                  <a:pt x="3586" y="667"/>
                </a:lnTo>
                <a:lnTo>
                  <a:pt x="3586" y="678"/>
                </a:lnTo>
                <a:lnTo>
                  <a:pt x="3586" y="678"/>
                </a:lnTo>
                <a:lnTo>
                  <a:pt x="3565" y="686"/>
                </a:lnTo>
                <a:lnTo>
                  <a:pt x="3545" y="699"/>
                </a:lnTo>
                <a:lnTo>
                  <a:pt x="3534" y="672"/>
                </a:lnTo>
                <a:lnTo>
                  <a:pt x="3504" y="678"/>
                </a:lnTo>
                <a:lnTo>
                  <a:pt x="3515" y="663"/>
                </a:lnTo>
                <a:lnTo>
                  <a:pt x="3504" y="658"/>
                </a:lnTo>
                <a:lnTo>
                  <a:pt x="3483" y="667"/>
                </a:lnTo>
                <a:lnTo>
                  <a:pt x="3469" y="647"/>
                </a:lnTo>
                <a:lnTo>
                  <a:pt x="3474" y="626"/>
                </a:lnTo>
                <a:close/>
                <a:moveTo>
                  <a:pt x="3401" y="1334"/>
                </a:moveTo>
                <a:lnTo>
                  <a:pt x="3417" y="1323"/>
                </a:lnTo>
                <a:lnTo>
                  <a:pt x="3428" y="1345"/>
                </a:lnTo>
                <a:lnTo>
                  <a:pt x="3447" y="1364"/>
                </a:lnTo>
                <a:lnTo>
                  <a:pt x="3453" y="1394"/>
                </a:lnTo>
                <a:lnTo>
                  <a:pt x="3442" y="1400"/>
                </a:lnTo>
                <a:lnTo>
                  <a:pt x="3422" y="1394"/>
                </a:lnTo>
                <a:lnTo>
                  <a:pt x="3412" y="1369"/>
                </a:lnTo>
                <a:lnTo>
                  <a:pt x="3401" y="1364"/>
                </a:lnTo>
                <a:lnTo>
                  <a:pt x="3387" y="1400"/>
                </a:lnTo>
                <a:lnTo>
                  <a:pt x="3371" y="1400"/>
                </a:lnTo>
                <a:lnTo>
                  <a:pt x="3382" y="1380"/>
                </a:lnTo>
                <a:lnTo>
                  <a:pt x="3355" y="1375"/>
                </a:lnTo>
                <a:lnTo>
                  <a:pt x="3335" y="1385"/>
                </a:lnTo>
                <a:lnTo>
                  <a:pt x="3289" y="1394"/>
                </a:lnTo>
                <a:lnTo>
                  <a:pt x="3278" y="1385"/>
                </a:lnTo>
                <a:lnTo>
                  <a:pt x="3289" y="1369"/>
                </a:lnTo>
                <a:lnTo>
                  <a:pt x="3273" y="1359"/>
                </a:lnTo>
                <a:lnTo>
                  <a:pt x="3289" y="1339"/>
                </a:lnTo>
                <a:lnTo>
                  <a:pt x="3294" y="1277"/>
                </a:lnTo>
                <a:lnTo>
                  <a:pt x="3300" y="1257"/>
                </a:lnTo>
                <a:lnTo>
                  <a:pt x="3314" y="1241"/>
                </a:lnTo>
                <a:lnTo>
                  <a:pt x="3325" y="1241"/>
                </a:lnTo>
                <a:lnTo>
                  <a:pt x="3325" y="1252"/>
                </a:lnTo>
                <a:lnTo>
                  <a:pt x="3325" y="1252"/>
                </a:lnTo>
                <a:lnTo>
                  <a:pt x="3325" y="1266"/>
                </a:lnTo>
                <a:lnTo>
                  <a:pt x="3323" y="1280"/>
                </a:lnTo>
                <a:lnTo>
                  <a:pt x="3321" y="1293"/>
                </a:lnTo>
                <a:lnTo>
                  <a:pt x="3319" y="1307"/>
                </a:lnTo>
                <a:lnTo>
                  <a:pt x="3330" y="1293"/>
                </a:lnTo>
                <a:lnTo>
                  <a:pt x="3351" y="1298"/>
                </a:lnTo>
                <a:lnTo>
                  <a:pt x="3346" y="1313"/>
                </a:lnTo>
                <a:lnTo>
                  <a:pt x="3366" y="1318"/>
                </a:lnTo>
                <a:lnTo>
                  <a:pt x="3371" y="1307"/>
                </a:lnTo>
                <a:lnTo>
                  <a:pt x="3396" y="1313"/>
                </a:lnTo>
                <a:lnTo>
                  <a:pt x="3401" y="1334"/>
                </a:lnTo>
                <a:close/>
                <a:moveTo>
                  <a:pt x="2921" y="84"/>
                </a:moveTo>
                <a:lnTo>
                  <a:pt x="2921" y="84"/>
                </a:lnTo>
                <a:lnTo>
                  <a:pt x="2912" y="84"/>
                </a:lnTo>
                <a:lnTo>
                  <a:pt x="2908" y="82"/>
                </a:lnTo>
                <a:lnTo>
                  <a:pt x="2905" y="78"/>
                </a:lnTo>
                <a:lnTo>
                  <a:pt x="2905" y="78"/>
                </a:lnTo>
                <a:lnTo>
                  <a:pt x="2908" y="80"/>
                </a:lnTo>
                <a:lnTo>
                  <a:pt x="2912" y="82"/>
                </a:lnTo>
                <a:lnTo>
                  <a:pt x="2915" y="84"/>
                </a:lnTo>
                <a:lnTo>
                  <a:pt x="2921" y="84"/>
                </a:lnTo>
                <a:lnTo>
                  <a:pt x="2921" y="84"/>
                </a:lnTo>
                <a:close/>
                <a:moveTo>
                  <a:pt x="2859" y="68"/>
                </a:moveTo>
                <a:lnTo>
                  <a:pt x="2859" y="68"/>
                </a:lnTo>
                <a:lnTo>
                  <a:pt x="2848" y="68"/>
                </a:lnTo>
                <a:lnTo>
                  <a:pt x="2839" y="66"/>
                </a:lnTo>
                <a:lnTo>
                  <a:pt x="2818" y="59"/>
                </a:lnTo>
                <a:lnTo>
                  <a:pt x="2818" y="59"/>
                </a:lnTo>
                <a:lnTo>
                  <a:pt x="2839" y="64"/>
                </a:lnTo>
                <a:lnTo>
                  <a:pt x="2859" y="68"/>
                </a:lnTo>
                <a:lnTo>
                  <a:pt x="2859" y="68"/>
                </a:lnTo>
                <a:close/>
                <a:moveTo>
                  <a:pt x="2720" y="416"/>
                </a:moveTo>
                <a:lnTo>
                  <a:pt x="2741" y="407"/>
                </a:lnTo>
                <a:lnTo>
                  <a:pt x="2766" y="402"/>
                </a:lnTo>
                <a:lnTo>
                  <a:pt x="2787" y="407"/>
                </a:lnTo>
                <a:lnTo>
                  <a:pt x="2796" y="386"/>
                </a:lnTo>
                <a:lnTo>
                  <a:pt x="2823" y="391"/>
                </a:lnTo>
                <a:lnTo>
                  <a:pt x="2859" y="391"/>
                </a:lnTo>
                <a:lnTo>
                  <a:pt x="2828" y="386"/>
                </a:lnTo>
                <a:lnTo>
                  <a:pt x="2812" y="370"/>
                </a:lnTo>
                <a:lnTo>
                  <a:pt x="2823" y="350"/>
                </a:lnTo>
                <a:lnTo>
                  <a:pt x="2843" y="340"/>
                </a:lnTo>
                <a:lnTo>
                  <a:pt x="2839" y="329"/>
                </a:lnTo>
                <a:lnTo>
                  <a:pt x="2859" y="320"/>
                </a:lnTo>
                <a:lnTo>
                  <a:pt x="2859" y="320"/>
                </a:lnTo>
                <a:lnTo>
                  <a:pt x="2869" y="315"/>
                </a:lnTo>
                <a:lnTo>
                  <a:pt x="2880" y="309"/>
                </a:lnTo>
                <a:lnTo>
                  <a:pt x="2889" y="304"/>
                </a:lnTo>
                <a:lnTo>
                  <a:pt x="2899" y="299"/>
                </a:lnTo>
                <a:lnTo>
                  <a:pt x="2899" y="299"/>
                </a:lnTo>
                <a:lnTo>
                  <a:pt x="2912" y="299"/>
                </a:lnTo>
                <a:lnTo>
                  <a:pt x="2924" y="297"/>
                </a:lnTo>
                <a:lnTo>
                  <a:pt x="2939" y="295"/>
                </a:lnTo>
                <a:lnTo>
                  <a:pt x="2951" y="293"/>
                </a:lnTo>
                <a:lnTo>
                  <a:pt x="2956" y="309"/>
                </a:lnTo>
                <a:lnTo>
                  <a:pt x="2956" y="309"/>
                </a:lnTo>
                <a:lnTo>
                  <a:pt x="2946" y="317"/>
                </a:lnTo>
                <a:lnTo>
                  <a:pt x="2939" y="324"/>
                </a:lnTo>
                <a:lnTo>
                  <a:pt x="2930" y="333"/>
                </a:lnTo>
                <a:lnTo>
                  <a:pt x="2921" y="340"/>
                </a:lnTo>
                <a:lnTo>
                  <a:pt x="2930" y="340"/>
                </a:lnTo>
                <a:lnTo>
                  <a:pt x="2946" y="324"/>
                </a:lnTo>
                <a:lnTo>
                  <a:pt x="2967" y="320"/>
                </a:lnTo>
                <a:lnTo>
                  <a:pt x="2962" y="309"/>
                </a:lnTo>
                <a:lnTo>
                  <a:pt x="2981" y="309"/>
                </a:lnTo>
                <a:lnTo>
                  <a:pt x="2997" y="324"/>
                </a:lnTo>
                <a:lnTo>
                  <a:pt x="2997" y="288"/>
                </a:lnTo>
                <a:lnTo>
                  <a:pt x="3012" y="279"/>
                </a:lnTo>
                <a:lnTo>
                  <a:pt x="3033" y="283"/>
                </a:lnTo>
                <a:lnTo>
                  <a:pt x="3049" y="309"/>
                </a:lnTo>
                <a:lnTo>
                  <a:pt x="3052" y="315"/>
                </a:lnTo>
                <a:lnTo>
                  <a:pt x="3049" y="329"/>
                </a:lnTo>
                <a:lnTo>
                  <a:pt x="3058" y="320"/>
                </a:lnTo>
                <a:lnTo>
                  <a:pt x="3058" y="320"/>
                </a:lnTo>
                <a:lnTo>
                  <a:pt x="3079" y="334"/>
                </a:lnTo>
                <a:lnTo>
                  <a:pt x="3099" y="350"/>
                </a:lnTo>
                <a:lnTo>
                  <a:pt x="3136" y="370"/>
                </a:lnTo>
                <a:lnTo>
                  <a:pt x="3161" y="375"/>
                </a:lnTo>
                <a:lnTo>
                  <a:pt x="3156" y="386"/>
                </a:lnTo>
                <a:lnTo>
                  <a:pt x="3161" y="402"/>
                </a:lnTo>
                <a:lnTo>
                  <a:pt x="3186" y="402"/>
                </a:lnTo>
                <a:lnTo>
                  <a:pt x="3213" y="416"/>
                </a:lnTo>
                <a:lnTo>
                  <a:pt x="3213" y="421"/>
                </a:lnTo>
                <a:lnTo>
                  <a:pt x="3248" y="432"/>
                </a:lnTo>
                <a:lnTo>
                  <a:pt x="3237" y="448"/>
                </a:lnTo>
                <a:lnTo>
                  <a:pt x="3259" y="448"/>
                </a:lnTo>
                <a:lnTo>
                  <a:pt x="3268" y="457"/>
                </a:lnTo>
                <a:lnTo>
                  <a:pt x="3264" y="468"/>
                </a:lnTo>
                <a:lnTo>
                  <a:pt x="3253" y="478"/>
                </a:lnTo>
                <a:lnTo>
                  <a:pt x="3278" y="489"/>
                </a:lnTo>
                <a:lnTo>
                  <a:pt x="3294" y="498"/>
                </a:lnTo>
                <a:lnTo>
                  <a:pt x="3268" y="498"/>
                </a:lnTo>
                <a:lnTo>
                  <a:pt x="3278" y="509"/>
                </a:lnTo>
                <a:lnTo>
                  <a:pt x="3300" y="509"/>
                </a:lnTo>
                <a:lnTo>
                  <a:pt x="3325" y="514"/>
                </a:lnTo>
                <a:lnTo>
                  <a:pt x="3351" y="530"/>
                </a:lnTo>
                <a:lnTo>
                  <a:pt x="3346" y="544"/>
                </a:lnTo>
                <a:lnTo>
                  <a:pt x="3346" y="544"/>
                </a:lnTo>
                <a:lnTo>
                  <a:pt x="3325" y="537"/>
                </a:lnTo>
                <a:lnTo>
                  <a:pt x="3316" y="535"/>
                </a:lnTo>
                <a:lnTo>
                  <a:pt x="3305" y="535"/>
                </a:lnTo>
                <a:lnTo>
                  <a:pt x="3325" y="550"/>
                </a:lnTo>
                <a:lnTo>
                  <a:pt x="3335" y="571"/>
                </a:lnTo>
                <a:lnTo>
                  <a:pt x="3335" y="571"/>
                </a:lnTo>
                <a:lnTo>
                  <a:pt x="3351" y="560"/>
                </a:lnTo>
                <a:lnTo>
                  <a:pt x="3366" y="550"/>
                </a:lnTo>
                <a:lnTo>
                  <a:pt x="3376" y="580"/>
                </a:lnTo>
                <a:lnTo>
                  <a:pt x="3376" y="612"/>
                </a:lnTo>
                <a:lnTo>
                  <a:pt x="3355" y="631"/>
                </a:lnTo>
                <a:lnTo>
                  <a:pt x="3346" y="637"/>
                </a:lnTo>
                <a:lnTo>
                  <a:pt x="3346" y="653"/>
                </a:lnTo>
                <a:lnTo>
                  <a:pt x="3360" y="683"/>
                </a:lnTo>
                <a:lnTo>
                  <a:pt x="3355" y="708"/>
                </a:lnTo>
                <a:lnTo>
                  <a:pt x="3346" y="718"/>
                </a:lnTo>
                <a:lnTo>
                  <a:pt x="3335" y="735"/>
                </a:lnTo>
                <a:lnTo>
                  <a:pt x="3314" y="754"/>
                </a:lnTo>
                <a:lnTo>
                  <a:pt x="3319" y="775"/>
                </a:lnTo>
                <a:lnTo>
                  <a:pt x="3341" y="795"/>
                </a:lnTo>
                <a:lnTo>
                  <a:pt x="3351" y="816"/>
                </a:lnTo>
                <a:lnTo>
                  <a:pt x="3346" y="847"/>
                </a:lnTo>
                <a:lnTo>
                  <a:pt x="3366" y="868"/>
                </a:lnTo>
                <a:lnTo>
                  <a:pt x="3366" y="868"/>
                </a:lnTo>
                <a:lnTo>
                  <a:pt x="3380" y="896"/>
                </a:lnTo>
                <a:lnTo>
                  <a:pt x="3387" y="909"/>
                </a:lnTo>
                <a:lnTo>
                  <a:pt x="3392" y="923"/>
                </a:lnTo>
                <a:lnTo>
                  <a:pt x="3376" y="923"/>
                </a:lnTo>
                <a:lnTo>
                  <a:pt x="3335" y="903"/>
                </a:lnTo>
                <a:lnTo>
                  <a:pt x="3305" y="914"/>
                </a:lnTo>
                <a:lnTo>
                  <a:pt x="3278" y="903"/>
                </a:lnTo>
                <a:lnTo>
                  <a:pt x="3248" y="882"/>
                </a:lnTo>
                <a:lnTo>
                  <a:pt x="3191" y="857"/>
                </a:lnTo>
                <a:lnTo>
                  <a:pt x="3172" y="836"/>
                </a:lnTo>
                <a:lnTo>
                  <a:pt x="3150" y="816"/>
                </a:lnTo>
                <a:lnTo>
                  <a:pt x="3109" y="795"/>
                </a:lnTo>
                <a:lnTo>
                  <a:pt x="3095" y="770"/>
                </a:lnTo>
                <a:lnTo>
                  <a:pt x="3074" y="765"/>
                </a:lnTo>
                <a:lnTo>
                  <a:pt x="3063" y="729"/>
                </a:lnTo>
                <a:lnTo>
                  <a:pt x="3079" y="713"/>
                </a:lnTo>
                <a:lnTo>
                  <a:pt x="3074" y="699"/>
                </a:lnTo>
                <a:lnTo>
                  <a:pt x="3058" y="678"/>
                </a:lnTo>
                <a:lnTo>
                  <a:pt x="3058" y="699"/>
                </a:lnTo>
                <a:lnTo>
                  <a:pt x="3052" y="704"/>
                </a:lnTo>
                <a:lnTo>
                  <a:pt x="3044" y="708"/>
                </a:lnTo>
                <a:lnTo>
                  <a:pt x="3022" y="699"/>
                </a:lnTo>
                <a:lnTo>
                  <a:pt x="3008" y="678"/>
                </a:lnTo>
                <a:lnTo>
                  <a:pt x="3008" y="667"/>
                </a:lnTo>
                <a:lnTo>
                  <a:pt x="3022" y="663"/>
                </a:lnTo>
                <a:lnTo>
                  <a:pt x="3052" y="663"/>
                </a:lnTo>
                <a:lnTo>
                  <a:pt x="3052" y="663"/>
                </a:lnTo>
                <a:lnTo>
                  <a:pt x="3026" y="654"/>
                </a:lnTo>
                <a:lnTo>
                  <a:pt x="2997" y="642"/>
                </a:lnTo>
                <a:lnTo>
                  <a:pt x="2987" y="647"/>
                </a:lnTo>
                <a:lnTo>
                  <a:pt x="2971" y="642"/>
                </a:lnTo>
                <a:lnTo>
                  <a:pt x="2967" y="617"/>
                </a:lnTo>
                <a:lnTo>
                  <a:pt x="2951" y="606"/>
                </a:lnTo>
                <a:lnTo>
                  <a:pt x="2951" y="606"/>
                </a:lnTo>
                <a:lnTo>
                  <a:pt x="2935" y="596"/>
                </a:lnTo>
                <a:lnTo>
                  <a:pt x="2921" y="587"/>
                </a:lnTo>
                <a:lnTo>
                  <a:pt x="2889" y="571"/>
                </a:lnTo>
                <a:lnTo>
                  <a:pt x="2869" y="566"/>
                </a:lnTo>
                <a:lnTo>
                  <a:pt x="2859" y="560"/>
                </a:lnTo>
                <a:lnTo>
                  <a:pt x="2812" y="550"/>
                </a:lnTo>
                <a:lnTo>
                  <a:pt x="2787" y="555"/>
                </a:lnTo>
                <a:lnTo>
                  <a:pt x="2787" y="555"/>
                </a:lnTo>
                <a:lnTo>
                  <a:pt x="2755" y="562"/>
                </a:lnTo>
                <a:lnTo>
                  <a:pt x="2739" y="564"/>
                </a:lnTo>
                <a:lnTo>
                  <a:pt x="2720" y="566"/>
                </a:lnTo>
                <a:lnTo>
                  <a:pt x="2700" y="560"/>
                </a:lnTo>
                <a:lnTo>
                  <a:pt x="2668" y="544"/>
                </a:lnTo>
                <a:lnTo>
                  <a:pt x="2695" y="535"/>
                </a:lnTo>
                <a:lnTo>
                  <a:pt x="2714" y="530"/>
                </a:lnTo>
                <a:lnTo>
                  <a:pt x="2665" y="530"/>
                </a:lnTo>
                <a:lnTo>
                  <a:pt x="2633" y="519"/>
                </a:lnTo>
                <a:lnTo>
                  <a:pt x="2627" y="514"/>
                </a:lnTo>
                <a:lnTo>
                  <a:pt x="2627" y="514"/>
                </a:lnTo>
                <a:lnTo>
                  <a:pt x="2665" y="498"/>
                </a:lnTo>
                <a:lnTo>
                  <a:pt x="2700" y="484"/>
                </a:lnTo>
                <a:lnTo>
                  <a:pt x="2700" y="473"/>
                </a:lnTo>
                <a:lnTo>
                  <a:pt x="2665" y="468"/>
                </a:lnTo>
                <a:lnTo>
                  <a:pt x="2674" y="457"/>
                </a:lnTo>
                <a:lnTo>
                  <a:pt x="2695" y="438"/>
                </a:lnTo>
                <a:lnTo>
                  <a:pt x="2711" y="432"/>
                </a:lnTo>
                <a:lnTo>
                  <a:pt x="2700" y="427"/>
                </a:lnTo>
                <a:lnTo>
                  <a:pt x="2720" y="416"/>
                </a:lnTo>
                <a:close/>
                <a:moveTo>
                  <a:pt x="2889" y="863"/>
                </a:moveTo>
                <a:lnTo>
                  <a:pt x="2921" y="873"/>
                </a:lnTo>
                <a:lnTo>
                  <a:pt x="2930" y="877"/>
                </a:lnTo>
                <a:lnTo>
                  <a:pt x="2956" y="903"/>
                </a:lnTo>
                <a:lnTo>
                  <a:pt x="2962" y="923"/>
                </a:lnTo>
                <a:lnTo>
                  <a:pt x="2930" y="923"/>
                </a:lnTo>
                <a:lnTo>
                  <a:pt x="2869" y="903"/>
                </a:lnTo>
                <a:lnTo>
                  <a:pt x="2869" y="903"/>
                </a:lnTo>
                <a:lnTo>
                  <a:pt x="2885" y="914"/>
                </a:lnTo>
                <a:lnTo>
                  <a:pt x="2903" y="923"/>
                </a:lnTo>
                <a:lnTo>
                  <a:pt x="2935" y="939"/>
                </a:lnTo>
                <a:lnTo>
                  <a:pt x="2946" y="950"/>
                </a:lnTo>
                <a:lnTo>
                  <a:pt x="2883" y="944"/>
                </a:lnTo>
                <a:lnTo>
                  <a:pt x="2834" y="928"/>
                </a:lnTo>
                <a:lnTo>
                  <a:pt x="2807" y="923"/>
                </a:lnTo>
                <a:lnTo>
                  <a:pt x="2812" y="914"/>
                </a:lnTo>
                <a:lnTo>
                  <a:pt x="2812" y="914"/>
                </a:lnTo>
                <a:lnTo>
                  <a:pt x="2796" y="905"/>
                </a:lnTo>
                <a:lnTo>
                  <a:pt x="2778" y="900"/>
                </a:lnTo>
                <a:lnTo>
                  <a:pt x="2762" y="895"/>
                </a:lnTo>
                <a:lnTo>
                  <a:pt x="2746" y="893"/>
                </a:lnTo>
                <a:lnTo>
                  <a:pt x="2752" y="903"/>
                </a:lnTo>
                <a:lnTo>
                  <a:pt x="2690" y="914"/>
                </a:lnTo>
                <a:lnTo>
                  <a:pt x="2668" y="903"/>
                </a:lnTo>
                <a:lnTo>
                  <a:pt x="2679" y="882"/>
                </a:lnTo>
                <a:lnTo>
                  <a:pt x="2714" y="873"/>
                </a:lnTo>
                <a:lnTo>
                  <a:pt x="2755" y="868"/>
                </a:lnTo>
                <a:lnTo>
                  <a:pt x="2746" y="857"/>
                </a:lnTo>
                <a:lnTo>
                  <a:pt x="2746" y="841"/>
                </a:lnTo>
                <a:lnTo>
                  <a:pt x="2761" y="811"/>
                </a:lnTo>
                <a:lnTo>
                  <a:pt x="2752" y="795"/>
                </a:lnTo>
                <a:lnTo>
                  <a:pt x="2736" y="781"/>
                </a:lnTo>
                <a:lnTo>
                  <a:pt x="2706" y="770"/>
                </a:lnTo>
                <a:lnTo>
                  <a:pt x="2665" y="765"/>
                </a:lnTo>
                <a:lnTo>
                  <a:pt x="2674" y="754"/>
                </a:lnTo>
                <a:lnTo>
                  <a:pt x="2654" y="735"/>
                </a:lnTo>
                <a:lnTo>
                  <a:pt x="2633" y="735"/>
                </a:lnTo>
                <a:lnTo>
                  <a:pt x="2613" y="724"/>
                </a:lnTo>
                <a:lnTo>
                  <a:pt x="2602" y="735"/>
                </a:lnTo>
                <a:lnTo>
                  <a:pt x="2572" y="740"/>
                </a:lnTo>
                <a:lnTo>
                  <a:pt x="2505" y="735"/>
                </a:lnTo>
                <a:lnTo>
                  <a:pt x="2505" y="735"/>
                </a:lnTo>
                <a:lnTo>
                  <a:pt x="2439" y="718"/>
                </a:lnTo>
                <a:lnTo>
                  <a:pt x="2423" y="708"/>
                </a:lnTo>
                <a:lnTo>
                  <a:pt x="2444" y="694"/>
                </a:lnTo>
                <a:lnTo>
                  <a:pt x="2417" y="694"/>
                </a:lnTo>
                <a:lnTo>
                  <a:pt x="2409" y="672"/>
                </a:lnTo>
                <a:lnTo>
                  <a:pt x="2423" y="653"/>
                </a:lnTo>
                <a:lnTo>
                  <a:pt x="2444" y="642"/>
                </a:lnTo>
                <a:lnTo>
                  <a:pt x="2485" y="637"/>
                </a:lnTo>
                <a:lnTo>
                  <a:pt x="2474" y="658"/>
                </a:lnTo>
                <a:lnTo>
                  <a:pt x="2490" y="678"/>
                </a:lnTo>
                <a:lnTo>
                  <a:pt x="2505" y="658"/>
                </a:lnTo>
                <a:lnTo>
                  <a:pt x="2545" y="647"/>
                </a:lnTo>
                <a:lnTo>
                  <a:pt x="2577" y="672"/>
                </a:lnTo>
                <a:lnTo>
                  <a:pt x="2577" y="694"/>
                </a:lnTo>
                <a:lnTo>
                  <a:pt x="2608" y="683"/>
                </a:lnTo>
                <a:lnTo>
                  <a:pt x="2624" y="672"/>
                </a:lnTo>
                <a:lnTo>
                  <a:pt x="2665" y="688"/>
                </a:lnTo>
                <a:lnTo>
                  <a:pt x="2690" y="699"/>
                </a:lnTo>
                <a:lnTo>
                  <a:pt x="2695" y="713"/>
                </a:lnTo>
                <a:lnTo>
                  <a:pt x="2720" y="704"/>
                </a:lnTo>
                <a:lnTo>
                  <a:pt x="2741" y="718"/>
                </a:lnTo>
                <a:lnTo>
                  <a:pt x="2787" y="724"/>
                </a:lnTo>
                <a:lnTo>
                  <a:pt x="2807" y="735"/>
                </a:lnTo>
                <a:lnTo>
                  <a:pt x="2834" y="754"/>
                </a:lnTo>
                <a:lnTo>
                  <a:pt x="2812" y="775"/>
                </a:lnTo>
                <a:lnTo>
                  <a:pt x="2864" y="791"/>
                </a:lnTo>
                <a:lnTo>
                  <a:pt x="2894" y="795"/>
                </a:lnTo>
                <a:lnTo>
                  <a:pt x="2930" y="816"/>
                </a:lnTo>
                <a:lnTo>
                  <a:pt x="2956" y="811"/>
                </a:lnTo>
                <a:lnTo>
                  <a:pt x="2962" y="832"/>
                </a:lnTo>
                <a:lnTo>
                  <a:pt x="2946" y="863"/>
                </a:lnTo>
                <a:lnTo>
                  <a:pt x="2921" y="852"/>
                </a:lnTo>
                <a:lnTo>
                  <a:pt x="2883" y="822"/>
                </a:lnTo>
                <a:lnTo>
                  <a:pt x="2864" y="827"/>
                </a:lnTo>
                <a:lnTo>
                  <a:pt x="2864" y="847"/>
                </a:lnTo>
                <a:lnTo>
                  <a:pt x="2889" y="863"/>
                </a:lnTo>
                <a:close/>
                <a:moveTo>
                  <a:pt x="2638" y="923"/>
                </a:moveTo>
                <a:lnTo>
                  <a:pt x="2618" y="934"/>
                </a:lnTo>
                <a:lnTo>
                  <a:pt x="2583" y="923"/>
                </a:lnTo>
                <a:lnTo>
                  <a:pt x="2567" y="909"/>
                </a:lnTo>
                <a:lnTo>
                  <a:pt x="2545" y="928"/>
                </a:lnTo>
                <a:lnTo>
                  <a:pt x="2515" y="944"/>
                </a:lnTo>
                <a:lnTo>
                  <a:pt x="2510" y="923"/>
                </a:lnTo>
                <a:lnTo>
                  <a:pt x="2480" y="928"/>
                </a:lnTo>
                <a:lnTo>
                  <a:pt x="2499" y="914"/>
                </a:lnTo>
                <a:lnTo>
                  <a:pt x="2499" y="893"/>
                </a:lnTo>
                <a:lnTo>
                  <a:pt x="2505" y="868"/>
                </a:lnTo>
                <a:lnTo>
                  <a:pt x="2521" y="873"/>
                </a:lnTo>
                <a:lnTo>
                  <a:pt x="2526" y="887"/>
                </a:lnTo>
                <a:lnTo>
                  <a:pt x="2537" y="882"/>
                </a:lnTo>
                <a:lnTo>
                  <a:pt x="2551" y="893"/>
                </a:lnTo>
                <a:lnTo>
                  <a:pt x="2551" y="893"/>
                </a:lnTo>
                <a:lnTo>
                  <a:pt x="2565" y="898"/>
                </a:lnTo>
                <a:lnTo>
                  <a:pt x="2577" y="903"/>
                </a:lnTo>
                <a:lnTo>
                  <a:pt x="2588" y="909"/>
                </a:lnTo>
                <a:lnTo>
                  <a:pt x="2602" y="914"/>
                </a:lnTo>
                <a:lnTo>
                  <a:pt x="2608" y="928"/>
                </a:lnTo>
                <a:lnTo>
                  <a:pt x="2624" y="923"/>
                </a:lnTo>
                <a:lnTo>
                  <a:pt x="2638" y="923"/>
                </a:lnTo>
                <a:close/>
                <a:moveTo>
                  <a:pt x="2336" y="462"/>
                </a:moveTo>
                <a:lnTo>
                  <a:pt x="2346" y="457"/>
                </a:lnTo>
                <a:lnTo>
                  <a:pt x="2362" y="457"/>
                </a:lnTo>
                <a:lnTo>
                  <a:pt x="2352" y="448"/>
                </a:lnTo>
                <a:lnTo>
                  <a:pt x="2376" y="448"/>
                </a:lnTo>
                <a:lnTo>
                  <a:pt x="2392" y="462"/>
                </a:lnTo>
                <a:lnTo>
                  <a:pt x="2392" y="462"/>
                </a:lnTo>
                <a:lnTo>
                  <a:pt x="2412" y="470"/>
                </a:lnTo>
                <a:lnTo>
                  <a:pt x="2423" y="471"/>
                </a:lnTo>
                <a:lnTo>
                  <a:pt x="2433" y="473"/>
                </a:lnTo>
                <a:lnTo>
                  <a:pt x="2444" y="489"/>
                </a:lnTo>
                <a:lnTo>
                  <a:pt x="2449" y="489"/>
                </a:lnTo>
                <a:lnTo>
                  <a:pt x="2444" y="478"/>
                </a:lnTo>
                <a:lnTo>
                  <a:pt x="2474" y="478"/>
                </a:lnTo>
                <a:lnTo>
                  <a:pt x="2485" y="484"/>
                </a:lnTo>
                <a:lnTo>
                  <a:pt x="2505" y="473"/>
                </a:lnTo>
                <a:lnTo>
                  <a:pt x="2439" y="473"/>
                </a:lnTo>
                <a:lnTo>
                  <a:pt x="2417" y="462"/>
                </a:lnTo>
                <a:lnTo>
                  <a:pt x="2409" y="452"/>
                </a:lnTo>
                <a:lnTo>
                  <a:pt x="2392" y="443"/>
                </a:lnTo>
                <a:lnTo>
                  <a:pt x="2387" y="432"/>
                </a:lnTo>
                <a:lnTo>
                  <a:pt x="2409" y="438"/>
                </a:lnTo>
                <a:lnTo>
                  <a:pt x="2423" y="438"/>
                </a:lnTo>
                <a:lnTo>
                  <a:pt x="2444" y="432"/>
                </a:lnTo>
                <a:lnTo>
                  <a:pt x="2458" y="421"/>
                </a:lnTo>
                <a:lnTo>
                  <a:pt x="2474" y="421"/>
                </a:lnTo>
                <a:lnTo>
                  <a:pt x="2490" y="427"/>
                </a:lnTo>
                <a:lnTo>
                  <a:pt x="2496" y="416"/>
                </a:lnTo>
                <a:lnTo>
                  <a:pt x="2510" y="411"/>
                </a:lnTo>
                <a:lnTo>
                  <a:pt x="2531" y="407"/>
                </a:lnTo>
                <a:lnTo>
                  <a:pt x="2556" y="402"/>
                </a:lnTo>
                <a:lnTo>
                  <a:pt x="2586" y="402"/>
                </a:lnTo>
                <a:lnTo>
                  <a:pt x="2586" y="402"/>
                </a:lnTo>
                <a:lnTo>
                  <a:pt x="2608" y="400"/>
                </a:lnTo>
                <a:lnTo>
                  <a:pt x="2631" y="398"/>
                </a:lnTo>
                <a:lnTo>
                  <a:pt x="2654" y="397"/>
                </a:lnTo>
                <a:lnTo>
                  <a:pt x="2674" y="397"/>
                </a:lnTo>
                <a:lnTo>
                  <a:pt x="2695" y="402"/>
                </a:lnTo>
                <a:lnTo>
                  <a:pt x="2700" y="407"/>
                </a:lnTo>
                <a:lnTo>
                  <a:pt x="2684" y="421"/>
                </a:lnTo>
                <a:lnTo>
                  <a:pt x="2665" y="432"/>
                </a:lnTo>
                <a:lnTo>
                  <a:pt x="2659" y="438"/>
                </a:lnTo>
                <a:lnTo>
                  <a:pt x="2674" y="438"/>
                </a:lnTo>
                <a:lnTo>
                  <a:pt x="2659" y="457"/>
                </a:lnTo>
                <a:lnTo>
                  <a:pt x="2649" y="462"/>
                </a:lnTo>
                <a:lnTo>
                  <a:pt x="2638" y="484"/>
                </a:lnTo>
                <a:lnTo>
                  <a:pt x="2613" y="489"/>
                </a:lnTo>
                <a:lnTo>
                  <a:pt x="2608" y="493"/>
                </a:lnTo>
                <a:lnTo>
                  <a:pt x="2572" y="498"/>
                </a:lnTo>
                <a:lnTo>
                  <a:pt x="2592" y="498"/>
                </a:lnTo>
                <a:lnTo>
                  <a:pt x="2586" y="503"/>
                </a:lnTo>
                <a:lnTo>
                  <a:pt x="2602" y="514"/>
                </a:lnTo>
                <a:lnTo>
                  <a:pt x="2592" y="525"/>
                </a:lnTo>
                <a:lnTo>
                  <a:pt x="2572" y="535"/>
                </a:lnTo>
                <a:lnTo>
                  <a:pt x="2567" y="544"/>
                </a:lnTo>
                <a:lnTo>
                  <a:pt x="2545" y="555"/>
                </a:lnTo>
                <a:lnTo>
                  <a:pt x="2551" y="560"/>
                </a:lnTo>
                <a:lnTo>
                  <a:pt x="2572" y="560"/>
                </a:lnTo>
                <a:lnTo>
                  <a:pt x="2572" y="566"/>
                </a:lnTo>
                <a:lnTo>
                  <a:pt x="2540" y="585"/>
                </a:lnTo>
                <a:lnTo>
                  <a:pt x="2545" y="585"/>
                </a:lnTo>
                <a:lnTo>
                  <a:pt x="2567" y="596"/>
                </a:lnTo>
                <a:lnTo>
                  <a:pt x="2572" y="606"/>
                </a:lnTo>
                <a:lnTo>
                  <a:pt x="2561" y="612"/>
                </a:lnTo>
                <a:lnTo>
                  <a:pt x="2540" y="617"/>
                </a:lnTo>
                <a:lnTo>
                  <a:pt x="2521" y="612"/>
                </a:lnTo>
                <a:lnTo>
                  <a:pt x="2469" y="617"/>
                </a:lnTo>
                <a:lnTo>
                  <a:pt x="2439" y="617"/>
                </a:lnTo>
                <a:lnTo>
                  <a:pt x="2412" y="612"/>
                </a:lnTo>
                <a:lnTo>
                  <a:pt x="2376" y="606"/>
                </a:lnTo>
                <a:lnTo>
                  <a:pt x="2371" y="590"/>
                </a:lnTo>
                <a:lnTo>
                  <a:pt x="2371" y="576"/>
                </a:lnTo>
                <a:lnTo>
                  <a:pt x="2352" y="566"/>
                </a:lnTo>
                <a:lnTo>
                  <a:pt x="2321" y="566"/>
                </a:lnTo>
                <a:lnTo>
                  <a:pt x="2305" y="555"/>
                </a:lnTo>
                <a:lnTo>
                  <a:pt x="2316" y="544"/>
                </a:lnTo>
                <a:lnTo>
                  <a:pt x="2341" y="550"/>
                </a:lnTo>
                <a:lnTo>
                  <a:pt x="2357" y="560"/>
                </a:lnTo>
                <a:lnTo>
                  <a:pt x="2382" y="560"/>
                </a:lnTo>
                <a:lnTo>
                  <a:pt x="2398" y="571"/>
                </a:lnTo>
                <a:lnTo>
                  <a:pt x="2398" y="580"/>
                </a:lnTo>
                <a:lnTo>
                  <a:pt x="2417" y="585"/>
                </a:lnTo>
                <a:lnTo>
                  <a:pt x="2428" y="590"/>
                </a:lnTo>
                <a:lnTo>
                  <a:pt x="2428" y="590"/>
                </a:lnTo>
                <a:lnTo>
                  <a:pt x="2439" y="592"/>
                </a:lnTo>
                <a:lnTo>
                  <a:pt x="2449" y="594"/>
                </a:lnTo>
                <a:lnTo>
                  <a:pt x="2460" y="596"/>
                </a:lnTo>
                <a:lnTo>
                  <a:pt x="2474" y="596"/>
                </a:lnTo>
                <a:lnTo>
                  <a:pt x="2496" y="590"/>
                </a:lnTo>
                <a:lnTo>
                  <a:pt x="2526" y="585"/>
                </a:lnTo>
                <a:lnTo>
                  <a:pt x="2540" y="585"/>
                </a:lnTo>
                <a:lnTo>
                  <a:pt x="2499" y="580"/>
                </a:lnTo>
                <a:lnTo>
                  <a:pt x="2458" y="585"/>
                </a:lnTo>
                <a:lnTo>
                  <a:pt x="2439" y="580"/>
                </a:lnTo>
                <a:lnTo>
                  <a:pt x="2412" y="580"/>
                </a:lnTo>
                <a:lnTo>
                  <a:pt x="2412" y="566"/>
                </a:lnTo>
                <a:lnTo>
                  <a:pt x="2439" y="560"/>
                </a:lnTo>
                <a:lnTo>
                  <a:pt x="2428" y="539"/>
                </a:lnTo>
                <a:lnTo>
                  <a:pt x="2439" y="539"/>
                </a:lnTo>
                <a:lnTo>
                  <a:pt x="2474" y="550"/>
                </a:lnTo>
                <a:lnTo>
                  <a:pt x="2455" y="535"/>
                </a:lnTo>
                <a:lnTo>
                  <a:pt x="2433" y="530"/>
                </a:lnTo>
                <a:lnTo>
                  <a:pt x="2444" y="519"/>
                </a:lnTo>
                <a:lnTo>
                  <a:pt x="2464" y="514"/>
                </a:lnTo>
                <a:lnTo>
                  <a:pt x="2469" y="503"/>
                </a:lnTo>
                <a:lnTo>
                  <a:pt x="2464" y="498"/>
                </a:lnTo>
                <a:lnTo>
                  <a:pt x="2444" y="509"/>
                </a:lnTo>
                <a:lnTo>
                  <a:pt x="2423" y="530"/>
                </a:lnTo>
                <a:lnTo>
                  <a:pt x="2403" y="530"/>
                </a:lnTo>
                <a:lnTo>
                  <a:pt x="2376" y="525"/>
                </a:lnTo>
                <a:lnTo>
                  <a:pt x="2357" y="509"/>
                </a:lnTo>
                <a:lnTo>
                  <a:pt x="2357" y="498"/>
                </a:lnTo>
                <a:lnTo>
                  <a:pt x="2368" y="493"/>
                </a:lnTo>
                <a:lnTo>
                  <a:pt x="2346" y="493"/>
                </a:lnTo>
                <a:lnTo>
                  <a:pt x="2330" y="484"/>
                </a:lnTo>
                <a:lnTo>
                  <a:pt x="2327" y="473"/>
                </a:lnTo>
                <a:lnTo>
                  <a:pt x="2336" y="462"/>
                </a:lnTo>
                <a:close/>
                <a:moveTo>
                  <a:pt x="2403" y="631"/>
                </a:moveTo>
                <a:lnTo>
                  <a:pt x="2376" y="653"/>
                </a:lnTo>
                <a:lnTo>
                  <a:pt x="2357" y="658"/>
                </a:lnTo>
                <a:lnTo>
                  <a:pt x="2336" y="678"/>
                </a:lnTo>
                <a:lnTo>
                  <a:pt x="2316" y="678"/>
                </a:lnTo>
                <a:lnTo>
                  <a:pt x="2305" y="658"/>
                </a:lnTo>
                <a:lnTo>
                  <a:pt x="2305" y="642"/>
                </a:lnTo>
                <a:lnTo>
                  <a:pt x="2316" y="631"/>
                </a:lnTo>
                <a:lnTo>
                  <a:pt x="2336" y="626"/>
                </a:lnTo>
                <a:lnTo>
                  <a:pt x="2368" y="631"/>
                </a:lnTo>
                <a:lnTo>
                  <a:pt x="2403" y="631"/>
                </a:lnTo>
                <a:close/>
                <a:moveTo>
                  <a:pt x="2295" y="503"/>
                </a:moveTo>
                <a:lnTo>
                  <a:pt x="2327" y="503"/>
                </a:lnTo>
                <a:lnTo>
                  <a:pt x="2341" y="514"/>
                </a:lnTo>
                <a:lnTo>
                  <a:pt x="2336" y="525"/>
                </a:lnTo>
                <a:lnTo>
                  <a:pt x="2316" y="530"/>
                </a:lnTo>
                <a:lnTo>
                  <a:pt x="2305" y="525"/>
                </a:lnTo>
                <a:lnTo>
                  <a:pt x="2295" y="514"/>
                </a:lnTo>
                <a:lnTo>
                  <a:pt x="2295" y="503"/>
                </a:lnTo>
                <a:close/>
                <a:moveTo>
                  <a:pt x="2295" y="571"/>
                </a:moveTo>
                <a:lnTo>
                  <a:pt x="2295" y="585"/>
                </a:lnTo>
                <a:lnTo>
                  <a:pt x="2284" y="606"/>
                </a:lnTo>
                <a:lnTo>
                  <a:pt x="2259" y="606"/>
                </a:lnTo>
                <a:lnTo>
                  <a:pt x="2243" y="601"/>
                </a:lnTo>
                <a:lnTo>
                  <a:pt x="2248" y="585"/>
                </a:lnTo>
                <a:lnTo>
                  <a:pt x="2229" y="585"/>
                </a:lnTo>
                <a:lnTo>
                  <a:pt x="2234" y="566"/>
                </a:lnTo>
                <a:lnTo>
                  <a:pt x="2248" y="566"/>
                </a:lnTo>
                <a:lnTo>
                  <a:pt x="2270" y="560"/>
                </a:lnTo>
                <a:lnTo>
                  <a:pt x="2284" y="555"/>
                </a:lnTo>
                <a:lnTo>
                  <a:pt x="2295" y="571"/>
                </a:lnTo>
                <a:close/>
                <a:moveTo>
                  <a:pt x="2213" y="478"/>
                </a:moveTo>
                <a:lnTo>
                  <a:pt x="2234" y="484"/>
                </a:lnTo>
                <a:lnTo>
                  <a:pt x="2264" y="498"/>
                </a:lnTo>
                <a:lnTo>
                  <a:pt x="2275" y="514"/>
                </a:lnTo>
                <a:lnTo>
                  <a:pt x="2280" y="525"/>
                </a:lnTo>
                <a:lnTo>
                  <a:pt x="2259" y="519"/>
                </a:lnTo>
                <a:lnTo>
                  <a:pt x="2240" y="509"/>
                </a:lnTo>
                <a:lnTo>
                  <a:pt x="2213" y="503"/>
                </a:lnTo>
                <a:lnTo>
                  <a:pt x="2229" y="498"/>
                </a:lnTo>
                <a:lnTo>
                  <a:pt x="2208" y="489"/>
                </a:lnTo>
                <a:lnTo>
                  <a:pt x="2213" y="478"/>
                </a:lnTo>
                <a:close/>
                <a:moveTo>
                  <a:pt x="2188" y="647"/>
                </a:moveTo>
                <a:lnTo>
                  <a:pt x="2199" y="647"/>
                </a:lnTo>
                <a:lnTo>
                  <a:pt x="2229" y="653"/>
                </a:lnTo>
                <a:lnTo>
                  <a:pt x="2213" y="631"/>
                </a:lnTo>
                <a:lnTo>
                  <a:pt x="2234" y="621"/>
                </a:lnTo>
                <a:lnTo>
                  <a:pt x="2254" y="631"/>
                </a:lnTo>
                <a:lnTo>
                  <a:pt x="2280" y="631"/>
                </a:lnTo>
                <a:lnTo>
                  <a:pt x="2284" y="642"/>
                </a:lnTo>
                <a:lnTo>
                  <a:pt x="2264" y="653"/>
                </a:lnTo>
                <a:lnTo>
                  <a:pt x="2284" y="667"/>
                </a:lnTo>
                <a:lnTo>
                  <a:pt x="2280" y="688"/>
                </a:lnTo>
                <a:lnTo>
                  <a:pt x="2248" y="699"/>
                </a:lnTo>
                <a:lnTo>
                  <a:pt x="2234" y="694"/>
                </a:lnTo>
                <a:lnTo>
                  <a:pt x="2224" y="683"/>
                </a:lnTo>
                <a:lnTo>
                  <a:pt x="2188" y="663"/>
                </a:lnTo>
                <a:lnTo>
                  <a:pt x="2188" y="647"/>
                </a:lnTo>
                <a:lnTo>
                  <a:pt x="2188" y="647"/>
                </a:lnTo>
                <a:close/>
                <a:moveTo>
                  <a:pt x="2033" y="535"/>
                </a:moveTo>
                <a:lnTo>
                  <a:pt x="2055" y="530"/>
                </a:lnTo>
                <a:lnTo>
                  <a:pt x="2085" y="544"/>
                </a:lnTo>
                <a:lnTo>
                  <a:pt x="2106" y="566"/>
                </a:lnTo>
                <a:lnTo>
                  <a:pt x="2126" y="571"/>
                </a:lnTo>
                <a:lnTo>
                  <a:pt x="2115" y="544"/>
                </a:lnTo>
                <a:lnTo>
                  <a:pt x="2136" y="539"/>
                </a:lnTo>
                <a:lnTo>
                  <a:pt x="2152" y="544"/>
                </a:lnTo>
                <a:lnTo>
                  <a:pt x="2152" y="571"/>
                </a:lnTo>
                <a:lnTo>
                  <a:pt x="2167" y="571"/>
                </a:lnTo>
                <a:lnTo>
                  <a:pt x="2183" y="576"/>
                </a:lnTo>
                <a:lnTo>
                  <a:pt x="2183" y="590"/>
                </a:lnTo>
                <a:lnTo>
                  <a:pt x="2167" y="601"/>
                </a:lnTo>
                <a:lnTo>
                  <a:pt x="2115" y="596"/>
                </a:lnTo>
                <a:lnTo>
                  <a:pt x="2074" y="601"/>
                </a:lnTo>
                <a:lnTo>
                  <a:pt x="2049" y="580"/>
                </a:lnTo>
                <a:lnTo>
                  <a:pt x="2055" y="571"/>
                </a:lnTo>
                <a:lnTo>
                  <a:pt x="2090" y="566"/>
                </a:lnTo>
                <a:lnTo>
                  <a:pt x="2090" y="566"/>
                </a:lnTo>
                <a:lnTo>
                  <a:pt x="2074" y="564"/>
                </a:lnTo>
                <a:lnTo>
                  <a:pt x="2056" y="562"/>
                </a:lnTo>
                <a:lnTo>
                  <a:pt x="2024" y="555"/>
                </a:lnTo>
                <a:lnTo>
                  <a:pt x="2003" y="550"/>
                </a:lnTo>
                <a:lnTo>
                  <a:pt x="2033" y="535"/>
                </a:lnTo>
                <a:close/>
                <a:moveTo>
                  <a:pt x="1839" y="601"/>
                </a:moveTo>
                <a:lnTo>
                  <a:pt x="1864" y="580"/>
                </a:lnTo>
                <a:lnTo>
                  <a:pt x="1886" y="566"/>
                </a:lnTo>
                <a:lnTo>
                  <a:pt x="1886" y="544"/>
                </a:lnTo>
                <a:lnTo>
                  <a:pt x="1932" y="555"/>
                </a:lnTo>
                <a:lnTo>
                  <a:pt x="1946" y="566"/>
                </a:lnTo>
                <a:lnTo>
                  <a:pt x="1978" y="576"/>
                </a:lnTo>
                <a:lnTo>
                  <a:pt x="1987" y="585"/>
                </a:lnTo>
                <a:lnTo>
                  <a:pt x="1998" y="601"/>
                </a:lnTo>
                <a:lnTo>
                  <a:pt x="2019" y="596"/>
                </a:lnTo>
                <a:lnTo>
                  <a:pt x="2033" y="606"/>
                </a:lnTo>
                <a:lnTo>
                  <a:pt x="2019" y="617"/>
                </a:lnTo>
                <a:lnTo>
                  <a:pt x="2049" y="617"/>
                </a:lnTo>
                <a:lnTo>
                  <a:pt x="2065" y="637"/>
                </a:lnTo>
                <a:lnTo>
                  <a:pt x="2085" y="626"/>
                </a:lnTo>
                <a:lnTo>
                  <a:pt x="2095" y="637"/>
                </a:lnTo>
                <a:lnTo>
                  <a:pt x="2101" y="663"/>
                </a:lnTo>
                <a:lnTo>
                  <a:pt x="2115" y="653"/>
                </a:lnTo>
                <a:lnTo>
                  <a:pt x="2115" y="626"/>
                </a:lnTo>
                <a:lnTo>
                  <a:pt x="2131" y="626"/>
                </a:lnTo>
                <a:lnTo>
                  <a:pt x="2147" y="631"/>
                </a:lnTo>
                <a:lnTo>
                  <a:pt x="2161" y="647"/>
                </a:lnTo>
                <a:lnTo>
                  <a:pt x="2161" y="694"/>
                </a:lnTo>
                <a:lnTo>
                  <a:pt x="2161" y="694"/>
                </a:lnTo>
                <a:lnTo>
                  <a:pt x="2170" y="704"/>
                </a:lnTo>
                <a:lnTo>
                  <a:pt x="2181" y="713"/>
                </a:lnTo>
                <a:lnTo>
                  <a:pt x="2193" y="718"/>
                </a:lnTo>
                <a:lnTo>
                  <a:pt x="2208" y="724"/>
                </a:lnTo>
                <a:lnTo>
                  <a:pt x="2199" y="740"/>
                </a:lnTo>
                <a:lnTo>
                  <a:pt x="2167" y="740"/>
                </a:lnTo>
                <a:lnTo>
                  <a:pt x="2177" y="754"/>
                </a:lnTo>
                <a:lnTo>
                  <a:pt x="2167" y="765"/>
                </a:lnTo>
                <a:lnTo>
                  <a:pt x="2136" y="754"/>
                </a:lnTo>
                <a:lnTo>
                  <a:pt x="2111" y="740"/>
                </a:lnTo>
                <a:lnTo>
                  <a:pt x="2090" y="740"/>
                </a:lnTo>
                <a:lnTo>
                  <a:pt x="2049" y="745"/>
                </a:lnTo>
                <a:lnTo>
                  <a:pt x="2049" y="745"/>
                </a:lnTo>
                <a:lnTo>
                  <a:pt x="2030" y="743"/>
                </a:lnTo>
                <a:lnTo>
                  <a:pt x="2008" y="742"/>
                </a:lnTo>
                <a:lnTo>
                  <a:pt x="1989" y="740"/>
                </a:lnTo>
                <a:lnTo>
                  <a:pt x="1973" y="740"/>
                </a:lnTo>
                <a:lnTo>
                  <a:pt x="1967" y="724"/>
                </a:lnTo>
                <a:lnTo>
                  <a:pt x="1946" y="713"/>
                </a:lnTo>
                <a:lnTo>
                  <a:pt x="1926" y="713"/>
                </a:lnTo>
                <a:lnTo>
                  <a:pt x="1916" y="694"/>
                </a:lnTo>
                <a:lnTo>
                  <a:pt x="1957" y="694"/>
                </a:lnTo>
                <a:lnTo>
                  <a:pt x="1978" y="699"/>
                </a:lnTo>
                <a:lnTo>
                  <a:pt x="1998" y="699"/>
                </a:lnTo>
                <a:lnTo>
                  <a:pt x="1978" y="683"/>
                </a:lnTo>
                <a:lnTo>
                  <a:pt x="1946" y="672"/>
                </a:lnTo>
                <a:lnTo>
                  <a:pt x="1926" y="667"/>
                </a:lnTo>
                <a:lnTo>
                  <a:pt x="1926" y="658"/>
                </a:lnTo>
                <a:lnTo>
                  <a:pt x="1967" y="653"/>
                </a:lnTo>
                <a:lnTo>
                  <a:pt x="1946" y="647"/>
                </a:lnTo>
                <a:lnTo>
                  <a:pt x="1926" y="631"/>
                </a:lnTo>
                <a:lnTo>
                  <a:pt x="1946" y="617"/>
                </a:lnTo>
                <a:lnTo>
                  <a:pt x="1957" y="612"/>
                </a:lnTo>
                <a:lnTo>
                  <a:pt x="1937" y="617"/>
                </a:lnTo>
                <a:lnTo>
                  <a:pt x="1905" y="631"/>
                </a:lnTo>
                <a:lnTo>
                  <a:pt x="1905" y="631"/>
                </a:lnTo>
                <a:lnTo>
                  <a:pt x="1900" y="638"/>
                </a:lnTo>
                <a:lnTo>
                  <a:pt x="1898" y="642"/>
                </a:lnTo>
                <a:lnTo>
                  <a:pt x="1896" y="642"/>
                </a:lnTo>
                <a:lnTo>
                  <a:pt x="1850" y="647"/>
                </a:lnTo>
                <a:lnTo>
                  <a:pt x="1850" y="631"/>
                </a:lnTo>
                <a:lnTo>
                  <a:pt x="1829" y="612"/>
                </a:lnTo>
                <a:lnTo>
                  <a:pt x="1839" y="601"/>
                </a:lnTo>
                <a:close/>
                <a:moveTo>
                  <a:pt x="1777" y="64"/>
                </a:moveTo>
                <a:lnTo>
                  <a:pt x="1777" y="64"/>
                </a:lnTo>
                <a:lnTo>
                  <a:pt x="1773" y="66"/>
                </a:lnTo>
                <a:lnTo>
                  <a:pt x="1770" y="68"/>
                </a:lnTo>
                <a:lnTo>
                  <a:pt x="1757" y="68"/>
                </a:lnTo>
                <a:lnTo>
                  <a:pt x="1757" y="68"/>
                </a:lnTo>
                <a:lnTo>
                  <a:pt x="1768" y="66"/>
                </a:lnTo>
                <a:lnTo>
                  <a:pt x="1777" y="64"/>
                </a:lnTo>
                <a:lnTo>
                  <a:pt x="1777" y="64"/>
                </a:lnTo>
                <a:close/>
                <a:moveTo>
                  <a:pt x="4175" y="3224"/>
                </a:moveTo>
                <a:lnTo>
                  <a:pt x="4150" y="3285"/>
                </a:lnTo>
                <a:lnTo>
                  <a:pt x="4129" y="3310"/>
                </a:lnTo>
                <a:lnTo>
                  <a:pt x="4082" y="3372"/>
                </a:lnTo>
                <a:lnTo>
                  <a:pt x="4063" y="3413"/>
                </a:lnTo>
                <a:lnTo>
                  <a:pt x="4036" y="3448"/>
                </a:lnTo>
                <a:lnTo>
                  <a:pt x="4033" y="3454"/>
                </a:lnTo>
                <a:lnTo>
                  <a:pt x="4017" y="3480"/>
                </a:lnTo>
                <a:lnTo>
                  <a:pt x="3995" y="3541"/>
                </a:lnTo>
                <a:lnTo>
                  <a:pt x="3995" y="3541"/>
                </a:lnTo>
                <a:lnTo>
                  <a:pt x="3986" y="3557"/>
                </a:lnTo>
                <a:lnTo>
                  <a:pt x="3977" y="3575"/>
                </a:lnTo>
                <a:lnTo>
                  <a:pt x="3970" y="3591"/>
                </a:lnTo>
                <a:lnTo>
                  <a:pt x="3960" y="3609"/>
                </a:lnTo>
                <a:lnTo>
                  <a:pt x="3945" y="3623"/>
                </a:lnTo>
                <a:lnTo>
                  <a:pt x="3924" y="3664"/>
                </a:lnTo>
                <a:lnTo>
                  <a:pt x="3883" y="3710"/>
                </a:lnTo>
                <a:lnTo>
                  <a:pt x="3872" y="3740"/>
                </a:lnTo>
                <a:lnTo>
                  <a:pt x="3853" y="3761"/>
                </a:lnTo>
                <a:lnTo>
                  <a:pt x="3837" y="3781"/>
                </a:lnTo>
                <a:lnTo>
                  <a:pt x="3837" y="3781"/>
                </a:lnTo>
                <a:lnTo>
                  <a:pt x="3823" y="3786"/>
                </a:lnTo>
                <a:lnTo>
                  <a:pt x="3819" y="3788"/>
                </a:lnTo>
                <a:lnTo>
                  <a:pt x="3817" y="3792"/>
                </a:lnTo>
                <a:lnTo>
                  <a:pt x="3776" y="3813"/>
                </a:lnTo>
                <a:lnTo>
                  <a:pt x="3755" y="3833"/>
                </a:lnTo>
                <a:lnTo>
                  <a:pt x="3725" y="3854"/>
                </a:lnTo>
                <a:lnTo>
                  <a:pt x="3684" y="3884"/>
                </a:lnTo>
                <a:lnTo>
                  <a:pt x="3638" y="3914"/>
                </a:lnTo>
                <a:lnTo>
                  <a:pt x="3622" y="3936"/>
                </a:lnTo>
                <a:lnTo>
                  <a:pt x="3622" y="3946"/>
                </a:lnTo>
                <a:lnTo>
                  <a:pt x="3602" y="3971"/>
                </a:lnTo>
                <a:lnTo>
                  <a:pt x="3586" y="3987"/>
                </a:lnTo>
                <a:lnTo>
                  <a:pt x="3561" y="4007"/>
                </a:lnTo>
                <a:lnTo>
                  <a:pt x="3504" y="4058"/>
                </a:lnTo>
                <a:lnTo>
                  <a:pt x="3504" y="4058"/>
                </a:lnTo>
                <a:lnTo>
                  <a:pt x="3476" y="4078"/>
                </a:lnTo>
                <a:lnTo>
                  <a:pt x="3460" y="4087"/>
                </a:lnTo>
                <a:lnTo>
                  <a:pt x="3442" y="4094"/>
                </a:lnTo>
                <a:lnTo>
                  <a:pt x="3417" y="4115"/>
                </a:lnTo>
                <a:lnTo>
                  <a:pt x="3376" y="4156"/>
                </a:lnTo>
                <a:lnTo>
                  <a:pt x="3341" y="4176"/>
                </a:lnTo>
                <a:lnTo>
                  <a:pt x="3325" y="4176"/>
                </a:lnTo>
                <a:lnTo>
                  <a:pt x="3309" y="4181"/>
                </a:lnTo>
                <a:lnTo>
                  <a:pt x="3289" y="4176"/>
                </a:lnTo>
                <a:lnTo>
                  <a:pt x="3268" y="4181"/>
                </a:lnTo>
                <a:lnTo>
                  <a:pt x="3259" y="4170"/>
                </a:lnTo>
                <a:lnTo>
                  <a:pt x="3248" y="4187"/>
                </a:lnTo>
                <a:lnTo>
                  <a:pt x="3268" y="4203"/>
                </a:lnTo>
                <a:lnTo>
                  <a:pt x="3253" y="4217"/>
                </a:lnTo>
                <a:lnTo>
                  <a:pt x="3264" y="4222"/>
                </a:lnTo>
                <a:lnTo>
                  <a:pt x="3253" y="4233"/>
                </a:lnTo>
                <a:lnTo>
                  <a:pt x="3213" y="4263"/>
                </a:lnTo>
                <a:lnTo>
                  <a:pt x="3177" y="4274"/>
                </a:lnTo>
                <a:lnTo>
                  <a:pt x="3120" y="4290"/>
                </a:lnTo>
                <a:lnTo>
                  <a:pt x="3095" y="4293"/>
                </a:lnTo>
                <a:lnTo>
                  <a:pt x="3084" y="4304"/>
                </a:lnTo>
                <a:lnTo>
                  <a:pt x="3084" y="4315"/>
                </a:lnTo>
                <a:lnTo>
                  <a:pt x="3063" y="4325"/>
                </a:lnTo>
                <a:lnTo>
                  <a:pt x="3038" y="4331"/>
                </a:lnTo>
                <a:lnTo>
                  <a:pt x="3022" y="4320"/>
                </a:lnTo>
                <a:lnTo>
                  <a:pt x="3003" y="4331"/>
                </a:lnTo>
                <a:lnTo>
                  <a:pt x="2992" y="4350"/>
                </a:lnTo>
                <a:lnTo>
                  <a:pt x="3008" y="4355"/>
                </a:lnTo>
                <a:lnTo>
                  <a:pt x="3028" y="4345"/>
                </a:lnTo>
                <a:lnTo>
                  <a:pt x="3028" y="4355"/>
                </a:lnTo>
                <a:lnTo>
                  <a:pt x="3003" y="4366"/>
                </a:lnTo>
                <a:lnTo>
                  <a:pt x="2976" y="4380"/>
                </a:lnTo>
                <a:lnTo>
                  <a:pt x="2956" y="4402"/>
                </a:lnTo>
                <a:lnTo>
                  <a:pt x="2940" y="4412"/>
                </a:lnTo>
                <a:lnTo>
                  <a:pt x="2910" y="4407"/>
                </a:lnTo>
                <a:lnTo>
                  <a:pt x="2883" y="4418"/>
                </a:lnTo>
                <a:lnTo>
                  <a:pt x="2864" y="4432"/>
                </a:lnTo>
                <a:lnTo>
                  <a:pt x="2880" y="4443"/>
                </a:lnTo>
                <a:lnTo>
                  <a:pt x="2899" y="4443"/>
                </a:lnTo>
                <a:lnTo>
                  <a:pt x="2880" y="4459"/>
                </a:lnTo>
                <a:lnTo>
                  <a:pt x="2843" y="4468"/>
                </a:lnTo>
                <a:lnTo>
                  <a:pt x="2812" y="4489"/>
                </a:lnTo>
                <a:lnTo>
                  <a:pt x="2787" y="4500"/>
                </a:lnTo>
                <a:lnTo>
                  <a:pt x="2766" y="4494"/>
                </a:lnTo>
                <a:lnTo>
                  <a:pt x="2761" y="4505"/>
                </a:lnTo>
                <a:lnTo>
                  <a:pt x="2771" y="4508"/>
                </a:lnTo>
                <a:lnTo>
                  <a:pt x="2771" y="4508"/>
                </a:lnTo>
                <a:lnTo>
                  <a:pt x="2761" y="4508"/>
                </a:lnTo>
                <a:lnTo>
                  <a:pt x="2761" y="4514"/>
                </a:lnTo>
                <a:lnTo>
                  <a:pt x="2782" y="4519"/>
                </a:lnTo>
                <a:lnTo>
                  <a:pt x="2802" y="4519"/>
                </a:lnTo>
                <a:lnTo>
                  <a:pt x="2793" y="4524"/>
                </a:lnTo>
                <a:lnTo>
                  <a:pt x="2771" y="4530"/>
                </a:lnTo>
                <a:lnTo>
                  <a:pt x="2766" y="4530"/>
                </a:lnTo>
                <a:lnTo>
                  <a:pt x="2752" y="4535"/>
                </a:lnTo>
                <a:lnTo>
                  <a:pt x="2730" y="4540"/>
                </a:lnTo>
                <a:lnTo>
                  <a:pt x="2684" y="4540"/>
                </a:lnTo>
                <a:lnTo>
                  <a:pt x="2684" y="4540"/>
                </a:lnTo>
                <a:lnTo>
                  <a:pt x="2675" y="4539"/>
                </a:lnTo>
                <a:lnTo>
                  <a:pt x="2666" y="4537"/>
                </a:lnTo>
                <a:lnTo>
                  <a:pt x="2659" y="4535"/>
                </a:lnTo>
                <a:lnTo>
                  <a:pt x="2649" y="4535"/>
                </a:lnTo>
                <a:lnTo>
                  <a:pt x="2627" y="4519"/>
                </a:lnTo>
                <a:lnTo>
                  <a:pt x="2627" y="4519"/>
                </a:lnTo>
                <a:lnTo>
                  <a:pt x="2624" y="4514"/>
                </a:lnTo>
                <a:lnTo>
                  <a:pt x="2624" y="4508"/>
                </a:lnTo>
                <a:lnTo>
                  <a:pt x="2638" y="4500"/>
                </a:lnTo>
                <a:lnTo>
                  <a:pt x="2633" y="4489"/>
                </a:lnTo>
                <a:lnTo>
                  <a:pt x="2649" y="4468"/>
                </a:lnTo>
                <a:lnTo>
                  <a:pt x="2668" y="4453"/>
                </a:lnTo>
                <a:lnTo>
                  <a:pt x="2700" y="4437"/>
                </a:lnTo>
                <a:lnTo>
                  <a:pt x="2665" y="4437"/>
                </a:lnTo>
                <a:lnTo>
                  <a:pt x="2695" y="4421"/>
                </a:lnTo>
                <a:lnTo>
                  <a:pt x="2714" y="4396"/>
                </a:lnTo>
                <a:lnTo>
                  <a:pt x="2741" y="4402"/>
                </a:lnTo>
                <a:lnTo>
                  <a:pt x="2771" y="4371"/>
                </a:lnTo>
                <a:lnTo>
                  <a:pt x="2766" y="4371"/>
                </a:lnTo>
                <a:lnTo>
                  <a:pt x="2746" y="4391"/>
                </a:lnTo>
                <a:lnTo>
                  <a:pt x="2730" y="4391"/>
                </a:lnTo>
                <a:lnTo>
                  <a:pt x="2730" y="4391"/>
                </a:lnTo>
                <a:lnTo>
                  <a:pt x="2745" y="4377"/>
                </a:lnTo>
                <a:lnTo>
                  <a:pt x="2755" y="4363"/>
                </a:lnTo>
                <a:lnTo>
                  <a:pt x="2777" y="4334"/>
                </a:lnTo>
                <a:lnTo>
                  <a:pt x="2796" y="4320"/>
                </a:lnTo>
                <a:lnTo>
                  <a:pt x="2796" y="4299"/>
                </a:lnTo>
                <a:lnTo>
                  <a:pt x="2807" y="4279"/>
                </a:lnTo>
                <a:lnTo>
                  <a:pt x="2823" y="4279"/>
                </a:lnTo>
                <a:lnTo>
                  <a:pt x="2823" y="4279"/>
                </a:lnTo>
                <a:lnTo>
                  <a:pt x="2889" y="4211"/>
                </a:lnTo>
                <a:lnTo>
                  <a:pt x="2915" y="4181"/>
                </a:lnTo>
                <a:lnTo>
                  <a:pt x="2921" y="4151"/>
                </a:lnTo>
                <a:lnTo>
                  <a:pt x="2940" y="4130"/>
                </a:lnTo>
                <a:lnTo>
                  <a:pt x="2946" y="4105"/>
                </a:lnTo>
                <a:lnTo>
                  <a:pt x="2971" y="4074"/>
                </a:lnTo>
                <a:lnTo>
                  <a:pt x="2971" y="4074"/>
                </a:lnTo>
                <a:lnTo>
                  <a:pt x="2988" y="4032"/>
                </a:lnTo>
                <a:lnTo>
                  <a:pt x="3008" y="3991"/>
                </a:lnTo>
                <a:lnTo>
                  <a:pt x="3044" y="3914"/>
                </a:lnTo>
                <a:lnTo>
                  <a:pt x="3052" y="3868"/>
                </a:lnTo>
                <a:lnTo>
                  <a:pt x="3058" y="3833"/>
                </a:lnTo>
                <a:lnTo>
                  <a:pt x="3028" y="3818"/>
                </a:lnTo>
                <a:lnTo>
                  <a:pt x="3028" y="3802"/>
                </a:lnTo>
                <a:lnTo>
                  <a:pt x="2962" y="3781"/>
                </a:lnTo>
                <a:lnTo>
                  <a:pt x="2899" y="3756"/>
                </a:lnTo>
                <a:lnTo>
                  <a:pt x="2875" y="3737"/>
                </a:lnTo>
                <a:lnTo>
                  <a:pt x="2859" y="3715"/>
                </a:lnTo>
                <a:lnTo>
                  <a:pt x="2869" y="3705"/>
                </a:lnTo>
                <a:lnTo>
                  <a:pt x="2843" y="3669"/>
                </a:lnTo>
                <a:lnTo>
                  <a:pt x="2843" y="3669"/>
                </a:lnTo>
                <a:lnTo>
                  <a:pt x="2812" y="3610"/>
                </a:lnTo>
                <a:lnTo>
                  <a:pt x="2782" y="3552"/>
                </a:lnTo>
                <a:lnTo>
                  <a:pt x="2766" y="3536"/>
                </a:lnTo>
                <a:lnTo>
                  <a:pt x="2755" y="3516"/>
                </a:lnTo>
                <a:lnTo>
                  <a:pt x="2730" y="3495"/>
                </a:lnTo>
                <a:lnTo>
                  <a:pt x="2706" y="3480"/>
                </a:lnTo>
                <a:lnTo>
                  <a:pt x="2720" y="3464"/>
                </a:lnTo>
                <a:lnTo>
                  <a:pt x="2700" y="3434"/>
                </a:lnTo>
                <a:lnTo>
                  <a:pt x="2714" y="3413"/>
                </a:lnTo>
                <a:lnTo>
                  <a:pt x="2746" y="3393"/>
                </a:lnTo>
                <a:lnTo>
                  <a:pt x="2766" y="3367"/>
                </a:lnTo>
                <a:lnTo>
                  <a:pt x="2766" y="3326"/>
                </a:lnTo>
                <a:lnTo>
                  <a:pt x="2746" y="3347"/>
                </a:lnTo>
                <a:lnTo>
                  <a:pt x="2725" y="3331"/>
                </a:lnTo>
                <a:lnTo>
                  <a:pt x="2736" y="3320"/>
                </a:lnTo>
                <a:lnTo>
                  <a:pt x="2730" y="3290"/>
                </a:lnTo>
                <a:lnTo>
                  <a:pt x="2746" y="3285"/>
                </a:lnTo>
                <a:lnTo>
                  <a:pt x="2755" y="3265"/>
                </a:lnTo>
                <a:lnTo>
                  <a:pt x="2777" y="3244"/>
                </a:lnTo>
                <a:lnTo>
                  <a:pt x="2777" y="3228"/>
                </a:lnTo>
                <a:lnTo>
                  <a:pt x="2796" y="3219"/>
                </a:lnTo>
                <a:lnTo>
                  <a:pt x="2823" y="3203"/>
                </a:lnTo>
                <a:lnTo>
                  <a:pt x="2812" y="3182"/>
                </a:lnTo>
                <a:lnTo>
                  <a:pt x="2828" y="3178"/>
                </a:lnTo>
                <a:lnTo>
                  <a:pt x="2828" y="3157"/>
                </a:lnTo>
                <a:lnTo>
                  <a:pt x="2839" y="3141"/>
                </a:lnTo>
                <a:lnTo>
                  <a:pt x="2859" y="3137"/>
                </a:lnTo>
                <a:lnTo>
                  <a:pt x="2859" y="3137"/>
                </a:lnTo>
                <a:lnTo>
                  <a:pt x="2889" y="3091"/>
                </a:lnTo>
                <a:lnTo>
                  <a:pt x="2880" y="3086"/>
                </a:lnTo>
                <a:lnTo>
                  <a:pt x="2889" y="3064"/>
                </a:lnTo>
                <a:lnTo>
                  <a:pt x="2880" y="3029"/>
                </a:lnTo>
                <a:lnTo>
                  <a:pt x="2889" y="3018"/>
                </a:lnTo>
                <a:lnTo>
                  <a:pt x="2883" y="2988"/>
                </a:lnTo>
                <a:lnTo>
                  <a:pt x="2869" y="2972"/>
                </a:lnTo>
                <a:lnTo>
                  <a:pt x="2853" y="2963"/>
                </a:lnTo>
                <a:lnTo>
                  <a:pt x="2843" y="2942"/>
                </a:lnTo>
                <a:lnTo>
                  <a:pt x="2853" y="2931"/>
                </a:lnTo>
                <a:lnTo>
                  <a:pt x="2843" y="2931"/>
                </a:lnTo>
                <a:lnTo>
                  <a:pt x="2839" y="2922"/>
                </a:lnTo>
                <a:lnTo>
                  <a:pt x="2818" y="2911"/>
                </a:lnTo>
                <a:lnTo>
                  <a:pt x="2796" y="2906"/>
                </a:lnTo>
                <a:lnTo>
                  <a:pt x="2793" y="2922"/>
                </a:lnTo>
                <a:lnTo>
                  <a:pt x="2771" y="2931"/>
                </a:lnTo>
                <a:lnTo>
                  <a:pt x="2761" y="2931"/>
                </a:lnTo>
                <a:lnTo>
                  <a:pt x="2755" y="2942"/>
                </a:lnTo>
                <a:lnTo>
                  <a:pt x="2777" y="2963"/>
                </a:lnTo>
                <a:lnTo>
                  <a:pt x="2766" y="2963"/>
                </a:lnTo>
                <a:lnTo>
                  <a:pt x="2761" y="2968"/>
                </a:lnTo>
                <a:lnTo>
                  <a:pt x="2746" y="2972"/>
                </a:lnTo>
                <a:lnTo>
                  <a:pt x="2741" y="2952"/>
                </a:lnTo>
                <a:lnTo>
                  <a:pt x="2736" y="2958"/>
                </a:lnTo>
                <a:lnTo>
                  <a:pt x="2720" y="2958"/>
                </a:lnTo>
                <a:lnTo>
                  <a:pt x="2711" y="2942"/>
                </a:lnTo>
                <a:lnTo>
                  <a:pt x="2690" y="2942"/>
                </a:lnTo>
                <a:lnTo>
                  <a:pt x="2679" y="2936"/>
                </a:lnTo>
                <a:lnTo>
                  <a:pt x="2659" y="2936"/>
                </a:lnTo>
                <a:lnTo>
                  <a:pt x="2659" y="2947"/>
                </a:lnTo>
                <a:lnTo>
                  <a:pt x="2654" y="2942"/>
                </a:lnTo>
                <a:lnTo>
                  <a:pt x="2633" y="2931"/>
                </a:lnTo>
                <a:lnTo>
                  <a:pt x="2624" y="2922"/>
                </a:lnTo>
                <a:lnTo>
                  <a:pt x="2627" y="2917"/>
                </a:lnTo>
                <a:lnTo>
                  <a:pt x="2627" y="2906"/>
                </a:lnTo>
                <a:lnTo>
                  <a:pt x="2618" y="2895"/>
                </a:lnTo>
                <a:lnTo>
                  <a:pt x="2602" y="2885"/>
                </a:lnTo>
                <a:lnTo>
                  <a:pt x="2586" y="2881"/>
                </a:lnTo>
                <a:lnTo>
                  <a:pt x="2583" y="2870"/>
                </a:lnTo>
                <a:lnTo>
                  <a:pt x="2572" y="2854"/>
                </a:lnTo>
                <a:lnTo>
                  <a:pt x="2572" y="2865"/>
                </a:lnTo>
                <a:lnTo>
                  <a:pt x="2561" y="2876"/>
                </a:lnTo>
                <a:lnTo>
                  <a:pt x="2551" y="2870"/>
                </a:lnTo>
                <a:lnTo>
                  <a:pt x="2545" y="2860"/>
                </a:lnTo>
                <a:lnTo>
                  <a:pt x="2545" y="2844"/>
                </a:lnTo>
                <a:lnTo>
                  <a:pt x="2551" y="2830"/>
                </a:lnTo>
                <a:lnTo>
                  <a:pt x="2540" y="2824"/>
                </a:lnTo>
                <a:lnTo>
                  <a:pt x="2551" y="2814"/>
                </a:lnTo>
                <a:lnTo>
                  <a:pt x="2551" y="2814"/>
                </a:lnTo>
                <a:lnTo>
                  <a:pt x="2537" y="2799"/>
                </a:lnTo>
                <a:lnTo>
                  <a:pt x="2528" y="2792"/>
                </a:lnTo>
                <a:lnTo>
                  <a:pt x="2521" y="2789"/>
                </a:lnTo>
                <a:lnTo>
                  <a:pt x="2510" y="2778"/>
                </a:lnTo>
                <a:lnTo>
                  <a:pt x="2490" y="2762"/>
                </a:lnTo>
                <a:lnTo>
                  <a:pt x="2469" y="2742"/>
                </a:lnTo>
                <a:lnTo>
                  <a:pt x="2474" y="2737"/>
                </a:lnTo>
                <a:lnTo>
                  <a:pt x="2480" y="2742"/>
                </a:lnTo>
                <a:lnTo>
                  <a:pt x="2485" y="2737"/>
                </a:lnTo>
                <a:lnTo>
                  <a:pt x="2480" y="2721"/>
                </a:lnTo>
                <a:lnTo>
                  <a:pt x="2464" y="2716"/>
                </a:lnTo>
                <a:lnTo>
                  <a:pt x="2458" y="2726"/>
                </a:lnTo>
                <a:lnTo>
                  <a:pt x="2439" y="2726"/>
                </a:lnTo>
                <a:lnTo>
                  <a:pt x="2423" y="2721"/>
                </a:lnTo>
                <a:lnTo>
                  <a:pt x="2409" y="2716"/>
                </a:lnTo>
                <a:lnTo>
                  <a:pt x="2387" y="2712"/>
                </a:lnTo>
                <a:lnTo>
                  <a:pt x="2376" y="2721"/>
                </a:lnTo>
                <a:lnTo>
                  <a:pt x="2352" y="2716"/>
                </a:lnTo>
                <a:lnTo>
                  <a:pt x="2327" y="2716"/>
                </a:lnTo>
                <a:lnTo>
                  <a:pt x="2305" y="2707"/>
                </a:lnTo>
                <a:lnTo>
                  <a:pt x="2284" y="2685"/>
                </a:lnTo>
                <a:lnTo>
                  <a:pt x="2240" y="2645"/>
                </a:lnTo>
                <a:lnTo>
                  <a:pt x="2224" y="2625"/>
                </a:lnTo>
                <a:lnTo>
                  <a:pt x="2193" y="2614"/>
                </a:lnTo>
                <a:lnTo>
                  <a:pt x="2172" y="2614"/>
                </a:lnTo>
                <a:lnTo>
                  <a:pt x="2142" y="2629"/>
                </a:lnTo>
                <a:lnTo>
                  <a:pt x="2120" y="2634"/>
                </a:lnTo>
                <a:lnTo>
                  <a:pt x="2095" y="2620"/>
                </a:lnTo>
                <a:lnTo>
                  <a:pt x="2071" y="2609"/>
                </a:lnTo>
                <a:lnTo>
                  <a:pt x="2033" y="2588"/>
                </a:lnTo>
                <a:lnTo>
                  <a:pt x="1998" y="2584"/>
                </a:lnTo>
                <a:lnTo>
                  <a:pt x="1946" y="2563"/>
                </a:lnTo>
                <a:lnTo>
                  <a:pt x="1916" y="2541"/>
                </a:lnTo>
                <a:lnTo>
                  <a:pt x="1905" y="2533"/>
                </a:lnTo>
                <a:lnTo>
                  <a:pt x="1886" y="2527"/>
                </a:lnTo>
                <a:lnTo>
                  <a:pt x="1845" y="2511"/>
                </a:lnTo>
                <a:lnTo>
                  <a:pt x="1829" y="2492"/>
                </a:lnTo>
                <a:lnTo>
                  <a:pt x="1793" y="2465"/>
                </a:lnTo>
                <a:lnTo>
                  <a:pt x="1772" y="2440"/>
                </a:lnTo>
                <a:lnTo>
                  <a:pt x="1763" y="2419"/>
                </a:lnTo>
                <a:lnTo>
                  <a:pt x="1777" y="2419"/>
                </a:lnTo>
                <a:lnTo>
                  <a:pt x="1777" y="2410"/>
                </a:lnTo>
                <a:lnTo>
                  <a:pt x="1788" y="2399"/>
                </a:lnTo>
                <a:lnTo>
                  <a:pt x="1788" y="2383"/>
                </a:lnTo>
                <a:lnTo>
                  <a:pt x="1777" y="2364"/>
                </a:lnTo>
                <a:lnTo>
                  <a:pt x="1777" y="2348"/>
                </a:lnTo>
                <a:lnTo>
                  <a:pt x="1768" y="2328"/>
                </a:lnTo>
                <a:lnTo>
                  <a:pt x="1741" y="2285"/>
                </a:lnTo>
                <a:lnTo>
                  <a:pt x="1711" y="2244"/>
                </a:lnTo>
                <a:lnTo>
                  <a:pt x="1690" y="2220"/>
                </a:lnTo>
                <a:lnTo>
                  <a:pt x="1665" y="2200"/>
                </a:lnTo>
                <a:lnTo>
                  <a:pt x="1660" y="2189"/>
                </a:lnTo>
                <a:lnTo>
                  <a:pt x="1670" y="2168"/>
                </a:lnTo>
                <a:lnTo>
                  <a:pt x="1649" y="2154"/>
                </a:lnTo>
                <a:lnTo>
                  <a:pt x="1629" y="2132"/>
                </a:lnTo>
                <a:lnTo>
                  <a:pt x="1629" y="2102"/>
                </a:lnTo>
                <a:lnTo>
                  <a:pt x="1613" y="2102"/>
                </a:lnTo>
                <a:lnTo>
                  <a:pt x="1594" y="2081"/>
                </a:lnTo>
                <a:lnTo>
                  <a:pt x="1578" y="2061"/>
                </a:lnTo>
                <a:lnTo>
                  <a:pt x="1578" y="2045"/>
                </a:lnTo>
                <a:lnTo>
                  <a:pt x="1562" y="2015"/>
                </a:lnTo>
                <a:lnTo>
                  <a:pt x="1562" y="1988"/>
                </a:lnTo>
                <a:lnTo>
                  <a:pt x="1567" y="1974"/>
                </a:lnTo>
                <a:lnTo>
                  <a:pt x="1548" y="1953"/>
                </a:lnTo>
                <a:lnTo>
                  <a:pt x="1537" y="1953"/>
                </a:lnTo>
                <a:lnTo>
                  <a:pt x="1516" y="1939"/>
                </a:lnTo>
                <a:lnTo>
                  <a:pt x="1507" y="1953"/>
                </a:lnTo>
                <a:lnTo>
                  <a:pt x="1507" y="1999"/>
                </a:lnTo>
                <a:lnTo>
                  <a:pt x="1516" y="2020"/>
                </a:lnTo>
                <a:lnTo>
                  <a:pt x="1537" y="2051"/>
                </a:lnTo>
                <a:lnTo>
                  <a:pt x="1542" y="2061"/>
                </a:lnTo>
                <a:lnTo>
                  <a:pt x="1548" y="2067"/>
                </a:lnTo>
                <a:lnTo>
                  <a:pt x="1548" y="2081"/>
                </a:lnTo>
                <a:lnTo>
                  <a:pt x="1553" y="2081"/>
                </a:lnTo>
                <a:lnTo>
                  <a:pt x="1553" y="2102"/>
                </a:lnTo>
                <a:lnTo>
                  <a:pt x="1562" y="2113"/>
                </a:lnTo>
                <a:lnTo>
                  <a:pt x="1567" y="2127"/>
                </a:lnTo>
                <a:lnTo>
                  <a:pt x="1588" y="2148"/>
                </a:lnTo>
                <a:lnTo>
                  <a:pt x="1594" y="2184"/>
                </a:lnTo>
                <a:lnTo>
                  <a:pt x="1594" y="2184"/>
                </a:lnTo>
                <a:lnTo>
                  <a:pt x="1601" y="2202"/>
                </a:lnTo>
                <a:lnTo>
                  <a:pt x="1608" y="2220"/>
                </a:lnTo>
                <a:lnTo>
                  <a:pt x="1608" y="2241"/>
                </a:lnTo>
                <a:lnTo>
                  <a:pt x="1629" y="2244"/>
                </a:lnTo>
                <a:lnTo>
                  <a:pt x="1629" y="2244"/>
                </a:lnTo>
                <a:lnTo>
                  <a:pt x="1642" y="2266"/>
                </a:lnTo>
                <a:lnTo>
                  <a:pt x="1649" y="2282"/>
                </a:lnTo>
                <a:lnTo>
                  <a:pt x="1649" y="2285"/>
                </a:lnTo>
                <a:lnTo>
                  <a:pt x="1629" y="2301"/>
                </a:lnTo>
                <a:lnTo>
                  <a:pt x="1624" y="2301"/>
                </a:lnTo>
                <a:lnTo>
                  <a:pt x="1619" y="2282"/>
                </a:lnTo>
                <a:lnTo>
                  <a:pt x="1599" y="2255"/>
                </a:lnTo>
                <a:lnTo>
                  <a:pt x="1578" y="2236"/>
                </a:lnTo>
                <a:lnTo>
                  <a:pt x="1558" y="2220"/>
                </a:lnTo>
                <a:lnTo>
                  <a:pt x="1562" y="2195"/>
                </a:lnTo>
                <a:lnTo>
                  <a:pt x="1562" y="2173"/>
                </a:lnTo>
                <a:lnTo>
                  <a:pt x="1562" y="2173"/>
                </a:lnTo>
                <a:lnTo>
                  <a:pt x="1526" y="2138"/>
                </a:lnTo>
                <a:lnTo>
                  <a:pt x="1526" y="2148"/>
                </a:lnTo>
                <a:lnTo>
                  <a:pt x="1521" y="2138"/>
                </a:lnTo>
                <a:lnTo>
                  <a:pt x="1501" y="2122"/>
                </a:lnTo>
                <a:lnTo>
                  <a:pt x="1485" y="2086"/>
                </a:lnTo>
                <a:lnTo>
                  <a:pt x="1491" y="2081"/>
                </a:lnTo>
                <a:lnTo>
                  <a:pt x="1507" y="2086"/>
                </a:lnTo>
                <a:lnTo>
                  <a:pt x="1521" y="2072"/>
                </a:lnTo>
                <a:lnTo>
                  <a:pt x="1526" y="2051"/>
                </a:lnTo>
                <a:lnTo>
                  <a:pt x="1501" y="2029"/>
                </a:lnTo>
                <a:lnTo>
                  <a:pt x="1480" y="2015"/>
                </a:lnTo>
                <a:lnTo>
                  <a:pt x="1480" y="2015"/>
                </a:lnTo>
                <a:lnTo>
                  <a:pt x="1473" y="1995"/>
                </a:lnTo>
                <a:lnTo>
                  <a:pt x="1468" y="1974"/>
                </a:lnTo>
                <a:lnTo>
                  <a:pt x="1460" y="1933"/>
                </a:lnTo>
                <a:lnTo>
                  <a:pt x="1450" y="1898"/>
                </a:lnTo>
                <a:lnTo>
                  <a:pt x="1450" y="1876"/>
                </a:lnTo>
                <a:lnTo>
                  <a:pt x="1434" y="1857"/>
                </a:lnTo>
                <a:lnTo>
                  <a:pt x="1419" y="1846"/>
                </a:lnTo>
                <a:lnTo>
                  <a:pt x="1419" y="1835"/>
                </a:lnTo>
                <a:lnTo>
                  <a:pt x="1398" y="1830"/>
                </a:lnTo>
                <a:lnTo>
                  <a:pt x="1387" y="1816"/>
                </a:lnTo>
                <a:lnTo>
                  <a:pt x="1363" y="1805"/>
                </a:lnTo>
                <a:lnTo>
                  <a:pt x="1357" y="1794"/>
                </a:lnTo>
                <a:lnTo>
                  <a:pt x="1357" y="1773"/>
                </a:lnTo>
                <a:lnTo>
                  <a:pt x="1338" y="1732"/>
                </a:lnTo>
                <a:lnTo>
                  <a:pt x="1332" y="1688"/>
                </a:lnTo>
                <a:lnTo>
                  <a:pt x="1338" y="1677"/>
                </a:lnTo>
                <a:lnTo>
                  <a:pt x="1338" y="1656"/>
                </a:lnTo>
                <a:lnTo>
                  <a:pt x="1327" y="1620"/>
                </a:lnTo>
                <a:lnTo>
                  <a:pt x="1332" y="1590"/>
                </a:lnTo>
                <a:lnTo>
                  <a:pt x="1322" y="1569"/>
                </a:lnTo>
                <a:lnTo>
                  <a:pt x="1343" y="1544"/>
                </a:lnTo>
                <a:lnTo>
                  <a:pt x="1352" y="1517"/>
                </a:lnTo>
                <a:lnTo>
                  <a:pt x="1352" y="1492"/>
                </a:lnTo>
                <a:lnTo>
                  <a:pt x="1373" y="1467"/>
                </a:lnTo>
                <a:lnTo>
                  <a:pt x="1403" y="1405"/>
                </a:lnTo>
                <a:lnTo>
                  <a:pt x="1419" y="1359"/>
                </a:lnTo>
                <a:lnTo>
                  <a:pt x="1425" y="1329"/>
                </a:lnTo>
                <a:lnTo>
                  <a:pt x="1425" y="1307"/>
                </a:lnTo>
                <a:lnTo>
                  <a:pt x="1430" y="1304"/>
                </a:lnTo>
                <a:lnTo>
                  <a:pt x="1460" y="1323"/>
                </a:lnTo>
                <a:lnTo>
                  <a:pt x="1460" y="1359"/>
                </a:lnTo>
                <a:lnTo>
                  <a:pt x="1475" y="1348"/>
                </a:lnTo>
                <a:lnTo>
                  <a:pt x="1485" y="1323"/>
                </a:lnTo>
                <a:lnTo>
                  <a:pt x="1491" y="1298"/>
                </a:lnTo>
                <a:lnTo>
                  <a:pt x="1485" y="1298"/>
                </a:lnTo>
                <a:lnTo>
                  <a:pt x="1455" y="1252"/>
                </a:lnTo>
                <a:lnTo>
                  <a:pt x="1444" y="1231"/>
                </a:lnTo>
                <a:lnTo>
                  <a:pt x="1414" y="1211"/>
                </a:lnTo>
                <a:lnTo>
                  <a:pt x="1419" y="1179"/>
                </a:lnTo>
                <a:lnTo>
                  <a:pt x="1434" y="1160"/>
                </a:lnTo>
                <a:lnTo>
                  <a:pt x="1414" y="1138"/>
                </a:lnTo>
                <a:lnTo>
                  <a:pt x="1425" y="1113"/>
                </a:lnTo>
                <a:lnTo>
                  <a:pt x="1414" y="1083"/>
                </a:lnTo>
                <a:lnTo>
                  <a:pt x="1425" y="1067"/>
                </a:lnTo>
                <a:lnTo>
                  <a:pt x="1419" y="1051"/>
                </a:lnTo>
                <a:lnTo>
                  <a:pt x="1409" y="1037"/>
                </a:lnTo>
                <a:lnTo>
                  <a:pt x="1425" y="1010"/>
                </a:lnTo>
                <a:lnTo>
                  <a:pt x="1414" y="980"/>
                </a:lnTo>
                <a:lnTo>
                  <a:pt x="1425" y="950"/>
                </a:lnTo>
                <a:lnTo>
                  <a:pt x="1398" y="923"/>
                </a:lnTo>
                <a:lnTo>
                  <a:pt x="1373" y="914"/>
                </a:lnTo>
                <a:lnTo>
                  <a:pt x="1357" y="898"/>
                </a:lnTo>
                <a:lnTo>
                  <a:pt x="1347" y="857"/>
                </a:lnTo>
                <a:lnTo>
                  <a:pt x="1347" y="857"/>
                </a:lnTo>
                <a:lnTo>
                  <a:pt x="1332" y="841"/>
                </a:lnTo>
                <a:lnTo>
                  <a:pt x="1327" y="834"/>
                </a:lnTo>
                <a:lnTo>
                  <a:pt x="1322" y="827"/>
                </a:lnTo>
                <a:lnTo>
                  <a:pt x="1302" y="816"/>
                </a:lnTo>
                <a:lnTo>
                  <a:pt x="1281" y="786"/>
                </a:lnTo>
                <a:lnTo>
                  <a:pt x="1275" y="765"/>
                </a:lnTo>
                <a:lnTo>
                  <a:pt x="1256" y="759"/>
                </a:lnTo>
                <a:lnTo>
                  <a:pt x="1234" y="781"/>
                </a:lnTo>
                <a:lnTo>
                  <a:pt x="1229" y="781"/>
                </a:lnTo>
                <a:lnTo>
                  <a:pt x="1210" y="775"/>
                </a:lnTo>
                <a:lnTo>
                  <a:pt x="1188" y="775"/>
                </a:lnTo>
                <a:lnTo>
                  <a:pt x="1178" y="770"/>
                </a:lnTo>
                <a:lnTo>
                  <a:pt x="1194" y="754"/>
                </a:lnTo>
                <a:lnTo>
                  <a:pt x="1218" y="735"/>
                </a:lnTo>
                <a:lnTo>
                  <a:pt x="1215" y="740"/>
                </a:lnTo>
                <a:lnTo>
                  <a:pt x="1188" y="754"/>
                </a:lnTo>
                <a:lnTo>
                  <a:pt x="1153" y="765"/>
                </a:lnTo>
                <a:lnTo>
                  <a:pt x="1147" y="786"/>
                </a:lnTo>
                <a:lnTo>
                  <a:pt x="1122" y="791"/>
                </a:lnTo>
                <a:lnTo>
                  <a:pt x="1076" y="791"/>
                </a:lnTo>
                <a:lnTo>
                  <a:pt x="1060" y="800"/>
                </a:lnTo>
                <a:lnTo>
                  <a:pt x="1030" y="800"/>
                </a:lnTo>
                <a:lnTo>
                  <a:pt x="1014" y="811"/>
                </a:lnTo>
                <a:lnTo>
                  <a:pt x="994" y="811"/>
                </a:lnTo>
                <a:lnTo>
                  <a:pt x="989" y="800"/>
                </a:lnTo>
                <a:lnTo>
                  <a:pt x="932" y="800"/>
                </a:lnTo>
                <a:lnTo>
                  <a:pt x="913" y="791"/>
                </a:lnTo>
                <a:lnTo>
                  <a:pt x="918" y="786"/>
                </a:lnTo>
                <a:lnTo>
                  <a:pt x="959" y="786"/>
                </a:lnTo>
                <a:lnTo>
                  <a:pt x="978" y="781"/>
                </a:lnTo>
                <a:lnTo>
                  <a:pt x="994" y="791"/>
                </a:lnTo>
                <a:lnTo>
                  <a:pt x="1009" y="786"/>
                </a:lnTo>
                <a:lnTo>
                  <a:pt x="1041" y="781"/>
                </a:lnTo>
                <a:lnTo>
                  <a:pt x="1049" y="775"/>
                </a:lnTo>
                <a:lnTo>
                  <a:pt x="1071" y="770"/>
                </a:lnTo>
                <a:lnTo>
                  <a:pt x="1090" y="749"/>
                </a:lnTo>
                <a:lnTo>
                  <a:pt x="1112" y="740"/>
                </a:lnTo>
                <a:lnTo>
                  <a:pt x="1090" y="740"/>
                </a:lnTo>
                <a:lnTo>
                  <a:pt x="1090" y="735"/>
                </a:lnTo>
                <a:lnTo>
                  <a:pt x="1071" y="740"/>
                </a:lnTo>
                <a:lnTo>
                  <a:pt x="1082" y="718"/>
                </a:lnTo>
                <a:lnTo>
                  <a:pt x="1066" y="724"/>
                </a:lnTo>
                <a:lnTo>
                  <a:pt x="1076" y="708"/>
                </a:lnTo>
                <a:lnTo>
                  <a:pt x="1055" y="708"/>
                </a:lnTo>
                <a:lnTo>
                  <a:pt x="1049" y="704"/>
                </a:lnTo>
                <a:lnTo>
                  <a:pt x="1071" y="688"/>
                </a:lnTo>
                <a:lnTo>
                  <a:pt x="1087" y="678"/>
                </a:lnTo>
                <a:lnTo>
                  <a:pt x="1090" y="663"/>
                </a:lnTo>
                <a:lnTo>
                  <a:pt x="1076" y="667"/>
                </a:lnTo>
                <a:lnTo>
                  <a:pt x="1090" y="637"/>
                </a:lnTo>
                <a:lnTo>
                  <a:pt x="1112" y="621"/>
                </a:lnTo>
                <a:lnTo>
                  <a:pt x="1122" y="606"/>
                </a:lnTo>
                <a:lnTo>
                  <a:pt x="1142" y="596"/>
                </a:lnTo>
                <a:lnTo>
                  <a:pt x="1163" y="590"/>
                </a:lnTo>
                <a:lnTo>
                  <a:pt x="1183" y="580"/>
                </a:lnTo>
                <a:lnTo>
                  <a:pt x="1194" y="585"/>
                </a:lnTo>
                <a:lnTo>
                  <a:pt x="1194" y="596"/>
                </a:lnTo>
                <a:lnTo>
                  <a:pt x="1215" y="590"/>
                </a:lnTo>
                <a:lnTo>
                  <a:pt x="1210" y="596"/>
                </a:lnTo>
                <a:lnTo>
                  <a:pt x="1224" y="596"/>
                </a:lnTo>
                <a:lnTo>
                  <a:pt x="1240" y="585"/>
                </a:lnTo>
                <a:lnTo>
                  <a:pt x="1240" y="576"/>
                </a:lnTo>
                <a:lnTo>
                  <a:pt x="1259" y="571"/>
                </a:lnTo>
                <a:lnTo>
                  <a:pt x="1256" y="566"/>
                </a:lnTo>
                <a:lnTo>
                  <a:pt x="1240" y="560"/>
                </a:lnTo>
                <a:lnTo>
                  <a:pt x="1229" y="566"/>
                </a:lnTo>
                <a:lnTo>
                  <a:pt x="1215" y="555"/>
                </a:lnTo>
                <a:lnTo>
                  <a:pt x="1215" y="539"/>
                </a:lnTo>
                <a:lnTo>
                  <a:pt x="1224" y="530"/>
                </a:lnTo>
                <a:lnTo>
                  <a:pt x="1240" y="509"/>
                </a:lnTo>
                <a:lnTo>
                  <a:pt x="1259" y="509"/>
                </a:lnTo>
                <a:lnTo>
                  <a:pt x="1286" y="514"/>
                </a:lnTo>
                <a:lnTo>
                  <a:pt x="1291" y="519"/>
                </a:lnTo>
                <a:lnTo>
                  <a:pt x="1270" y="530"/>
                </a:lnTo>
                <a:lnTo>
                  <a:pt x="1286" y="544"/>
                </a:lnTo>
                <a:lnTo>
                  <a:pt x="1302" y="525"/>
                </a:lnTo>
                <a:lnTo>
                  <a:pt x="1306" y="509"/>
                </a:lnTo>
                <a:lnTo>
                  <a:pt x="1322" y="493"/>
                </a:lnTo>
                <a:lnTo>
                  <a:pt x="1332" y="478"/>
                </a:lnTo>
                <a:lnTo>
                  <a:pt x="1338" y="462"/>
                </a:lnTo>
                <a:lnTo>
                  <a:pt x="1357" y="457"/>
                </a:lnTo>
                <a:lnTo>
                  <a:pt x="1368" y="468"/>
                </a:lnTo>
                <a:lnTo>
                  <a:pt x="1387" y="468"/>
                </a:lnTo>
                <a:lnTo>
                  <a:pt x="1409" y="457"/>
                </a:lnTo>
                <a:lnTo>
                  <a:pt x="1430" y="452"/>
                </a:lnTo>
                <a:lnTo>
                  <a:pt x="1439" y="457"/>
                </a:lnTo>
                <a:lnTo>
                  <a:pt x="1466" y="462"/>
                </a:lnTo>
                <a:lnTo>
                  <a:pt x="1471" y="468"/>
                </a:lnTo>
                <a:lnTo>
                  <a:pt x="1485" y="468"/>
                </a:lnTo>
                <a:lnTo>
                  <a:pt x="1491" y="484"/>
                </a:lnTo>
                <a:lnTo>
                  <a:pt x="1480" y="498"/>
                </a:lnTo>
                <a:lnTo>
                  <a:pt x="1491" y="498"/>
                </a:lnTo>
                <a:lnTo>
                  <a:pt x="1507" y="509"/>
                </a:lnTo>
                <a:lnTo>
                  <a:pt x="1496" y="509"/>
                </a:lnTo>
                <a:lnTo>
                  <a:pt x="1507" y="525"/>
                </a:lnTo>
                <a:lnTo>
                  <a:pt x="1521" y="530"/>
                </a:lnTo>
                <a:lnTo>
                  <a:pt x="1532" y="550"/>
                </a:lnTo>
                <a:lnTo>
                  <a:pt x="1553" y="566"/>
                </a:lnTo>
                <a:lnTo>
                  <a:pt x="1558" y="576"/>
                </a:lnTo>
                <a:lnTo>
                  <a:pt x="1578" y="580"/>
                </a:lnTo>
                <a:lnTo>
                  <a:pt x="1588" y="596"/>
                </a:lnTo>
                <a:lnTo>
                  <a:pt x="1588" y="596"/>
                </a:lnTo>
                <a:lnTo>
                  <a:pt x="1603" y="608"/>
                </a:lnTo>
                <a:lnTo>
                  <a:pt x="1606" y="612"/>
                </a:lnTo>
                <a:lnTo>
                  <a:pt x="1608" y="617"/>
                </a:lnTo>
                <a:lnTo>
                  <a:pt x="1619" y="637"/>
                </a:lnTo>
                <a:lnTo>
                  <a:pt x="1629" y="647"/>
                </a:lnTo>
                <a:lnTo>
                  <a:pt x="1649" y="642"/>
                </a:lnTo>
                <a:lnTo>
                  <a:pt x="1670" y="642"/>
                </a:lnTo>
                <a:lnTo>
                  <a:pt x="1690" y="653"/>
                </a:lnTo>
                <a:lnTo>
                  <a:pt x="1722" y="647"/>
                </a:lnTo>
                <a:lnTo>
                  <a:pt x="1741" y="647"/>
                </a:lnTo>
                <a:lnTo>
                  <a:pt x="1741" y="663"/>
                </a:lnTo>
                <a:lnTo>
                  <a:pt x="1757" y="658"/>
                </a:lnTo>
                <a:lnTo>
                  <a:pt x="1772" y="647"/>
                </a:lnTo>
                <a:lnTo>
                  <a:pt x="1782" y="653"/>
                </a:lnTo>
                <a:lnTo>
                  <a:pt x="1788" y="678"/>
                </a:lnTo>
                <a:lnTo>
                  <a:pt x="1818" y="663"/>
                </a:lnTo>
                <a:lnTo>
                  <a:pt x="1804" y="683"/>
                </a:lnTo>
                <a:lnTo>
                  <a:pt x="1823" y="683"/>
                </a:lnTo>
                <a:lnTo>
                  <a:pt x="1834" y="678"/>
                </a:lnTo>
                <a:lnTo>
                  <a:pt x="1855" y="683"/>
                </a:lnTo>
                <a:lnTo>
                  <a:pt x="1875" y="704"/>
                </a:lnTo>
                <a:lnTo>
                  <a:pt x="1905" y="724"/>
                </a:lnTo>
                <a:lnTo>
                  <a:pt x="1926" y="735"/>
                </a:lnTo>
                <a:lnTo>
                  <a:pt x="1946" y="735"/>
                </a:lnTo>
                <a:lnTo>
                  <a:pt x="1967" y="754"/>
                </a:lnTo>
                <a:lnTo>
                  <a:pt x="1937" y="765"/>
                </a:lnTo>
                <a:lnTo>
                  <a:pt x="1962" y="781"/>
                </a:lnTo>
                <a:lnTo>
                  <a:pt x="2014" y="786"/>
                </a:lnTo>
                <a:lnTo>
                  <a:pt x="2033" y="781"/>
                </a:lnTo>
                <a:lnTo>
                  <a:pt x="2049" y="800"/>
                </a:lnTo>
                <a:lnTo>
                  <a:pt x="2074" y="791"/>
                </a:lnTo>
                <a:lnTo>
                  <a:pt x="2060" y="775"/>
                </a:lnTo>
                <a:lnTo>
                  <a:pt x="2074" y="765"/>
                </a:lnTo>
                <a:lnTo>
                  <a:pt x="2101" y="765"/>
                </a:lnTo>
                <a:lnTo>
                  <a:pt x="2115" y="775"/>
                </a:lnTo>
                <a:lnTo>
                  <a:pt x="2131" y="795"/>
                </a:lnTo>
                <a:lnTo>
                  <a:pt x="2152" y="795"/>
                </a:lnTo>
                <a:lnTo>
                  <a:pt x="2183" y="816"/>
                </a:lnTo>
                <a:lnTo>
                  <a:pt x="2213" y="816"/>
                </a:lnTo>
                <a:lnTo>
                  <a:pt x="2240" y="822"/>
                </a:lnTo>
                <a:lnTo>
                  <a:pt x="2240" y="800"/>
                </a:lnTo>
                <a:lnTo>
                  <a:pt x="2259" y="795"/>
                </a:lnTo>
                <a:lnTo>
                  <a:pt x="2284" y="811"/>
                </a:lnTo>
                <a:lnTo>
                  <a:pt x="2280" y="836"/>
                </a:lnTo>
                <a:lnTo>
                  <a:pt x="2295" y="816"/>
                </a:lnTo>
                <a:lnTo>
                  <a:pt x="2311" y="816"/>
                </a:lnTo>
                <a:lnTo>
                  <a:pt x="2327" y="791"/>
                </a:lnTo>
                <a:lnTo>
                  <a:pt x="2305" y="770"/>
                </a:lnTo>
                <a:lnTo>
                  <a:pt x="2284" y="754"/>
                </a:lnTo>
                <a:lnTo>
                  <a:pt x="2289" y="724"/>
                </a:lnTo>
                <a:lnTo>
                  <a:pt x="2311" y="704"/>
                </a:lnTo>
                <a:lnTo>
                  <a:pt x="2330" y="708"/>
                </a:lnTo>
                <a:lnTo>
                  <a:pt x="2352" y="724"/>
                </a:lnTo>
                <a:lnTo>
                  <a:pt x="2371" y="754"/>
                </a:lnTo>
                <a:lnTo>
                  <a:pt x="2352" y="770"/>
                </a:lnTo>
                <a:lnTo>
                  <a:pt x="2387" y="781"/>
                </a:lnTo>
                <a:lnTo>
                  <a:pt x="2387" y="806"/>
                </a:lnTo>
                <a:lnTo>
                  <a:pt x="2412" y="786"/>
                </a:lnTo>
                <a:lnTo>
                  <a:pt x="2433" y="806"/>
                </a:lnTo>
                <a:lnTo>
                  <a:pt x="2428" y="827"/>
                </a:lnTo>
                <a:lnTo>
                  <a:pt x="2449" y="847"/>
                </a:lnTo>
                <a:lnTo>
                  <a:pt x="2469" y="827"/>
                </a:lnTo>
                <a:lnTo>
                  <a:pt x="2485" y="806"/>
                </a:lnTo>
                <a:lnTo>
                  <a:pt x="2485" y="775"/>
                </a:lnTo>
                <a:lnTo>
                  <a:pt x="2485" y="775"/>
                </a:lnTo>
                <a:lnTo>
                  <a:pt x="2499" y="775"/>
                </a:lnTo>
                <a:lnTo>
                  <a:pt x="2513" y="777"/>
                </a:lnTo>
                <a:lnTo>
                  <a:pt x="2526" y="779"/>
                </a:lnTo>
                <a:lnTo>
                  <a:pt x="2540" y="781"/>
                </a:lnTo>
                <a:lnTo>
                  <a:pt x="2567" y="795"/>
                </a:lnTo>
                <a:lnTo>
                  <a:pt x="2572" y="811"/>
                </a:lnTo>
                <a:lnTo>
                  <a:pt x="2556" y="827"/>
                </a:lnTo>
                <a:lnTo>
                  <a:pt x="2567" y="836"/>
                </a:lnTo>
                <a:lnTo>
                  <a:pt x="2561" y="847"/>
                </a:lnTo>
                <a:lnTo>
                  <a:pt x="2537" y="852"/>
                </a:lnTo>
                <a:lnTo>
                  <a:pt x="2510" y="841"/>
                </a:lnTo>
                <a:lnTo>
                  <a:pt x="2505" y="857"/>
                </a:lnTo>
                <a:lnTo>
                  <a:pt x="2485" y="877"/>
                </a:lnTo>
                <a:lnTo>
                  <a:pt x="2480" y="893"/>
                </a:lnTo>
                <a:lnTo>
                  <a:pt x="2458" y="914"/>
                </a:lnTo>
                <a:lnTo>
                  <a:pt x="2428" y="914"/>
                </a:lnTo>
                <a:lnTo>
                  <a:pt x="2398" y="923"/>
                </a:lnTo>
                <a:lnTo>
                  <a:pt x="2398" y="944"/>
                </a:lnTo>
                <a:lnTo>
                  <a:pt x="2371" y="950"/>
                </a:lnTo>
                <a:lnTo>
                  <a:pt x="2341" y="969"/>
                </a:lnTo>
                <a:lnTo>
                  <a:pt x="2316" y="1001"/>
                </a:lnTo>
                <a:lnTo>
                  <a:pt x="2300" y="1026"/>
                </a:lnTo>
                <a:lnTo>
                  <a:pt x="2295" y="1062"/>
                </a:lnTo>
                <a:lnTo>
                  <a:pt x="2330" y="1072"/>
                </a:lnTo>
                <a:lnTo>
                  <a:pt x="2341" y="1103"/>
                </a:lnTo>
                <a:lnTo>
                  <a:pt x="2352" y="1124"/>
                </a:lnTo>
                <a:lnTo>
                  <a:pt x="2387" y="1119"/>
                </a:lnTo>
                <a:lnTo>
                  <a:pt x="2439" y="1133"/>
                </a:lnTo>
                <a:lnTo>
                  <a:pt x="2464" y="1149"/>
                </a:lnTo>
                <a:lnTo>
                  <a:pt x="2485" y="1165"/>
                </a:lnTo>
                <a:lnTo>
                  <a:pt x="2515" y="1176"/>
                </a:lnTo>
                <a:lnTo>
                  <a:pt x="2540" y="1190"/>
                </a:lnTo>
                <a:lnTo>
                  <a:pt x="2540" y="1190"/>
                </a:lnTo>
                <a:lnTo>
                  <a:pt x="2577" y="1192"/>
                </a:lnTo>
                <a:lnTo>
                  <a:pt x="2595" y="1192"/>
                </a:lnTo>
                <a:lnTo>
                  <a:pt x="2613" y="1195"/>
                </a:lnTo>
                <a:lnTo>
                  <a:pt x="2613" y="1220"/>
                </a:lnTo>
                <a:lnTo>
                  <a:pt x="2627" y="1252"/>
                </a:lnTo>
                <a:lnTo>
                  <a:pt x="2649" y="1288"/>
                </a:lnTo>
                <a:lnTo>
                  <a:pt x="2695" y="1318"/>
                </a:lnTo>
                <a:lnTo>
                  <a:pt x="2714" y="1304"/>
                </a:lnTo>
                <a:lnTo>
                  <a:pt x="2725" y="1266"/>
                </a:lnTo>
                <a:lnTo>
                  <a:pt x="2706" y="1216"/>
                </a:lnTo>
                <a:lnTo>
                  <a:pt x="2684" y="1195"/>
                </a:lnTo>
                <a:lnTo>
                  <a:pt x="2725" y="1176"/>
                </a:lnTo>
                <a:lnTo>
                  <a:pt x="2746" y="1154"/>
                </a:lnTo>
                <a:lnTo>
                  <a:pt x="2755" y="1133"/>
                </a:lnTo>
                <a:lnTo>
                  <a:pt x="2752" y="1113"/>
                </a:lnTo>
                <a:lnTo>
                  <a:pt x="2730" y="1088"/>
                </a:lnTo>
                <a:lnTo>
                  <a:pt x="2700" y="1067"/>
                </a:lnTo>
                <a:lnTo>
                  <a:pt x="2720" y="1037"/>
                </a:lnTo>
                <a:lnTo>
                  <a:pt x="2700" y="1010"/>
                </a:lnTo>
                <a:lnTo>
                  <a:pt x="2679" y="964"/>
                </a:lnTo>
                <a:lnTo>
                  <a:pt x="2695" y="955"/>
                </a:lnTo>
                <a:lnTo>
                  <a:pt x="2736" y="960"/>
                </a:lnTo>
                <a:lnTo>
                  <a:pt x="2755" y="960"/>
                </a:lnTo>
                <a:lnTo>
                  <a:pt x="2771" y="950"/>
                </a:lnTo>
                <a:lnTo>
                  <a:pt x="2793" y="960"/>
                </a:lnTo>
                <a:lnTo>
                  <a:pt x="2823" y="975"/>
                </a:lnTo>
                <a:lnTo>
                  <a:pt x="2834" y="985"/>
                </a:lnTo>
                <a:lnTo>
                  <a:pt x="2875" y="985"/>
                </a:lnTo>
                <a:lnTo>
                  <a:pt x="2883" y="1010"/>
                </a:lnTo>
                <a:lnTo>
                  <a:pt x="2905" y="1048"/>
                </a:lnTo>
                <a:lnTo>
                  <a:pt x="2924" y="1051"/>
                </a:lnTo>
                <a:lnTo>
                  <a:pt x="2946" y="1072"/>
                </a:lnTo>
                <a:lnTo>
                  <a:pt x="2971" y="1051"/>
                </a:lnTo>
                <a:lnTo>
                  <a:pt x="2981" y="1016"/>
                </a:lnTo>
                <a:lnTo>
                  <a:pt x="2992" y="996"/>
                </a:lnTo>
                <a:lnTo>
                  <a:pt x="2992" y="996"/>
                </a:lnTo>
                <a:lnTo>
                  <a:pt x="3047" y="1044"/>
                </a:lnTo>
                <a:lnTo>
                  <a:pt x="3074" y="1069"/>
                </a:lnTo>
                <a:lnTo>
                  <a:pt x="3104" y="1092"/>
                </a:lnTo>
                <a:lnTo>
                  <a:pt x="3104" y="1113"/>
                </a:lnTo>
                <a:lnTo>
                  <a:pt x="3140" y="1129"/>
                </a:lnTo>
                <a:lnTo>
                  <a:pt x="3166" y="1144"/>
                </a:lnTo>
                <a:lnTo>
                  <a:pt x="3202" y="1144"/>
                </a:lnTo>
                <a:lnTo>
                  <a:pt x="3223" y="1154"/>
                </a:lnTo>
                <a:lnTo>
                  <a:pt x="3243" y="1179"/>
                </a:lnTo>
                <a:lnTo>
                  <a:pt x="3264" y="1179"/>
                </a:lnTo>
                <a:lnTo>
                  <a:pt x="3278" y="1190"/>
                </a:lnTo>
                <a:lnTo>
                  <a:pt x="3300" y="1225"/>
                </a:lnTo>
                <a:lnTo>
                  <a:pt x="3300" y="1225"/>
                </a:lnTo>
                <a:lnTo>
                  <a:pt x="3289" y="1241"/>
                </a:lnTo>
                <a:lnTo>
                  <a:pt x="3278" y="1257"/>
                </a:lnTo>
                <a:lnTo>
                  <a:pt x="3248" y="1277"/>
                </a:lnTo>
                <a:lnTo>
                  <a:pt x="3227" y="1307"/>
                </a:lnTo>
                <a:lnTo>
                  <a:pt x="3191" y="1323"/>
                </a:lnTo>
                <a:lnTo>
                  <a:pt x="3136" y="1323"/>
                </a:lnTo>
                <a:lnTo>
                  <a:pt x="3099" y="1329"/>
                </a:lnTo>
                <a:lnTo>
                  <a:pt x="3074" y="1334"/>
                </a:lnTo>
                <a:lnTo>
                  <a:pt x="3058" y="1359"/>
                </a:lnTo>
                <a:lnTo>
                  <a:pt x="3033" y="1380"/>
                </a:lnTo>
                <a:lnTo>
                  <a:pt x="3008" y="1432"/>
                </a:lnTo>
                <a:lnTo>
                  <a:pt x="2987" y="1467"/>
                </a:lnTo>
                <a:lnTo>
                  <a:pt x="3008" y="1457"/>
                </a:lnTo>
                <a:lnTo>
                  <a:pt x="3038" y="1405"/>
                </a:lnTo>
                <a:lnTo>
                  <a:pt x="3084" y="1369"/>
                </a:lnTo>
                <a:lnTo>
                  <a:pt x="3120" y="1359"/>
                </a:lnTo>
                <a:lnTo>
                  <a:pt x="3145" y="1375"/>
                </a:lnTo>
                <a:lnTo>
                  <a:pt x="3125" y="1400"/>
                </a:lnTo>
                <a:lnTo>
                  <a:pt x="3145" y="1435"/>
                </a:lnTo>
                <a:lnTo>
                  <a:pt x="3166" y="1457"/>
                </a:lnTo>
                <a:lnTo>
                  <a:pt x="3207" y="1473"/>
                </a:lnTo>
                <a:lnTo>
                  <a:pt x="3248" y="1457"/>
                </a:lnTo>
                <a:lnTo>
                  <a:pt x="3264" y="1416"/>
                </a:lnTo>
                <a:lnTo>
                  <a:pt x="3273" y="1435"/>
                </a:lnTo>
                <a:lnTo>
                  <a:pt x="3294" y="1446"/>
                </a:lnTo>
                <a:lnTo>
                  <a:pt x="3273" y="1473"/>
                </a:lnTo>
                <a:lnTo>
                  <a:pt x="3223" y="1503"/>
                </a:lnTo>
                <a:lnTo>
                  <a:pt x="3202" y="1522"/>
                </a:lnTo>
                <a:lnTo>
                  <a:pt x="3181" y="1549"/>
                </a:lnTo>
                <a:lnTo>
                  <a:pt x="3161" y="1549"/>
                </a:lnTo>
                <a:lnTo>
                  <a:pt x="3150" y="1522"/>
                </a:lnTo>
                <a:lnTo>
                  <a:pt x="3191" y="1487"/>
                </a:lnTo>
                <a:lnTo>
                  <a:pt x="3131" y="1508"/>
                </a:lnTo>
                <a:lnTo>
                  <a:pt x="3104" y="1517"/>
                </a:lnTo>
                <a:lnTo>
                  <a:pt x="3115" y="1528"/>
                </a:lnTo>
                <a:lnTo>
                  <a:pt x="3090" y="1549"/>
                </a:lnTo>
                <a:lnTo>
                  <a:pt x="3038" y="1579"/>
                </a:lnTo>
                <a:lnTo>
                  <a:pt x="3022" y="1595"/>
                </a:lnTo>
                <a:lnTo>
                  <a:pt x="3017" y="1601"/>
                </a:lnTo>
                <a:lnTo>
                  <a:pt x="3022" y="1620"/>
                </a:lnTo>
                <a:lnTo>
                  <a:pt x="3038" y="1642"/>
                </a:lnTo>
                <a:lnTo>
                  <a:pt x="3052" y="1642"/>
                </a:lnTo>
                <a:lnTo>
                  <a:pt x="3049" y="1631"/>
                </a:lnTo>
                <a:lnTo>
                  <a:pt x="3058" y="1642"/>
                </a:lnTo>
                <a:lnTo>
                  <a:pt x="3038" y="1650"/>
                </a:lnTo>
                <a:lnTo>
                  <a:pt x="3022" y="1650"/>
                </a:lnTo>
                <a:lnTo>
                  <a:pt x="3003" y="1656"/>
                </a:lnTo>
                <a:lnTo>
                  <a:pt x="3003" y="1656"/>
                </a:lnTo>
                <a:lnTo>
                  <a:pt x="2994" y="1659"/>
                </a:lnTo>
                <a:lnTo>
                  <a:pt x="2987" y="1661"/>
                </a:lnTo>
                <a:lnTo>
                  <a:pt x="2971" y="1661"/>
                </a:lnTo>
                <a:lnTo>
                  <a:pt x="2951" y="1677"/>
                </a:lnTo>
                <a:lnTo>
                  <a:pt x="2997" y="1666"/>
                </a:lnTo>
                <a:lnTo>
                  <a:pt x="3008" y="1672"/>
                </a:lnTo>
                <a:lnTo>
                  <a:pt x="2967" y="1688"/>
                </a:lnTo>
                <a:lnTo>
                  <a:pt x="2946" y="1688"/>
                </a:lnTo>
                <a:lnTo>
                  <a:pt x="2946" y="1682"/>
                </a:lnTo>
                <a:lnTo>
                  <a:pt x="2935" y="1691"/>
                </a:lnTo>
                <a:lnTo>
                  <a:pt x="2946" y="1691"/>
                </a:lnTo>
                <a:lnTo>
                  <a:pt x="2940" y="1718"/>
                </a:lnTo>
                <a:lnTo>
                  <a:pt x="2921" y="1754"/>
                </a:lnTo>
                <a:lnTo>
                  <a:pt x="2910" y="1743"/>
                </a:lnTo>
                <a:lnTo>
                  <a:pt x="2899" y="1743"/>
                </a:lnTo>
                <a:lnTo>
                  <a:pt x="2883" y="1732"/>
                </a:lnTo>
                <a:lnTo>
                  <a:pt x="2894" y="1754"/>
                </a:lnTo>
                <a:lnTo>
                  <a:pt x="2905" y="1759"/>
                </a:lnTo>
                <a:lnTo>
                  <a:pt x="2910" y="1773"/>
                </a:lnTo>
                <a:lnTo>
                  <a:pt x="2905" y="1789"/>
                </a:lnTo>
                <a:lnTo>
                  <a:pt x="2889" y="1819"/>
                </a:lnTo>
                <a:lnTo>
                  <a:pt x="2883" y="1819"/>
                </a:lnTo>
                <a:lnTo>
                  <a:pt x="2894" y="1794"/>
                </a:lnTo>
                <a:lnTo>
                  <a:pt x="2875" y="1778"/>
                </a:lnTo>
                <a:lnTo>
                  <a:pt x="2869" y="1743"/>
                </a:lnTo>
                <a:lnTo>
                  <a:pt x="2864" y="1764"/>
                </a:lnTo>
                <a:lnTo>
                  <a:pt x="2875" y="1784"/>
                </a:lnTo>
                <a:lnTo>
                  <a:pt x="2853" y="1778"/>
                </a:lnTo>
                <a:lnTo>
                  <a:pt x="2875" y="1789"/>
                </a:lnTo>
                <a:lnTo>
                  <a:pt x="2880" y="1825"/>
                </a:lnTo>
                <a:lnTo>
                  <a:pt x="2889" y="1825"/>
                </a:lnTo>
                <a:lnTo>
                  <a:pt x="2894" y="1841"/>
                </a:lnTo>
                <a:lnTo>
                  <a:pt x="2905" y="1876"/>
                </a:lnTo>
                <a:lnTo>
                  <a:pt x="2883" y="1901"/>
                </a:lnTo>
                <a:lnTo>
                  <a:pt x="2853" y="1917"/>
                </a:lnTo>
                <a:lnTo>
                  <a:pt x="2834" y="1939"/>
                </a:lnTo>
                <a:lnTo>
                  <a:pt x="2812" y="1947"/>
                </a:lnTo>
                <a:lnTo>
                  <a:pt x="2793" y="1963"/>
                </a:lnTo>
                <a:lnTo>
                  <a:pt x="2787" y="1979"/>
                </a:lnTo>
                <a:lnTo>
                  <a:pt x="2752" y="2004"/>
                </a:lnTo>
                <a:lnTo>
                  <a:pt x="2730" y="2026"/>
                </a:lnTo>
                <a:lnTo>
                  <a:pt x="2714" y="2045"/>
                </a:lnTo>
                <a:lnTo>
                  <a:pt x="2714" y="2072"/>
                </a:lnTo>
                <a:lnTo>
                  <a:pt x="2725" y="2097"/>
                </a:lnTo>
                <a:lnTo>
                  <a:pt x="2741" y="2127"/>
                </a:lnTo>
                <a:lnTo>
                  <a:pt x="2761" y="2154"/>
                </a:lnTo>
                <a:lnTo>
                  <a:pt x="2761" y="2173"/>
                </a:lnTo>
                <a:lnTo>
                  <a:pt x="2782" y="2220"/>
                </a:lnTo>
                <a:lnTo>
                  <a:pt x="2782" y="2260"/>
                </a:lnTo>
                <a:lnTo>
                  <a:pt x="2766" y="2285"/>
                </a:lnTo>
                <a:lnTo>
                  <a:pt x="2755" y="2291"/>
                </a:lnTo>
                <a:lnTo>
                  <a:pt x="2736" y="2285"/>
                </a:lnTo>
                <a:lnTo>
                  <a:pt x="2730" y="2266"/>
                </a:lnTo>
                <a:lnTo>
                  <a:pt x="2714" y="2255"/>
                </a:lnTo>
                <a:lnTo>
                  <a:pt x="2714" y="2255"/>
                </a:lnTo>
                <a:lnTo>
                  <a:pt x="2704" y="2241"/>
                </a:lnTo>
                <a:lnTo>
                  <a:pt x="2695" y="2225"/>
                </a:lnTo>
                <a:lnTo>
                  <a:pt x="2679" y="2195"/>
                </a:lnTo>
                <a:lnTo>
                  <a:pt x="2674" y="2179"/>
                </a:lnTo>
                <a:lnTo>
                  <a:pt x="2684" y="2154"/>
                </a:lnTo>
                <a:lnTo>
                  <a:pt x="2674" y="2132"/>
                </a:lnTo>
                <a:lnTo>
                  <a:pt x="2649" y="2102"/>
                </a:lnTo>
                <a:lnTo>
                  <a:pt x="2638" y="2102"/>
                </a:lnTo>
                <a:lnTo>
                  <a:pt x="2583" y="2113"/>
                </a:lnTo>
                <a:lnTo>
                  <a:pt x="2577" y="2113"/>
                </a:lnTo>
                <a:lnTo>
                  <a:pt x="2561" y="2097"/>
                </a:lnTo>
                <a:lnTo>
                  <a:pt x="2540" y="2086"/>
                </a:lnTo>
                <a:lnTo>
                  <a:pt x="2496" y="2091"/>
                </a:lnTo>
                <a:lnTo>
                  <a:pt x="2458" y="2086"/>
                </a:lnTo>
                <a:lnTo>
                  <a:pt x="2433" y="2086"/>
                </a:lnTo>
                <a:lnTo>
                  <a:pt x="2412" y="2091"/>
                </a:lnTo>
                <a:lnTo>
                  <a:pt x="2423" y="2102"/>
                </a:lnTo>
                <a:lnTo>
                  <a:pt x="2423" y="2116"/>
                </a:lnTo>
                <a:lnTo>
                  <a:pt x="2433" y="2127"/>
                </a:lnTo>
                <a:lnTo>
                  <a:pt x="2423" y="2132"/>
                </a:lnTo>
                <a:lnTo>
                  <a:pt x="2409" y="2122"/>
                </a:lnTo>
                <a:lnTo>
                  <a:pt x="2392" y="2127"/>
                </a:lnTo>
                <a:lnTo>
                  <a:pt x="2368" y="2127"/>
                </a:lnTo>
                <a:lnTo>
                  <a:pt x="2336" y="2102"/>
                </a:lnTo>
                <a:lnTo>
                  <a:pt x="2305" y="2107"/>
                </a:lnTo>
                <a:lnTo>
                  <a:pt x="2280" y="2102"/>
                </a:lnTo>
                <a:lnTo>
                  <a:pt x="2254" y="2102"/>
                </a:lnTo>
                <a:lnTo>
                  <a:pt x="2224" y="2113"/>
                </a:lnTo>
                <a:lnTo>
                  <a:pt x="2188" y="2138"/>
                </a:lnTo>
                <a:lnTo>
                  <a:pt x="2152" y="2154"/>
                </a:lnTo>
                <a:lnTo>
                  <a:pt x="2126" y="2168"/>
                </a:lnTo>
                <a:lnTo>
                  <a:pt x="2115" y="2189"/>
                </a:lnTo>
                <a:lnTo>
                  <a:pt x="2111" y="2214"/>
                </a:lnTo>
                <a:lnTo>
                  <a:pt x="2111" y="2236"/>
                </a:lnTo>
                <a:lnTo>
                  <a:pt x="2115" y="2250"/>
                </a:lnTo>
                <a:lnTo>
                  <a:pt x="2095" y="2282"/>
                </a:lnTo>
                <a:lnTo>
                  <a:pt x="2085" y="2307"/>
                </a:lnTo>
                <a:lnTo>
                  <a:pt x="2085" y="2358"/>
                </a:lnTo>
                <a:lnTo>
                  <a:pt x="2074" y="2378"/>
                </a:lnTo>
                <a:lnTo>
                  <a:pt x="2079" y="2399"/>
                </a:lnTo>
                <a:lnTo>
                  <a:pt x="2090" y="2419"/>
                </a:lnTo>
                <a:lnTo>
                  <a:pt x="2095" y="2451"/>
                </a:lnTo>
                <a:lnTo>
                  <a:pt x="2115" y="2481"/>
                </a:lnTo>
                <a:lnTo>
                  <a:pt x="2126" y="2501"/>
                </a:lnTo>
                <a:lnTo>
                  <a:pt x="2142" y="2522"/>
                </a:lnTo>
                <a:lnTo>
                  <a:pt x="2183" y="2538"/>
                </a:lnTo>
                <a:lnTo>
                  <a:pt x="2199" y="2557"/>
                </a:lnTo>
                <a:lnTo>
                  <a:pt x="2234" y="2547"/>
                </a:lnTo>
                <a:lnTo>
                  <a:pt x="2264" y="2541"/>
                </a:lnTo>
                <a:lnTo>
                  <a:pt x="2264" y="2541"/>
                </a:lnTo>
                <a:lnTo>
                  <a:pt x="2293" y="2536"/>
                </a:lnTo>
                <a:lnTo>
                  <a:pt x="2305" y="2533"/>
                </a:lnTo>
                <a:lnTo>
                  <a:pt x="2321" y="2533"/>
                </a:lnTo>
                <a:lnTo>
                  <a:pt x="2346" y="2517"/>
                </a:lnTo>
                <a:lnTo>
                  <a:pt x="2357" y="2497"/>
                </a:lnTo>
                <a:lnTo>
                  <a:pt x="2362" y="2465"/>
                </a:lnTo>
                <a:lnTo>
                  <a:pt x="2371" y="2456"/>
                </a:lnTo>
                <a:lnTo>
                  <a:pt x="2398" y="2445"/>
                </a:lnTo>
                <a:lnTo>
                  <a:pt x="2439" y="2435"/>
                </a:lnTo>
                <a:lnTo>
                  <a:pt x="2474" y="2435"/>
                </a:lnTo>
                <a:lnTo>
                  <a:pt x="2496" y="2429"/>
                </a:lnTo>
                <a:lnTo>
                  <a:pt x="2505" y="2440"/>
                </a:lnTo>
                <a:lnTo>
                  <a:pt x="2505" y="2460"/>
                </a:lnTo>
                <a:lnTo>
                  <a:pt x="2485" y="2481"/>
                </a:lnTo>
                <a:lnTo>
                  <a:pt x="2474" y="2501"/>
                </a:lnTo>
                <a:lnTo>
                  <a:pt x="2485" y="2506"/>
                </a:lnTo>
                <a:lnTo>
                  <a:pt x="2485" y="2506"/>
                </a:lnTo>
                <a:lnTo>
                  <a:pt x="2480" y="2518"/>
                </a:lnTo>
                <a:lnTo>
                  <a:pt x="2474" y="2529"/>
                </a:lnTo>
                <a:lnTo>
                  <a:pt x="2469" y="2541"/>
                </a:lnTo>
                <a:lnTo>
                  <a:pt x="2464" y="2552"/>
                </a:lnTo>
                <a:lnTo>
                  <a:pt x="2458" y="2538"/>
                </a:lnTo>
                <a:lnTo>
                  <a:pt x="2449" y="2538"/>
                </a:lnTo>
                <a:lnTo>
                  <a:pt x="2449" y="2541"/>
                </a:lnTo>
                <a:lnTo>
                  <a:pt x="2458" y="2541"/>
                </a:lnTo>
                <a:lnTo>
                  <a:pt x="2458" y="2552"/>
                </a:lnTo>
                <a:lnTo>
                  <a:pt x="2449" y="2573"/>
                </a:lnTo>
                <a:lnTo>
                  <a:pt x="2455" y="2579"/>
                </a:lnTo>
                <a:lnTo>
                  <a:pt x="2449" y="2593"/>
                </a:lnTo>
                <a:lnTo>
                  <a:pt x="2455" y="2598"/>
                </a:lnTo>
                <a:lnTo>
                  <a:pt x="2449" y="2620"/>
                </a:lnTo>
                <a:lnTo>
                  <a:pt x="2439" y="2629"/>
                </a:lnTo>
                <a:lnTo>
                  <a:pt x="2428" y="2629"/>
                </a:lnTo>
                <a:lnTo>
                  <a:pt x="2417" y="2645"/>
                </a:lnTo>
                <a:lnTo>
                  <a:pt x="2433" y="2655"/>
                </a:lnTo>
                <a:lnTo>
                  <a:pt x="2439" y="2650"/>
                </a:lnTo>
                <a:lnTo>
                  <a:pt x="2439" y="2650"/>
                </a:lnTo>
                <a:lnTo>
                  <a:pt x="2442" y="2653"/>
                </a:lnTo>
                <a:lnTo>
                  <a:pt x="2446" y="2653"/>
                </a:lnTo>
                <a:lnTo>
                  <a:pt x="2455" y="2655"/>
                </a:lnTo>
                <a:lnTo>
                  <a:pt x="2464" y="2650"/>
                </a:lnTo>
                <a:lnTo>
                  <a:pt x="2480" y="2650"/>
                </a:lnTo>
                <a:lnTo>
                  <a:pt x="2485" y="2655"/>
                </a:lnTo>
                <a:lnTo>
                  <a:pt x="2490" y="2655"/>
                </a:lnTo>
                <a:lnTo>
                  <a:pt x="2510" y="2661"/>
                </a:lnTo>
                <a:lnTo>
                  <a:pt x="2531" y="2661"/>
                </a:lnTo>
                <a:lnTo>
                  <a:pt x="2545" y="2655"/>
                </a:lnTo>
                <a:lnTo>
                  <a:pt x="2551" y="2650"/>
                </a:lnTo>
                <a:lnTo>
                  <a:pt x="2561" y="2650"/>
                </a:lnTo>
                <a:lnTo>
                  <a:pt x="2572" y="2655"/>
                </a:lnTo>
                <a:lnTo>
                  <a:pt x="2583" y="2655"/>
                </a:lnTo>
                <a:lnTo>
                  <a:pt x="2592" y="2650"/>
                </a:lnTo>
                <a:lnTo>
                  <a:pt x="2613" y="2655"/>
                </a:lnTo>
                <a:lnTo>
                  <a:pt x="2618" y="2655"/>
                </a:lnTo>
                <a:lnTo>
                  <a:pt x="2633" y="2666"/>
                </a:lnTo>
                <a:lnTo>
                  <a:pt x="2643" y="2675"/>
                </a:lnTo>
                <a:lnTo>
                  <a:pt x="2659" y="2680"/>
                </a:lnTo>
                <a:lnTo>
                  <a:pt x="2668" y="2691"/>
                </a:lnTo>
                <a:lnTo>
                  <a:pt x="2665" y="2696"/>
                </a:lnTo>
                <a:lnTo>
                  <a:pt x="2665" y="2707"/>
                </a:lnTo>
                <a:lnTo>
                  <a:pt x="2668" y="2721"/>
                </a:lnTo>
                <a:lnTo>
                  <a:pt x="2649" y="2716"/>
                </a:lnTo>
                <a:lnTo>
                  <a:pt x="2643" y="2732"/>
                </a:lnTo>
                <a:lnTo>
                  <a:pt x="2643" y="2783"/>
                </a:lnTo>
                <a:lnTo>
                  <a:pt x="2638" y="2789"/>
                </a:lnTo>
                <a:lnTo>
                  <a:pt x="2633" y="2808"/>
                </a:lnTo>
                <a:lnTo>
                  <a:pt x="2638" y="2819"/>
                </a:lnTo>
                <a:lnTo>
                  <a:pt x="2627" y="2819"/>
                </a:lnTo>
                <a:lnTo>
                  <a:pt x="2627" y="2830"/>
                </a:lnTo>
                <a:lnTo>
                  <a:pt x="2633" y="2835"/>
                </a:lnTo>
                <a:lnTo>
                  <a:pt x="2643" y="2854"/>
                </a:lnTo>
                <a:lnTo>
                  <a:pt x="2643" y="2854"/>
                </a:lnTo>
                <a:lnTo>
                  <a:pt x="2666" y="2876"/>
                </a:lnTo>
                <a:lnTo>
                  <a:pt x="2679" y="2886"/>
                </a:lnTo>
                <a:lnTo>
                  <a:pt x="2690" y="2901"/>
                </a:lnTo>
                <a:lnTo>
                  <a:pt x="2690" y="2911"/>
                </a:lnTo>
                <a:lnTo>
                  <a:pt x="2706" y="2911"/>
                </a:lnTo>
                <a:lnTo>
                  <a:pt x="2711" y="2906"/>
                </a:lnTo>
                <a:lnTo>
                  <a:pt x="2720" y="2917"/>
                </a:lnTo>
                <a:lnTo>
                  <a:pt x="2741" y="2911"/>
                </a:lnTo>
                <a:lnTo>
                  <a:pt x="2761" y="2901"/>
                </a:lnTo>
                <a:lnTo>
                  <a:pt x="2782" y="2890"/>
                </a:lnTo>
                <a:lnTo>
                  <a:pt x="2796" y="2876"/>
                </a:lnTo>
                <a:lnTo>
                  <a:pt x="2818" y="2876"/>
                </a:lnTo>
                <a:lnTo>
                  <a:pt x="2818" y="2881"/>
                </a:lnTo>
                <a:lnTo>
                  <a:pt x="2839" y="2881"/>
                </a:lnTo>
                <a:lnTo>
                  <a:pt x="2859" y="2885"/>
                </a:lnTo>
                <a:lnTo>
                  <a:pt x="2875" y="2895"/>
                </a:lnTo>
                <a:lnTo>
                  <a:pt x="2889" y="2906"/>
                </a:lnTo>
                <a:lnTo>
                  <a:pt x="2910" y="2906"/>
                </a:lnTo>
                <a:lnTo>
                  <a:pt x="2935" y="2881"/>
                </a:lnTo>
                <a:lnTo>
                  <a:pt x="2956" y="2876"/>
                </a:lnTo>
                <a:lnTo>
                  <a:pt x="2956" y="2860"/>
                </a:lnTo>
                <a:lnTo>
                  <a:pt x="2967" y="2830"/>
                </a:lnTo>
                <a:lnTo>
                  <a:pt x="2987" y="2808"/>
                </a:lnTo>
                <a:lnTo>
                  <a:pt x="3008" y="2803"/>
                </a:lnTo>
                <a:lnTo>
                  <a:pt x="3012" y="2794"/>
                </a:lnTo>
                <a:lnTo>
                  <a:pt x="3038" y="2794"/>
                </a:lnTo>
                <a:lnTo>
                  <a:pt x="3038" y="2794"/>
                </a:lnTo>
                <a:lnTo>
                  <a:pt x="3060" y="2778"/>
                </a:lnTo>
                <a:lnTo>
                  <a:pt x="3070" y="2771"/>
                </a:lnTo>
                <a:lnTo>
                  <a:pt x="3084" y="2762"/>
                </a:lnTo>
                <a:lnTo>
                  <a:pt x="3104" y="2742"/>
                </a:lnTo>
                <a:lnTo>
                  <a:pt x="3120" y="2742"/>
                </a:lnTo>
                <a:lnTo>
                  <a:pt x="3131" y="2753"/>
                </a:lnTo>
                <a:lnTo>
                  <a:pt x="3115" y="2767"/>
                </a:lnTo>
                <a:lnTo>
                  <a:pt x="3115" y="2778"/>
                </a:lnTo>
                <a:lnTo>
                  <a:pt x="3095" y="2783"/>
                </a:lnTo>
                <a:lnTo>
                  <a:pt x="3109" y="2803"/>
                </a:lnTo>
                <a:lnTo>
                  <a:pt x="3109" y="2819"/>
                </a:lnTo>
                <a:lnTo>
                  <a:pt x="3095" y="2849"/>
                </a:lnTo>
                <a:lnTo>
                  <a:pt x="3109" y="2876"/>
                </a:lnTo>
                <a:lnTo>
                  <a:pt x="3131" y="2870"/>
                </a:lnTo>
                <a:lnTo>
                  <a:pt x="3140" y="2844"/>
                </a:lnTo>
                <a:lnTo>
                  <a:pt x="3131" y="2830"/>
                </a:lnTo>
                <a:lnTo>
                  <a:pt x="3131" y="2803"/>
                </a:lnTo>
                <a:lnTo>
                  <a:pt x="3177" y="2783"/>
                </a:lnTo>
                <a:lnTo>
                  <a:pt x="3161" y="2767"/>
                </a:lnTo>
                <a:lnTo>
                  <a:pt x="3177" y="2753"/>
                </a:lnTo>
                <a:lnTo>
                  <a:pt x="3191" y="2778"/>
                </a:lnTo>
                <a:lnTo>
                  <a:pt x="3218" y="2778"/>
                </a:lnTo>
                <a:lnTo>
                  <a:pt x="3237" y="2798"/>
                </a:lnTo>
                <a:lnTo>
                  <a:pt x="3237" y="2814"/>
                </a:lnTo>
                <a:lnTo>
                  <a:pt x="3268" y="2808"/>
                </a:lnTo>
                <a:lnTo>
                  <a:pt x="3305" y="2798"/>
                </a:lnTo>
                <a:lnTo>
                  <a:pt x="3325" y="2814"/>
                </a:lnTo>
                <a:lnTo>
                  <a:pt x="3351" y="2814"/>
                </a:lnTo>
                <a:lnTo>
                  <a:pt x="3371" y="2798"/>
                </a:lnTo>
                <a:lnTo>
                  <a:pt x="3371" y="2789"/>
                </a:lnTo>
                <a:lnTo>
                  <a:pt x="3371" y="2789"/>
                </a:lnTo>
                <a:lnTo>
                  <a:pt x="3453" y="2773"/>
                </a:lnTo>
                <a:lnTo>
                  <a:pt x="3433" y="2794"/>
                </a:lnTo>
                <a:lnTo>
                  <a:pt x="3447" y="2814"/>
                </a:lnTo>
                <a:lnTo>
                  <a:pt x="3474" y="2814"/>
                </a:lnTo>
                <a:lnTo>
                  <a:pt x="3499" y="2830"/>
                </a:lnTo>
                <a:lnTo>
                  <a:pt x="3504" y="2854"/>
                </a:lnTo>
                <a:lnTo>
                  <a:pt x="3524" y="2849"/>
                </a:lnTo>
                <a:lnTo>
                  <a:pt x="3524" y="2849"/>
                </a:lnTo>
                <a:lnTo>
                  <a:pt x="3540" y="2858"/>
                </a:lnTo>
                <a:lnTo>
                  <a:pt x="3561" y="2870"/>
                </a:lnTo>
                <a:lnTo>
                  <a:pt x="3581" y="2890"/>
                </a:lnTo>
                <a:lnTo>
                  <a:pt x="3581" y="2911"/>
                </a:lnTo>
                <a:lnTo>
                  <a:pt x="3597" y="2911"/>
                </a:lnTo>
                <a:lnTo>
                  <a:pt x="3622" y="2936"/>
                </a:lnTo>
                <a:lnTo>
                  <a:pt x="3657" y="2936"/>
                </a:lnTo>
                <a:lnTo>
                  <a:pt x="3663" y="2926"/>
                </a:lnTo>
                <a:lnTo>
                  <a:pt x="3689" y="2917"/>
                </a:lnTo>
                <a:lnTo>
                  <a:pt x="3719" y="2922"/>
                </a:lnTo>
                <a:lnTo>
                  <a:pt x="3719" y="2922"/>
                </a:lnTo>
                <a:lnTo>
                  <a:pt x="3727" y="2922"/>
                </a:lnTo>
                <a:lnTo>
                  <a:pt x="3735" y="2924"/>
                </a:lnTo>
                <a:lnTo>
                  <a:pt x="3743" y="2926"/>
                </a:lnTo>
                <a:lnTo>
                  <a:pt x="3750" y="2926"/>
                </a:lnTo>
                <a:lnTo>
                  <a:pt x="3780" y="2947"/>
                </a:lnTo>
                <a:lnTo>
                  <a:pt x="3785" y="2963"/>
                </a:lnTo>
                <a:lnTo>
                  <a:pt x="3796" y="2958"/>
                </a:lnTo>
                <a:lnTo>
                  <a:pt x="3801" y="2977"/>
                </a:lnTo>
                <a:lnTo>
                  <a:pt x="3817" y="3039"/>
                </a:lnTo>
                <a:lnTo>
                  <a:pt x="3832" y="3039"/>
                </a:lnTo>
                <a:lnTo>
                  <a:pt x="3832" y="3064"/>
                </a:lnTo>
                <a:lnTo>
                  <a:pt x="3812" y="3100"/>
                </a:lnTo>
                <a:lnTo>
                  <a:pt x="3821" y="3111"/>
                </a:lnTo>
                <a:lnTo>
                  <a:pt x="3872" y="3100"/>
                </a:lnTo>
                <a:lnTo>
                  <a:pt x="3864" y="3137"/>
                </a:lnTo>
                <a:lnTo>
                  <a:pt x="3883" y="3105"/>
                </a:lnTo>
                <a:lnTo>
                  <a:pt x="3913" y="3111"/>
                </a:lnTo>
                <a:lnTo>
                  <a:pt x="3954" y="3121"/>
                </a:lnTo>
                <a:lnTo>
                  <a:pt x="3965" y="3141"/>
                </a:lnTo>
                <a:lnTo>
                  <a:pt x="3965" y="3162"/>
                </a:lnTo>
                <a:lnTo>
                  <a:pt x="3995" y="3141"/>
                </a:lnTo>
                <a:lnTo>
                  <a:pt x="4041" y="3141"/>
                </a:lnTo>
                <a:lnTo>
                  <a:pt x="4077" y="3127"/>
                </a:lnTo>
                <a:lnTo>
                  <a:pt x="4109" y="3141"/>
                </a:lnTo>
                <a:lnTo>
                  <a:pt x="4129" y="3167"/>
                </a:lnTo>
                <a:lnTo>
                  <a:pt x="4145" y="3173"/>
                </a:lnTo>
                <a:lnTo>
                  <a:pt x="4164" y="3162"/>
                </a:lnTo>
                <a:lnTo>
                  <a:pt x="4170" y="3173"/>
                </a:lnTo>
                <a:lnTo>
                  <a:pt x="4170" y="3203"/>
                </a:lnTo>
                <a:lnTo>
                  <a:pt x="4175" y="3203"/>
                </a:lnTo>
                <a:lnTo>
                  <a:pt x="4175" y="3224"/>
                </a:lnTo>
                <a:lnTo>
                  <a:pt x="4175" y="3224"/>
                </a:lnTo>
                <a:close/>
                <a:moveTo>
                  <a:pt x="3074" y="2533"/>
                </a:moveTo>
                <a:lnTo>
                  <a:pt x="3052" y="2538"/>
                </a:lnTo>
                <a:lnTo>
                  <a:pt x="3033" y="2538"/>
                </a:lnTo>
                <a:lnTo>
                  <a:pt x="3012" y="2547"/>
                </a:lnTo>
                <a:lnTo>
                  <a:pt x="2992" y="2533"/>
                </a:lnTo>
                <a:lnTo>
                  <a:pt x="2992" y="2517"/>
                </a:lnTo>
                <a:lnTo>
                  <a:pt x="2997" y="2517"/>
                </a:lnTo>
                <a:lnTo>
                  <a:pt x="2997" y="2517"/>
                </a:lnTo>
                <a:lnTo>
                  <a:pt x="3012" y="2518"/>
                </a:lnTo>
                <a:lnTo>
                  <a:pt x="3028" y="2520"/>
                </a:lnTo>
                <a:lnTo>
                  <a:pt x="3045" y="2522"/>
                </a:lnTo>
                <a:lnTo>
                  <a:pt x="3063" y="2522"/>
                </a:lnTo>
                <a:lnTo>
                  <a:pt x="3079" y="2511"/>
                </a:lnTo>
                <a:lnTo>
                  <a:pt x="3058" y="2497"/>
                </a:lnTo>
                <a:lnTo>
                  <a:pt x="3058" y="2481"/>
                </a:lnTo>
                <a:lnTo>
                  <a:pt x="3038" y="2476"/>
                </a:lnTo>
                <a:lnTo>
                  <a:pt x="3049" y="2465"/>
                </a:lnTo>
                <a:lnTo>
                  <a:pt x="3068" y="2465"/>
                </a:lnTo>
                <a:lnTo>
                  <a:pt x="3099" y="2470"/>
                </a:lnTo>
                <a:lnTo>
                  <a:pt x="3104" y="2465"/>
                </a:lnTo>
                <a:lnTo>
                  <a:pt x="3131" y="2460"/>
                </a:lnTo>
                <a:lnTo>
                  <a:pt x="3150" y="2470"/>
                </a:lnTo>
                <a:lnTo>
                  <a:pt x="3161" y="2470"/>
                </a:lnTo>
                <a:lnTo>
                  <a:pt x="3172" y="2486"/>
                </a:lnTo>
                <a:lnTo>
                  <a:pt x="3191" y="2481"/>
                </a:lnTo>
                <a:lnTo>
                  <a:pt x="3191" y="2497"/>
                </a:lnTo>
                <a:lnTo>
                  <a:pt x="3207" y="2497"/>
                </a:lnTo>
                <a:lnTo>
                  <a:pt x="3227" y="2511"/>
                </a:lnTo>
                <a:lnTo>
                  <a:pt x="3213" y="2533"/>
                </a:lnTo>
                <a:lnTo>
                  <a:pt x="3191" y="2527"/>
                </a:lnTo>
                <a:lnTo>
                  <a:pt x="3172" y="2533"/>
                </a:lnTo>
                <a:lnTo>
                  <a:pt x="3156" y="2533"/>
                </a:lnTo>
                <a:lnTo>
                  <a:pt x="3150" y="2541"/>
                </a:lnTo>
                <a:lnTo>
                  <a:pt x="3136" y="2547"/>
                </a:lnTo>
                <a:lnTo>
                  <a:pt x="3131" y="2522"/>
                </a:lnTo>
                <a:lnTo>
                  <a:pt x="3115" y="2527"/>
                </a:lnTo>
                <a:lnTo>
                  <a:pt x="3099" y="2552"/>
                </a:lnTo>
                <a:lnTo>
                  <a:pt x="3090" y="2547"/>
                </a:lnTo>
                <a:lnTo>
                  <a:pt x="3090" y="2538"/>
                </a:lnTo>
                <a:lnTo>
                  <a:pt x="3074" y="2533"/>
                </a:lnTo>
                <a:close/>
                <a:moveTo>
                  <a:pt x="2880" y="2451"/>
                </a:moveTo>
                <a:lnTo>
                  <a:pt x="2859" y="2451"/>
                </a:lnTo>
                <a:lnTo>
                  <a:pt x="2843" y="2440"/>
                </a:lnTo>
                <a:lnTo>
                  <a:pt x="2834" y="2419"/>
                </a:lnTo>
                <a:lnTo>
                  <a:pt x="2812" y="2419"/>
                </a:lnTo>
                <a:lnTo>
                  <a:pt x="2771" y="2410"/>
                </a:lnTo>
                <a:lnTo>
                  <a:pt x="2755" y="2399"/>
                </a:lnTo>
                <a:lnTo>
                  <a:pt x="2711" y="2399"/>
                </a:lnTo>
                <a:lnTo>
                  <a:pt x="2695" y="2388"/>
                </a:lnTo>
                <a:lnTo>
                  <a:pt x="2711" y="2378"/>
                </a:lnTo>
                <a:lnTo>
                  <a:pt x="2674" y="2378"/>
                </a:lnTo>
                <a:lnTo>
                  <a:pt x="2649" y="2399"/>
                </a:lnTo>
                <a:lnTo>
                  <a:pt x="2627" y="2399"/>
                </a:lnTo>
                <a:lnTo>
                  <a:pt x="2624" y="2410"/>
                </a:lnTo>
                <a:lnTo>
                  <a:pt x="2602" y="2413"/>
                </a:lnTo>
                <a:lnTo>
                  <a:pt x="2586" y="2410"/>
                </a:lnTo>
                <a:lnTo>
                  <a:pt x="2608" y="2394"/>
                </a:lnTo>
                <a:lnTo>
                  <a:pt x="2618" y="2378"/>
                </a:lnTo>
                <a:lnTo>
                  <a:pt x="2659" y="2358"/>
                </a:lnTo>
                <a:lnTo>
                  <a:pt x="2684" y="2353"/>
                </a:lnTo>
                <a:lnTo>
                  <a:pt x="2695" y="2348"/>
                </a:lnTo>
                <a:lnTo>
                  <a:pt x="2761" y="2348"/>
                </a:lnTo>
                <a:lnTo>
                  <a:pt x="2796" y="2364"/>
                </a:lnTo>
                <a:lnTo>
                  <a:pt x="2812" y="2378"/>
                </a:lnTo>
                <a:lnTo>
                  <a:pt x="2848" y="2372"/>
                </a:lnTo>
                <a:lnTo>
                  <a:pt x="2848" y="2372"/>
                </a:lnTo>
                <a:lnTo>
                  <a:pt x="2882" y="2396"/>
                </a:lnTo>
                <a:lnTo>
                  <a:pt x="2915" y="2419"/>
                </a:lnTo>
                <a:lnTo>
                  <a:pt x="2930" y="2419"/>
                </a:lnTo>
                <a:lnTo>
                  <a:pt x="2951" y="2424"/>
                </a:lnTo>
                <a:lnTo>
                  <a:pt x="2951" y="2435"/>
                </a:lnTo>
                <a:lnTo>
                  <a:pt x="2976" y="2435"/>
                </a:lnTo>
                <a:lnTo>
                  <a:pt x="3003" y="2451"/>
                </a:lnTo>
                <a:lnTo>
                  <a:pt x="2997" y="2460"/>
                </a:lnTo>
                <a:lnTo>
                  <a:pt x="2976" y="2465"/>
                </a:lnTo>
                <a:lnTo>
                  <a:pt x="2956" y="2481"/>
                </a:lnTo>
                <a:lnTo>
                  <a:pt x="2869" y="2481"/>
                </a:lnTo>
                <a:lnTo>
                  <a:pt x="2889" y="2460"/>
                </a:lnTo>
                <a:lnTo>
                  <a:pt x="2880" y="2451"/>
                </a:lnTo>
                <a:close/>
                <a:moveTo>
                  <a:pt x="1224" y="735"/>
                </a:moveTo>
                <a:lnTo>
                  <a:pt x="1224" y="735"/>
                </a:lnTo>
                <a:lnTo>
                  <a:pt x="1224" y="735"/>
                </a:lnTo>
                <a:lnTo>
                  <a:pt x="1224" y="735"/>
                </a:lnTo>
                <a:close/>
                <a:moveTo>
                  <a:pt x="2746" y="4505"/>
                </a:moveTo>
                <a:lnTo>
                  <a:pt x="2725" y="4508"/>
                </a:lnTo>
                <a:lnTo>
                  <a:pt x="2711" y="4519"/>
                </a:lnTo>
                <a:lnTo>
                  <a:pt x="2690" y="4524"/>
                </a:lnTo>
                <a:lnTo>
                  <a:pt x="2668" y="4524"/>
                </a:lnTo>
                <a:lnTo>
                  <a:pt x="2649" y="4519"/>
                </a:lnTo>
                <a:lnTo>
                  <a:pt x="2627" y="4519"/>
                </a:lnTo>
                <a:lnTo>
                  <a:pt x="2643" y="4530"/>
                </a:lnTo>
                <a:lnTo>
                  <a:pt x="2665" y="4535"/>
                </a:lnTo>
                <a:lnTo>
                  <a:pt x="2695" y="4535"/>
                </a:lnTo>
                <a:lnTo>
                  <a:pt x="2711" y="4524"/>
                </a:lnTo>
                <a:lnTo>
                  <a:pt x="2711" y="4524"/>
                </a:lnTo>
                <a:lnTo>
                  <a:pt x="2746" y="4514"/>
                </a:lnTo>
                <a:lnTo>
                  <a:pt x="2746" y="4514"/>
                </a:lnTo>
                <a:lnTo>
                  <a:pt x="2750" y="4512"/>
                </a:lnTo>
                <a:lnTo>
                  <a:pt x="2754" y="4510"/>
                </a:lnTo>
                <a:lnTo>
                  <a:pt x="2761" y="4508"/>
                </a:lnTo>
                <a:lnTo>
                  <a:pt x="2761" y="4505"/>
                </a:lnTo>
                <a:lnTo>
                  <a:pt x="2746" y="4505"/>
                </a:lnTo>
                <a:close/>
                <a:moveTo>
                  <a:pt x="4001" y="811"/>
                </a:moveTo>
                <a:lnTo>
                  <a:pt x="4001" y="811"/>
                </a:lnTo>
                <a:lnTo>
                  <a:pt x="4001" y="800"/>
                </a:lnTo>
                <a:lnTo>
                  <a:pt x="3986" y="781"/>
                </a:lnTo>
                <a:lnTo>
                  <a:pt x="3981" y="775"/>
                </a:lnTo>
                <a:lnTo>
                  <a:pt x="3986" y="786"/>
                </a:lnTo>
                <a:lnTo>
                  <a:pt x="3986" y="786"/>
                </a:lnTo>
                <a:lnTo>
                  <a:pt x="3993" y="797"/>
                </a:lnTo>
                <a:lnTo>
                  <a:pt x="4001" y="811"/>
                </a:lnTo>
                <a:lnTo>
                  <a:pt x="4001" y="811"/>
                </a:lnTo>
                <a:close/>
                <a:moveTo>
                  <a:pt x="2464" y="498"/>
                </a:moveTo>
                <a:lnTo>
                  <a:pt x="2464" y="498"/>
                </a:lnTo>
                <a:lnTo>
                  <a:pt x="2449" y="489"/>
                </a:lnTo>
                <a:lnTo>
                  <a:pt x="2449" y="493"/>
                </a:lnTo>
                <a:lnTo>
                  <a:pt x="2464" y="498"/>
                </a:lnTo>
                <a:close/>
                <a:moveTo>
                  <a:pt x="3602" y="397"/>
                </a:moveTo>
                <a:lnTo>
                  <a:pt x="3611" y="402"/>
                </a:lnTo>
                <a:lnTo>
                  <a:pt x="3611" y="402"/>
                </a:lnTo>
                <a:lnTo>
                  <a:pt x="3609" y="400"/>
                </a:lnTo>
                <a:lnTo>
                  <a:pt x="3607" y="398"/>
                </a:lnTo>
                <a:lnTo>
                  <a:pt x="3604" y="397"/>
                </a:lnTo>
                <a:lnTo>
                  <a:pt x="3602" y="397"/>
                </a:lnTo>
                <a:lnTo>
                  <a:pt x="3602" y="397"/>
                </a:lnTo>
                <a:close/>
                <a:moveTo>
                  <a:pt x="4330" y="1304"/>
                </a:moveTo>
                <a:lnTo>
                  <a:pt x="4333" y="1298"/>
                </a:lnTo>
                <a:lnTo>
                  <a:pt x="4333" y="1293"/>
                </a:lnTo>
                <a:lnTo>
                  <a:pt x="4324" y="1266"/>
                </a:lnTo>
                <a:lnTo>
                  <a:pt x="4319" y="1247"/>
                </a:lnTo>
                <a:lnTo>
                  <a:pt x="4319" y="1247"/>
                </a:lnTo>
                <a:lnTo>
                  <a:pt x="4314" y="1236"/>
                </a:lnTo>
                <a:lnTo>
                  <a:pt x="4308" y="1225"/>
                </a:lnTo>
                <a:lnTo>
                  <a:pt x="4301" y="1202"/>
                </a:lnTo>
                <a:lnTo>
                  <a:pt x="4294" y="1177"/>
                </a:lnTo>
                <a:lnTo>
                  <a:pt x="4289" y="1154"/>
                </a:lnTo>
                <a:lnTo>
                  <a:pt x="4289" y="1154"/>
                </a:lnTo>
                <a:lnTo>
                  <a:pt x="4287" y="1149"/>
                </a:lnTo>
                <a:lnTo>
                  <a:pt x="4283" y="1144"/>
                </a:lnTo>
                <a:lnTo>
                  <a:pt x="4283" y="1144"/>
                </a:lnTo>
                <a:lnTo>
                  <a:pt x="4290" y="1160"/>
                </a:lnTo>
                <a:lnTo>
                  <a:pt x="4301" y="1176"/>
                </a:lnTo>
                <a:lnTo>
                  <a:pt x="4310" y="1190"/>
                </a:lnTo>
                <a:lnTo>
                  <a:pt x="4319" y="1206"/>
                </a:lnTo>
                <a:lnTo>
                  <a:pt x="4319" y="1206"/>
                </a:lnTo>
                <a:lnTo>
                  <a:pt x="4328" y="1220"/>
                </a:lnTo>
                <a:lnTo>
                  <a:pt x="4333" y="1229"/>
                </a:lnTo>
                <a:lnTo>
                  <a:pt x="4339" y="1236"/>
                </a:lnTo>
                <a:lnTo>
                  <a:pt x="4339" y="1236"/>
                </a:lnTo>
                <a:lnTo>
                  <a:pt x="4296" y="1158"/>
                </a:lnTo>
                <a:lnTo>
                  <a:pt x="4250" y="1081"/>
                </a:lnTo>
                <a:lnTo>
                  <a:pt x="4202" y="1007"/>
                </a:lnTo>
                <a:lnTo>
                  <a:pt x="4150" y="934"/>
                </a:lnTo>
                <a:lnTo>
                  <a:pt x="4150" y="934"/>
                </a:lnTo>
                <a:lnTo>
                  <a:pt x="4134" y="914"/>
                </a:lnTo>
                <a:lnTo>
                  <a:pt x="4114" y="893"/>
                </a:lnTo>
                <a:lnTo>
                  <a:pt x="4114" y="898"/>
                </a:lnTo>
                <a:lnTo>
                  <a:pt x="4109" y="898"/>
                </a:lnTo>
                <a:lnTo>
                  <a:pt x="4109" y="898"/>
                </a:lnTo>
                <a:lnTo>
                  <a:pt x="4113" y="905"/>
                </a:lnTo>
                <a:lnTo>
                  <a:pt x="4120" y="912"/>
                </a:lnTo>
                <a:lnTo>
                  <a:pt x="4129" y="923"/>
                </a:lnTo>
                <a:lnTo>
                  <a:pt x="4129" y="923"/>
                </a:lnTo>
                <a:lnTo>
                  <a:pt x="4139" y="939"/>
                </a:lnTo>
                <a:lnTo>
                  <a:pt x="4150" y="955"/>
                </a:lnTo>
                <a:lnTo>
                  <a:pt x="4150" y="975"/>
                </a:lnTo>
                <a:lnTo>
                  <a:pt x="4164" y="1001"/>
                </a:lnTo>
                <a:lnTo>
                  <a:pt x="4164" y="1001"/>
                </a:lnTo>
                <a:lnTo>
                  <a:pt x="4173" y="1010"/>
                </a:lnTo>
                <a:lnTo>
                  <a:pt x="4180" y="1017"/>
                </a:lnTo>
                <a:lnTo>
                  <a:pt x="4186" y="1024"/>
                </a:lnTo>
                <a:lnTo>
                  <a:pt x="4191" y="1032"/>
                </a:lnTo>
                <a:lnTo>
                  <a:pt x="4210" y="1062"/>
                </a:lnTo>
                <a:lnTo>
                  <a:pt x="4216" y="1083"/>
                </a:lnTo>
                <a:lnTo>
                  <a:pt x="4226" y="1092"/>
                </a:lnTo>
                <a:lnTo>
                  <a:pt x="4226" y="1092"/>
                </a:lnTo>
                <a:lnTo>
                  <a:pt x="4241" y="1120"/>
                </a:lnTo>
                <a:lnTo>
                  <a:pt x="4248" y="1133"/>
                </a:lnTo>
                <a:lnTo>
                  <a:pt x="4251" y="1144"/>
                </a:lnTo>
                <a:lnTo>
                  <a:pt x="4262" y="1160"/>
                </a:lnTo>
                <a:lnTo>
                  <a:pt x="4273" y="1179"/>
                </a:lnTo>
                <a:lnTo>
                  <a:pt x="4289" y="1200"/>
                </a:lnTo>
                <a:lnTo>
                  <a:pt x="4292" y="1216"/>
                </a:lnTo>
                <a:lnTo>
                  <a:pt x="4308" y="1247"/>
                </a:lnTo>
                <a:lnTo>
                  <a:pt x="4308" y="1272"/>
                </a:lnTo>
                <a:lnTo>
                  <a:pt x="4314" y="1293"/>
                </a:lnTo>
                <a:lnTo>
                  <a:pt x="4319" y="1313"/>
                </a:lnTo>
                <a:lnTo>
                  <a:pt x="4330" y="1318"/>
                </a:lnTo>
                <a:lnTo>
                  <a:pt x="4330" y="1304"/>
                </a:lnTo>
                <a:lnTo>
                  <a:pt x="4330" y="1304"/>
                </a:lnTo>
                <a:close/>
                <a:moveTo>
                  <a:pt x="4251" y="1092"/>
                </a:moveTo>
                <a:lnTo>
                  <a:pt x="4251" y="1092"/>
                </a:lnTo>
                <a:lnTo>
                  <a:pt x="4251" y="1088"/>
                </a:lnTo>
                <a:lnTo>
                  <a:pt x="4250" y="1085"/>
                </a:lnTo>
                <a:lnTo>
                  <a:pt x="4248" y="1081"/>
                </a:lnTo>
                <a:lnTo>
                  <a:pt x="4248" y="1078"/>
                </a:lnTo>
                <a:lnTo>
                  <a:pt x="4257" y="1097"/>
                </a:lnTo>
                <a:lnTo>
                  <a:pt x="4251" y="1092"/>
                </a:lnTo>
                <a:close/>
                <a:moveTo>
                  <a:pt x="4267" y="1119"/>
                </a:moveTo>
                <a:lnTo>
                  <a:pt x="4267" y="1119"/>
                </a:lnTo>
                <a:lnTo>
                  <a:pt x="4274" y="1129"/>
                </a:lnTo>
                <a:lnTo>
                  <a:pt x="4276" y="1135"/>
                </a:lnTo>
                <a:lnTo>
                  <a:pt x="4278" y="1138"/>
                </a:lnTo>
                <a:lnTo>
                  <a:pt x="4278" y="1138"/>
                </a:lnTo>
                <a:lnTo>
                  <a:pt x="4276" y="1135"/>
                </a:lnTo>
                <a:lnTo>
                  <a:pt x="4274" y="1131"/>
                </a:lnTo>
                <a:lnTo>
                  <a:pt x="4267" y="1119"/>
                </a:lnTo>
                <a:lnTo>
                  <a:pt x="4267" y="1119"/>
                </a:lnTo>
                <a:close/>
              </a:path>
            </a:pathLst>
          </a:custGeom>
          <a:solidFill>
            <a:srgbClr val="1F497D">
              <a:lumMod val="20000"/>
              <a:lumOff val="80000"/>
            </a:srgbClr>
          </a:solidFill>
          <a:ln>
            <a:noFill/>
          </a:ln>
        </p:spPr>
        <p:txBody>
          <a:bodyPr vert="horz" wrap="square" lIns="68580" tIns="34290" rIns="68580" bIns="3429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grpSp>
        <p:nvGrpSpPr>
          <p:cNvPr id="38" name="Group 37"/>
          <p:cNvGrpSpPr/>
          <p:nvPr/>
        </p:nvGrpSpPr>
        <p:grpSpPr>
          <a:xfrm>
            <a:off x="3792323" y="1540872"/>
            <a:ext cx="759286" cy="1174601"/>
            <a:chOff x="2785985" y="2283249"/>
            <a:chExt cx="1012381" cy="1566134"/>
          </a:xfrm>
        </p:grpSpPr>
        <p:grpSp>
          <p:nvGrpSpPr>
            <p:cNvPr id="39" name="Group 38"/>
            <p:cNvGrpSpPr/>
            <p:nvPr/>
          </p:nvGrpSpPr>
          <p:grpSpPr>
            <a:xfrm>
              <a:off x="2785985" y="2283249"/>
              <a:ext cx="1012381" cy="1566134"/>
              <a:chOff x="2785985" y="2283249"/>
              <a:chExt cx="1012381" cy="1566134"/>
            </a:xfrm>
          </p:grpSpPr>
          <p:sp>
            <p:nvSpPr>
              <p:cNvPr id="50" name="TextBox 49"/>
              <p:cNvSpPr txBox="1"/>
              <p:nvPr/>
            </p:nvSpPr>
            <p:spPr>
              <a:xfrm>
                <a:off x="2914150" y="2283249"/>
                <a:ext cx="755015" cy="181733"/>
              </a:xfrm>
              <a:prstGeom prst="rect">
                <a:avLst/>
              </a:prstGeom>
              <a:noFill/>
            </p:spPr>
            <p:txBody>
              <a:bodyPr wrap="none" lIns="0" tIns="0" rIns="0" bIns="0" rtlCol="0">
                <a:noAutofit/>
              </a:bodyPr>
              <a:lstStyle/>
              <a:p>
                <a:pPr algn="ctr"/>
                <a:r>
                  <a:rPr lang="en-US" sz="1100" b="1" dirty="0">
                    <a:solidFill>
                      <a:srgbClr val="36A4D7"/>
                    </a:solidFill>
                    <a:latin typeface="メイリオ"/>
                    <a:ea typeface="メイリオ"/>
                    <a:cs typeface="メイリオ"/>
                  </a:rPr>
                  <a:t>Security</a:t>
                </a:r>
              </a:p>
              <a:p>
                <a:pPr algn="ctr"/>
                <a:r>
                  <a:rPr lang="en-US" sz="1100" b="1" dirty="0">
                    <a:solidFill>
                      <a:srgbClr val="36A4D7"/>
                    </a:solidFill>
                    <a:latin typeface="メイリオ"/>
                    <a:ea typeface="メイリオ"/>
                    <a:cs typeface="メイリオ"/>
                  </a:rPr>
                  <a:t>Policy</a:t>
                </a:r>
              </a:p>
            </p:txBody>
          </p:sp>
          <p:sp>
            <p:nvSpPr>
              <p:cNvPr id="51" name="Oval 50"/>
              <p:cNvSpPr/>
              <p:nvPr/>
            </p:nvSpPr>
            <p:spPr>
              <a:xfrm>
                <a:off x="2785985" y="2837002"/>
                <a:ext cx="1012381" cy="1012381"/>
              </a:xfrm>
              <a:prstGeom prst="ellipse">
                <a:avLst/>
              </a:prstGeom>
              <a:solidFill>
                <a:srgbClr val="36A4D7"/>
              </a:solidFill>
              <a:ln w="38100" cap="flat" cmpd="sng" algn="ctr">
                <a:solidFill>
                  <a:schemeClr val="bg1"/>
                </a:solidFill>
                <a:prstDash val="solid"/>
              </a:ln>
              <a:effectLst/>
            </p:spPr>
            <p:txBody>
              <a:bodyPr rtlCol="0" anchor="ctr"/>
              <a:lstStyle/>
              <a:p>
                <a:pPr algn="ctr" defTabSz="801221">
                  <a:defRPr/>
                </a:pPr>
                <a:endParaRPr lang="en-US" sz="1600" kern="0" dirty="0">
                  <a:solidFill>
                    <a:srgbClr val="FFFFFF"/>
                  </a:solidFill>
                  <a:latin typeface="メイリオ"/>
                  <a:ea typeface="メイリオ"/>
                  <a:cs typeface="メイリオ"/>
                </a:endParaRPr>
              </a:p>
            </p:txBody>
          </p:sp>
        </p:grpSp>
        <p:grpSp>
          <p:nvGrpSpPr>
            <p:cNvPr id="40" name="Group 39"/>
            <p:cNvGrpSpPr/>
            <p:nvPr/>
          </p:nvGrpSpPr>
          <p:grpSpPr>
            <a:xfrm>
              <a:off x="3084964" y="3089013"/>
              <a:ext cx="415642" cy="510307"/>
              <a:chOff x="3143089" y="4341908"/>
              <a:chExt cx="279112" cy="342681"/>
            </a:xfrm>
          </p:grpSpPr>
          <p:grpSp>
            <p:nvGrpSpPr>
              <p:cNvPr id="41" name="Group 40"/>
              <p:cNvGrpSpPr/>
              <p:nvPr/>
            </p:nvGrpSpPr>
            <p:grpSpPr>
              <a:xfrm>
                <a:off x="3143089" y="4341908"/>
                <a:ext cx="279112" cy="342681"/>
                <a:chOff x="2699358" y="419777"/>
                <a:chExt cx="1310785" cy="1503647"/>
              </a:xfrm>
              <a:solidFill>
                <a:schemeClr val="bg1"/>
              </a:solidFill>
            </p:grpSpPr>
            <p:sp>
              <p:nvSpPr>
                <p:cNvPr id="47"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48" name="Rectangle 47"/>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676767"/>
                    </a:solidFill>
                    <a:latin typeface="メイリオ"/>
                    <a:ea typeface="メイリオ"/>
                    <a:cs typeface="メイリオ"/>
                  </a:endParaRPr>
                </a:p>
              </p:txBody>
            </p:sp>
            <p:sp>
              <p:nvSpPr>
                <p:cNvPr id="49" name="Rectangle 48"/>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676767"/>
                    </a:solidFill>
                    <a:latin typeface="メイリオ"/>
                    <a:ea typeface="メイリオ"/>
                    <a:cs typeface="メイリオ"/>
                  </a:endParaRPr>
                </a:p>
              </p:txBody>
            </p:sp>
          </p:grpSp>
          <p:sp>
            <p:nvSpPr>
              <p:cNvPr id="42"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solidFill>
                <a:schemeClr val="bg1"/>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FFFFFF"/>
                  </a:solidFill>
                  <a:latin typeface="メイリオ"/>
                  <a:ea typeface="メイリオ"/>
                  <a:cs typeface="メイリオ"/>
                </a:endParaRPr>
              </a:p>
            </p:txBody>
          </p:sp>
          <p:grpSp>
            <p:nvGrpSpPr>
              <p:cNvPr id="43" name="Group 42"/>
              <p:cNvGrpSpPr/>
              <p:nvPr/>
            </p:nvGrpSpPr>
            <p:grpSpPr>
              <a:xfrm>
                <a:off x="3197139" y="4441480"/>
                <a:ext cx="137160" cy="91608"/>
                <a:chOff x="3202179" y="4429260"/>
                <a:chExt cx="105327" cy="91608"/>
              </a:xfrm>
            </p:grpSpPr>
            <p:sp>
              <p:nvSpPr>
                <p:cNvPr id="44" name="Rectangle 43"/>
                <p:cNvSpPr/>
                <p:nvPr/>
              </p:nvSpPr>
              <p:spPr>
                <a:xfrm>
                  <a:off x="3202179" y="4468044"/>
                  <a:ext cx="105327" cy="15408"/>
                </a:xfrm>
                <a:prstGeom prst="rect">
                  <a:avLst/>
                </a:prstGeom>
                <a:solidFill>
                  <a:schemeClr val="bg1"/>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45" name="Rectangle 44"/>
                <p:cNvSpPr/>
                <p:nvPr/>
              </p:nvSpPr>
              <p:spPr>
                <a:xfrm>
                  <a:off x="3202179" y="4429260"/>
                  <a:ext cx="70218" cy="15408"/>
                </a:xfrm>
                <a:prstGeom prst="rect">
                  <a:avLst/>
                </a:prstGeom>
                <a:solidFill>
                  <a:schemeClr val="bg1"/>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46" name="Rectangle 45"/>
                <p:cNvSpPr/>
                <p:nvPr/>
              </p:nvSpPr>
              <p:spPr>
                <a:xfrm>
                  <a:off x="3202179" y="4505460"/>
                  <a:ext cx="105327" cy="15408"/>
                </a:xfrm>
                <a:prstGeom prst="rect">
                  <a:avLst/>
                </a:prstGeom>
                <a:solidFill>
                  <a:schemeClr val="bg1"/>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grpSp>
      <p:cxnSp>
        <p:nvCxnSpPr>
          <p:cNvPr id="82" name="Straight Connector 81"/>
          <p:cNvCxnSpPr>
            <a:stCxn id="21" idx="0"/>
          </p:cNvCxnSpPr>
          <p:nvPr/>
        </p:nvCxnSpPr>
        <p:spPr>
          <a:xfrm flipV="1">
            <a:off x="2063498" y="2347902"/>
            <a:ext cx="3314" cy="746643"/>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6659147" y="1824461"/>
            <a:ext cx="591688" cy="573108"/>
            <a:chOff x="9418334" y="2732348"/>
            <a:chExt cx="788917" cy="764144"/>
          </a:xfrm>
        </p:grpSpPr>
        <p:sp>
          <p:nvSpPr>
            <p:cNvPr id="84" name="TextBox 83"/>
            <p:cNvSpPr txBox="1"/>
            <p:nvPr/>
          </p:nvSpPr>
          <p:spPr>
            <a:xfrm>
              <a:off x="9418334" y="3320786"/>
              <a:ext cx="788917" cy="175706"/>
            </a:xfrm>
            <a:prstGeom prst="rect">
              <a:avLst/>
            </a:prstGeom>
            <a:noFill/>
          </p:spPr>
          <p:txBody>
            <a:bodyPr wrap="square" lIns="0" tIns="0" rIns="0" bIns="0" rtlCol="0">
              <a:noAutofit/>
            </a:bodyPr>
            <a:lstStyle/>
            <a:p>
              <a:pPr algn="ctr"/>
              <a:r>
                <a:rPr lang="en-US" sz="1050" b="1" dirty="0" smtClean="0">
                  <a:solidFill>
                    <a:srgbClr val="1A315D"/>
                  </a:solidFill>
                  <a:latin typeface="メイリオ"/>
                  <a:ea typeface="メイリオ"/>
                  <a:cs typeface="メイリオ"/>
                </a:rPr>
                <a:t>本社</a:t>
              </a:r>
              <a:endParaRPr lang="en-US" sz="1050" b="1" dirty="0">
                <a:solidFill>
                  <a:srgbClr val="1A315D"/>
                </a:solidFill>
                <a:latin typeface="メイリオ"/>
                <a:ea typeface="メイリオ"/>
                <a:cs typeface="メイリオ"/>
              </a:endParaRPr>
            </a:p>
          </p:txBody>
        </p:sp>
        <p:grpSp>
          <p:nvGrpSpPr>
            <p:cNvPr id="85" name="Group 84"/>
            <p:cNvGrpSpPr/>
            <p:nvPr/>
          </p:nvGrpSpPr>
          <p:grpSpPr>
            <a:xfrm>
              <a:off x="9512474" y="2732348"/>
              <a:ext cx="548792" cy="562683"/>
              <a:chOff x="9196029" y="2665125"/>
              <a:chExt cx="548792" cy="562683"/>
            </a:xfrm>
          </p:grpSpPr>
          <p:sp>
            <p:nvSpPr>
              <p:cNvPr id="86" name="Freeform 85"/>
              <p:cNvSpPr/>
              <p:nvPr/>
            </p:nvSpPr>
            <p:spPr>
              <a:xfrm>
                <a:off x="9233297" y="2721769"/>
                <a:ext cx="285750" cy="500062"/>
              </a:xfrm>
              <a:custGeom>
                <a:avLst/>
                <a:gdLst>
                  <a:gd name="connsiteX0" fmla="*/ 0 w 285750"/>
                  <a:gd name="connsiteY0" fmla="*/ 421481 h 500062"/>
                  <a:gd name="connsiteX1" fmla="*/ 3572 w 285750"/>
                  <a:gd name="connsiteY1" fmla="*/ 500062 h 500062"/>
                  <a:gd name="connsiteX2" fmla="*/ 285750 w 285750"/>
                  <a:gd name="connsiteY2" fmla="*/ 500062 h 500062"/>
                  <a:gd name="connsiteX3" fmla="*/ 267891 w 285750"/>
                  <a:gd name="connsiteY3" fmla="*/ 0 h 500062"/>
                  <a:gd name="connsiteX4" fmla="*/ 3572 w 285750"/>
                  <a:gd name="connsiteY4" fmla="*/ 121444 h 500062"/>
                  <a:gd name="connsiteX5" fmla="*/ 0 w 285750"/>
                  <a:gd name="connsiteY5" fmla="*/ 421481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500062">
                    <a:moveTo>
                      <a:pt x="0" y="421481"/>
                    </a:moveTo>
                    <a:lnTo>
                      <a:pt x="3572" y="500062"/>
                    </a:lnTo>
                    <a:lnTo>
                      <a:pt x="285750" y="500062"/>
                    </a:lnTo>
                    <a:lnTo>
                      <a:pt x="267891" y="0"/>
                    </a:lnTo>
                    <a:lnTo>
                      <a:pt x="3572" y="121444"/>
                    </a:lnTo>
                    <a:cubicBezTo>
                      <a:pt x="2381" y="233363"/>
                      <a:pt x="1191" y="345281"/>
                      <a:pt x="0" y="421481"/>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メイリオ"/>
                  <a:ea typeface="メイリオ"/>
                  <a:cs typeface="メイリオ"/>
                </a:endParaRPr>
              </a:p>
            </p:txBody>
          </p:sp>
          <p:sp>
            <p:nvSpPr>
              <p:cNvPr id="87" name="Freeform 179"/>
              <p:cNvSpPr>
                <a:spLocks noEditPoints="1"/>
              </p:cNvSpPr>
              <p:nvPr/>
            </p:nvSpPr>
            <p:spPr bwMode="auto">
              <a:xfrm>
                <a:off x="9196029" y="2665125"/>
                <a:ext cx="548792" cy="562683"/>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solidFill>
                <a:srgbClr val="1A315D"/>
              </a:solidFill>
              <a:ln>
                <a:noFill/>
              </a:ln>
              <a:extLst/>
            </p:spPr>
            <p:txBody>
              <a:bodyPr vert="horz" wrap="square" lIns="91440" tIns="45720" rIns="91440" bIns="45720" numCol="1" anchor="t" anchorCtr="0" compatLnSpc="1">
                <a:prstTxWarp prst="textNoShape">
                  <a:avLst/>
                </a:prstTxWarp>
              </a:bodyPr>
              <a:lstStyle/>
              <a:p>
                <a:pPr>
                  <a:defRPr/>
                </a:pPr>
                <a:endParaRPr lang="en-US" sz="1600" kern="0">
                  <a:solidFill>
                    <a:prstClr val="black"/>
                  </a:solidFill>
                  <a:latin typeface="メイリオ"/>
                  <a:ea typeface="メイリオ"/>
                  <a:cs typeface="メイリオ"/>
                </a:endParaRPr>
              </a:p>
            </p:txBody>
          </p:sp>
        </p:grpSp>
      </p:grpSp>
      <p:grpSp>
        <p:nvGrpSpPr>
          <p:cNvPr id="88" name="Group 87"/>
          <p:cNvGrpSpPr/>
          <p:nvPr/>
        </p:nvGrpSpPr>
        <p:grpSpPr>
          <a:xfrm>
            <a:off x="7923771" y="3021291"/>
            <a:ext cx="323283" cy="357488"/>
            <a:chOff x="11104500" y="4328121"/>
            <a:chExt cx="431044" cy="476650"/>
          </a:xfrm>
        </p:grpSpPr>
        <p:grpSp>
          <p:nvGrpSpPr>
            <p:cNvPr id="89" name="Group 88"/>
            <p:cNvGrpSpPr/>
            <p:nvPr/>
          </p:nvGrpSpPr>
          <p:grpSpPr>
            <a:xfrm>
              <a:off x="11172317" y="4328121"/>
              <a:ext cx="295411" cy="300005"/>
              <a:chOff x="9350662" y="3487373"/>
              <a:chExt cx="295411" cy="300005"/>
            </a:xfrm>
          </p:grpSpPr>
          <p:sp>
            <p:nvSpPr>
              <p:cNvPr id="91" name="Freeform 90"/>
              <p:cNvSpPr/>
              <p:nvPr/>
            </p:nvSpPr>
            <p:spPr>
              <a:xfrm>
                <a:off x="9376081" y="3526472"/>
                <a:ext cx="142966" cy="250190"/>
              </a:xfrm>
              <a:custGeom>
                <a:avLst/>
                <a:gdLst>
                  <a:gd name="connsiteX0" fmla="*/ 0 w 285750"/>
                  <a:gd name="connsiteY0" fmla="*/ 421481 h 500062"/>
                  <a:gd name="connsiteX1" fmla="*/ 3572 w 285750"/>
                  <a:gd name="connsiteY1" fmla="*/ 500062 h 500062"/>
                  <a:gd name="connsiteX2" fmla="*/ 285750 w 285750"/>
                  <a:gd name="connsiteY2" fmla="*/ 500062 h 500062"/>
                  <a:gd name="connsiteX3" fmla="*/ 267891 w 285750"/>
                  <a:gd name="connsiteY3" fmla="*/ 0 h 500062"/>
                  <a:gd name="connsiteX4" fmla="*/ 3572 w 285750"/>
                  <a:gd name="connsiteY4" fmla="*/ 121444 h 500062"/>
                  <a:gd name="connsiteX5" fmla="*/ 0 w 285750"/>
                  <a:gd name="connsiteY5" fmla="*/ 421481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500062">
                    <a:moveTo>
                      <a:pt x="0" y="421481"/>
                    </a:moveTo>
                    <a:lnTo>
                      <a:pt x="3572" y="500062"/>
                    </a:lnTo>
                    <a:lnTo>
                      <a:pt x="285750" y="500062"/>
                    </a:lnTo>
                    <a:lnTo>
                      <a:pt x="267891" y="0"/>
                    </a:lnTo>
                    <a:lnTo>
                      <a:pt x="3572" y="121444"/>
                    </a:lnTo>
                    <a:cubicBezTo>
                      <a:pt x="2381" y="233363"/>
                      <a:pt x="1191" y="345281"/>
                      <a:pt x="0" y="421481"/>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rgbClr val="FFFFFF"/>
                  </a:solidFill>
                  <a:latin typeface="メイリオ"/>
                  <a:ea typeface="メイリオ"/>
                  <a:cs typeface="メイリオ"/>
                </a:endParaRPr>
              </a:p>
            </p:txBody>
          </p:sp>
          <p:sp>
            <p:nvSpPr>
              <p:cNvPr id="92" name="Freeform 180"/>
              <p:cNvSpPr>
                <a:spLocks/>
              </p:cNvSpPr>
              <p:nvPr/>
            </p:nvSpPr>
            <p:spPr bwMode="auto">
              <a:xfrm>
                <a:off x="9350662" y="3487373"/>
                <a:ext cx="295411" cy="30000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1A315D"/>
              </a:solidFill>
              <a:ln>
                <a:noFill/>
              </a:ln>
              <a:extLst/>
            </p:spPr>
            <p:txBody>
              <a:bodyPr vert="horz" wrap="square" lIns="0" tIns="0" rIns="0" bIns="0" numCol="1" anchor="t" anchorCtr="0" compatLnSpc="1">
                <a:prstTxWarp prst="textNoShape">
                  <a:avLst/>
                </a:prstTxWarp>
                <a:noAutofit/>
              </a:bodyPr>
              <a:lstStyle/>
              <a:p>
                <a:pPr>
                  <a:defRPr/>
                </a:pPr>
                <a:endParaRPr lang="en-US" sz="3600" kern="0">
                  <a:solidFill>
                    <a:prstClr val="black"/>
                  </a:solidFill>
                  <a:latin typeface="メイリオ"/>
                  <a:ea typeface="メイリオ"/>
                  <a:cs typeface="メイリオ"/>
                </a:endParaRPr>
              </a:p>
            </p:txBody>
          </p:sp>
        </p:grpSp>
        <p:sp>
          <p:nvSpPr>
            <p:cNvPr id="90" name="TextBox 89"/>
            <p:cNvSpPr txBox="1"/>
            <p:nvPr/>
          </p:nvSpPr>
          <p:spPr>
            <a:xfrm>
              <a:off x="11104500" y="4651431"/>
              <a:ext cx="431044" cy="153340"/>
            </a:xfrm>
            <a:prstGeom prst="rect">
              <a:avLst/>
            </a:prstGeom>
            <a:noFill/>
          </p:spPr>
          <p:txBody>
            <a:bodyPr wrap="square" lIns="0" tIns="0" rIns="0" bIns="0" rtlCol="0">
              <a:noAutofit/>
            </a:bodyPr>
            <a:lstStyle/>
            <a:p>
              <a:pPr algn="ctr"/>
              <a:r>
                <a:rPr lang="ja-JP" altLang="en-US" sz="1100" b="1" dirty="0" smtClean="0">
                  <a:solidFill>
                    <a:srgbClr val="1A315D"/>
                  </a:solidFill>
                  <a:latin typeface="メイリオ"/>
                  <a:ea typeface="メイリオ"/>
                  <a:cs typeface="メイリオ"/>
                </a:rPr>
                <a:t>支社</a:t>
              </a:r>
              <a:endParaRPr lang="en-US" sz="1100" b="1" dirty="0">
                <a:solidFill>
                  <a:srgbClr val="1A315D"/>
                </a:solidFill>
                <a:latin typeface="メイリオ"/>
                <a:ea typeface="メイリオ"/>
                <a:cs typeface="メイリオ"/>
              </a:endParaRPr>
            </a:p>
          </p:txBody>
        </p:sp>
      </p:grpSp>
      <p:grpSp>
        <p:nvGrpSpPr>
          <p:cNvPr id="93" name="Group 92"/>
          <p:cNvGrpSpPr/>
          <p:nvPr/>
        </p:nvGrpSpPr>
        <p:grpSpPr>
          <a:xfrm>
            <a:off x="7499710" y="2419616"/>
            <a:ext cx="323283" cy="357488"/>
            <a:chOff x="10539085" y="3434455"/>
            <a:chExt cx="431044" cy="476650"/>
          </a:xfrm>
        </p:grpSpPr>
        <p:grpSp>
          <p:nvGrpSpPr>
            <p:cNvPr id="94" name="Group 93"/>
            <p:cNvGrpSpPr/>
            <p:nvPr/>
          </p:nvGrpSpPr>
          <p:grpSpPr>
            <a:xfrm>
              <a:off x="10606902" y="3434455"/>
              <a:ext cx="295411" cy="300005"/>
              <a:chOff x="9350662" y="3487373"/>
              <a:chExt cx="295411" cy="300005"/>
            </a:xfrm>
          </p:grpSpPr>
          <p:sp>
            <p:nvSpPr>
              <p:cNvPr id="96" name="Freeform 95"/>
              <p:cNvSpPr/>
              <p:nvPr/>
            </p:nvSpPr>
            <p:spPr>
              <a:xfrm>
                <a:off x="9376081" y="3526472"/>
                <a:ext cx="142966" cy="250190"/>
              </a:xfrm>
              <a:custGeom>
                <a:avLst/>
                <a:gdLst>
                  <a:gd name="connsiteX0" fmla="*/ 0 w 285750"/>
                  <a:gd name="connsiteY0" fmla="*/ 421481 h 500062"/>
                  <a:gd name="connsiteX1" fmla="*/ 3572 w 285750"/>
                  <a:gd name="connsiteY1" fmla="*/ 500062 h 500062"/>
                  <a:gd name="connsiteX2" fmla="*/ 285750 w 285750"/>
                  <a:gd name="connsiteY2" fmla="*/ 500062 h 500062"/>
                  <a:gd name="connsiteX3" fmla="*/ 267891 w 285750"/>
                  <a:gd name="connsiteY3" fmla="*/ 0 h 500062"/>
                  <a:gd name="connsiteX4" fmla="*/ 3572 w 285750"/>
                  <a:gd name="connsiteY4" fmla="*/ 121444 h 500062"/>
                  <a:gd name="connsiteX5" fmla="*/ 0 w 285750"/>
                  <a:gd name="connsiteY5" fmla="*/ 421481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500062">
                    <a:moveTo>
                      <a:pt x="0" y="421481"/>
                    </a:moveTo>
                    <a:lnTo>
                      <a:pt x="3572" y="500062"/>
                    </a:lnTo>
                    <a:lnTo>
                      <a:pt x="285750" y="500062"/>
                    </a:lnTo>
                    <a:lnTo>
                      <a:pt x="267891" y="0"/>
                    </a:lnTo>
                    <a:lnTo>
                      <a:pt x="3572" y="121444"/>
                    </a:lnTo>
                    <a:cubicBezTo>
                      <a:pt x="2381" y="233363"/>
                      <a:pt x="1191" y="345281"/>
                      <a:pt x="0" y="421481"/>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rgbClr val="FFFFFF"/>
                  </a:solidFill>
                  <a:latin typeface="メイリオ"/>
                  <a:ea typeface="メイリオ"/>
                  <a:cs typeface="メイリオ"/>
                </a:endParaRPr>
              </a:p>
            </p:txBody>
          </p:sp>
          <p:sp>
            <p:nvSpPr>
              <p:cNvPr id="97" name="Freeform 180"/>
              <p:cNvSpPr>
                <a:spLocks/>
              </p:cNvSpPr>
              <p:nvPr/>
            </p:nvSpPr>
            <p:spPr bwMode="auto">
              <a:xfrm>
                <a:off x="9350662" y="3487373"/>
                <a:ext cx="295411" cy="30000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1A315D"/>
              </a:solidFill>
              <a:ln>
                <a:noFill/>
              </a:ln>
              <a:extLst/>
            </p:spPr>
            <p:txBody>
              <a:bodyPr vert="horz" wrap="square" lIns="0" tIns="0" rIns="0" bIns="0" numCol="1" anchor="t" anchorCtr="0" compatLnSpc="1">
                <a:prstTxWarp prst="textNoShape">
                  <a:avLst/>
                </a:prstTxWarp>
                <a:noAutofit/>
              </a:bodyPr>
              <a:lstStyle/>
              <a:p>
                <a:pPr>
                  <a:defRPr/>
                </a:pPr>
                <a:endParaRPr lang="en-US" sz="3600" kern="0">
                  <a:solidFill>
                    <a:prstClr val="black"/>
                  </a:solidFill>
                  <a:latin typeface="メイリオ"/>
                  <a:ea typeface="メイリオ"/>
                  <a:cs typeface="メイリオ"/>
                </a:endParaRPr>
              </a:p>
            </p:txBody>
          </p:sp>
        </p:grpSp>
        <p:sp>
          <p:nvSpPr>
            <p:cNvPr id="95" name="TextBox 94"/>
            <p:cNvSpPr txBox="1"/>
            <p:nvPr/>
          </p:nvSpPr>
          <p:spPr>
            <a:xfrm>
              <a:off x="10539085" y="3757765"/>
              <a:ext cx="431044" cy="153340"/>
            </a:xfrm>
            <a:prstGeom prst="rect">
              <a:avLst/>
            </a:prstGeom>
            <a:noFill/>
          </p:spPr>
          <p:txBody>
            <a:bodyPr wrap="square" lIns="0" tIns="0" rIns="0" bIns="0" rtlCol="0">
              <a:noAutofit/>
            </a:bodyPr>
            <a:lstStyle/>
            <a:p>
              <a:pPr algn="ctr"/>
              <a:r>
                <a:rPr lang="ja-JP" altLang="en-US" sz="1100" b="1" dirty="0" smtClean="0">
                  <a:solidFill>
                    <a:srgbClr val="1A315D"/>
                  </a:solidFill>
                  <a:latin typeface="メイリオ"/>
                  <a:ea typeface="メイリオ"/>
                  <a:cs typeface="メイリオ"/>
                </a:rPr>
                <a:t>支社</a:t>
              </a:r>
              <a:endParaRPr lang="en-US" sz="1100" b="1" dirty="0">
                <a:solidFill>
                  <a:srgbClr val="1A315D"/>
                </a:solidFill>
                <a:latin typeface="メイリオ"/>
                <a:ea typeface="メイリオ"/>
                <a:cs typeface="メイリオ"/>
              </a:endParaRPr>
            </a:p>
          </p:txBody>
        </p:sp>
      </p:grpSp>
      <p:grpSp>
        <p:nvGrpSpPr>
          <p:cNvPr id="98" name="Group 97"/>
          <p:cNvGrpSpPr/>
          <p:nvPr/>
        </p:nvGrpSpPr>
        <p:grpSpPr>
          <a:xfrm>
            <a:off x="8160741" y="3584647"/>
            <a:ext cx="495908" cy="368058"/>
            <a:chOff x="11420459" y="5079262"/>
            <a:chExt cx="661211" cy="490744"/>
          </a:xfrm>
        </p:grpSpPr>
        <p:grpSp>
          <p:nvGrpSpPr>
            <p:cNvPr id="99" name="Group 98"/>
            <p:cNvGrpSpPr/>
            <p:nvPr/>
          </p:nvGrpSpPr>
          <p:grpSpPr>
            <a:xfrm>
              <a:off x="11603360" y="5079262"/>
              <a:ext cx="295411" cy="300005"/>
              <a:chOff x="9350662" y="3487373"/>
              <a:chExt cx="295411" cy="300005"/>
            </a:xfrm>
          </p:grpSpPr>
          <p:sp>
            <p:nvSpPr>
              <p:cNvPr id="101" name="Freeform 100"/>
              <p:cNvSpPr/>
              <p:nvPr/>
            </p:nvSpPr>
            <p:spPr>
              <a:xfrm>
                <a:off x="9376081" y="3526472"/>
                <a:ext cx="142966" cy="250190"/>
              </a:xfrm>
              <a:custGeom>
                <a:avLst/>
                <a:gdLst>
                  <a:gd name="connsiteX0" fmla="*/ 0 w 285750"/>
                  <a:gd name="connsiteY0" fmla="*/ 421481 h 500062"/>
                  <a:gd name="connsiteX1" fmla="*/ 3572 w 285750"/>
                  <a:gd name="connsiteY1" fmla="*/ 500062 h 500062"/>
                  <a:gd name="connsiteX2" fmla="*/ 285750 w 285750"/>
                  <a:gd name="connsiteY2" fmla="*/ 500062 h 500062"/>
                  <a:gd name="connsiteX3" fmla="*/ 267891 w 285750"/>
                  <a:gd name="connsiteY3" fmla="*/ 0 h 500062"/>
                  <a:gd name="connsiteX4" fmla="*/ 3572 w 285750"/>
                  <a:gd name="connsiteY4" fmla="*/ 121444 h 500062"/>
                  <a:gd name="connsiteX5" fmla="*/ 0 w 285750"/>
                  <a:gd name="connsiteY5" fmla="*/ 421481 h 50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500062">
                    <a:moveTo>
                      <a:pt x="0" y="421481"/>
                    </a:moveTo>
                    <a:lnTo>
                      <a:pt x="3572" y="500062"/>
                    </a:lnTo>
                    <a:lnTo>
                      <a:pt x="285750" y="500062"/>
                    </a:lnTo>
                    <a:lnTo>
                      <a:pt x="267891" y="0"/>
                    </a:lnTo>
                    <a:lnTo>
                      <a:pt x="3572" y="121444"/>
                    </a:lnTo>
                    <a:cubicBezTo>
                      <a:pt x="2381" y="233363"/>
                      <a:pt x="1191" y="345281"/>
                      <a:pt x="0" y="421481"/>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solidFill>
                    <a:srgbClr val="FFFFFF"/>
                  </a:solidFill>
                  <a:latin typeface="メイリオ"/>
                  <a:ea typeface="メイリオ"/>
                  <a:cs typeface="メイリオ"/>
                </a:endParaRPr>
              </a:p>
            </p:txBody>
          </p:sp>
          <p:sp>
            <p:nvSpPr>
              <p:cNvPr id="102" name="Freeform 180"/>
              <p:cNvSpPr>
                <a:spLocks/>
              </p:cNvSpPr>
              <p:nvPr/>
            </p:nvSpPr>
            <p:spPr bwMode="auto">
              <a:xfrm>
                <a:off x="9350662" y="3487373"/>
                <a:ext cx="295411" cy="300005"/>
              </a:xfrm>
              <a:custGeom>
                <a:avLst/>
                <a:gdLst>
                  <a:gd name="T0" fmla="*/ 600 w 652"/>
                  <a:gd name="T1" fmla="*/ 604 h 663"/>
                  <a:gd name="T2" fmla="*/ 600 w 652"/>
                  <a:gd name="T3" fmla="*/ 195 h 663"/>
                  <a:gd name="T4" fmla="*/ 326 w 652"/>
                  <a:gd name="T5" fmla="*/ 0 h 663"/>
                  <a:gd name="T6" fmla="*/ 54 w 652"/>
                  <a:gd name="T7" fmla="*/ 195 h 663"/>
                  <a:gd name="T8" fmla="*/ 54 w 652"/>
                  <a:gd name="T9" fmla="*/ 249 h 663"/>
                  <a:gd name="T10" fmla="*/ 326 w 652"/>
                  <a:gd name="T11" fmla="*/ 92 h 663"/>
                  <a:gd name="T12" fmla="*/ 326 w 652"/>
                  <a:gd name="T13" fmla="*/ 148 h 663"/>
                  <a:gd name="T14" fmla="*/ 54 w 652"/>
                  <a:gd name="T15" fmla="*/ 295 h 663"/>
                  <a:gd name="T16" fmla="*/ 54 w 652"/>
                  <a:gd name="T17" fmla="*/ 354 h 663"/>
                  <a:gd name="T18" fmla="*/ 326 w 652"/>
                  <a:gd name="T19" fmla="*/ 247 h 663"/>
                  <a:gd name="T20" fmla="*/ 326 w 652"/>
                  <a:gd name="T21" fmla="*/ 299 h 663"/>
                  <a:gd name="T22" fmla="*/ 54 w 652"/>
                  <a:gd name="T23" fmla="*/ 396 h 663"/>
                  <a:gd name="T24" fmla="*/ 54 w 652"/>
                  <a:gd name="T25" fmla="*/ 460 h 663"/>
                  <a:gd name="T26" fmla="*/ 326 w 652"/>
                  <a:gd name="T27" fmla="*/ 400 h 663"/>
                  <a:gd name="T28" fmla="*/ 326 w 652"/>
                  <a:gd name="T29" fmla="*/ 450 h 663"/>
                  <a:gd name="T30" fmla="*/ 54 w 652"/>
                  <a:gd name="T31" fmla="*/ 499 h 663"/>
                  <a:gd name="T32" fmla="*/ 54 w 652"/>
                  <a:gd name="T33" fmla="*/ 562 h 663"/>
                  <a:gd name="T34" fmla="*/ 326 w 652"/>
                  <a:gd name="T35" fmla="*/ 553 h 663"/>
                  <a:gd name="T36" fmla="*/ 326 w 652"/>
                  <a:gd name="T37" fmla="*/ 604 h 663"/>
                  <a:gd name="T38" fmla="*/ 0 w 652"/>
                  <a:gd name="T39" fmla="*/ 604 h 663"/>
                  <a:gd name="T40" fmla="*/ 0 w 652"/>
                  <a:gd name="T41" fmla="*/ 663 h 663"/>
                  <a:gd name="T42" fmla="*/ 652 w 652"/>
                  <a:gd name="T43" fmla="*/ 663 h 663"/>
                  <a:gd name="T44" fmla="*/ 652 w 652"/>
                  <a:gd name="T45" fmla="*/ 604 h 663"/>
                  <a:gd name="T46" fmla="*/ 600 w 652"/>
                  <a:gd name="T47" fmla="*/ 60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2" h="663">
                    <a:moveTo>
                      <a:pt x="600" y="604"/>
                    </a:moveTo>
                    <a:lnTo>
                      <a:pt x="600" y="195"/>
                    </a:lnTo>
                    <a:lnTo>
                      <a:pt x="326" y="0"/>
                    </a:lnTo>
                    <a:lnTo>
                      <a:pt x="54" y="195"/>
                    </a:lnTo>
                    <a:lnTo>
                      <a:pt x="54" y="249"/>
                    </a:lnTo>
                    <a:lnTo>
                      <a:pt x="326" y="92"/>
                    </a:lnTo>
                    <a:lnTo>
                      <a:pt x="326" y="148"/>
                    </a:lnTo>
                    <a:lnTo>
                      <a:pt x="54" y="295"/>
                    </a:lnTo>
                    <a:lnTo>
                      <a:pt x="54" y="354"/>
                    </a:lnTo>
                    <a:lnTo>
                      <a:pt x="326" y="247"/>
                    </a:lnTo>
                    <a:lnTo>
                      <a:pt x="326" y="299"/>
                    </a:lnTo>
                    <a:lnTo>
                      <a:pt x="54" y="396"/>
                    </a:lnTo>
                    <a:lnTo>
                      <a:pt x="54" y="460"/>
                    </a:lnTo>
                    <a:lnTo>
                      <a:pt x="326" y="400"/>
                    </a:lnTo>
                    <a:lnTo>
                      <a:pt x="326" y="450"/>
                    </a:lnTo>
                    <a:lnTo>
                      <a:pt x="54" y="499"/>
                    </a:lnTo>
                    <a:lnTo>
                      <a:pt x="54" y="562"/>
                    </a:lnTo>
                    <a:lnTo>
                      <a:pt x="326" y="553"/>
                    </a:lnTo>
                    <a:lnTo>
                      <a:pt x="326" y="604"/>
                    </a:lnTo>
                    <a:lnTo>
                      <a:pt x="0" y="604"/>
                    </a:lnTo>
                    <a:lnTo>
                      <a:pt x="0" y="663"/>
                    </a:lnTo>
                    <a:lnTo>
                      <a:pt x="652" y="663"/>
                    </a:lnTo>
                    <a:lnTo>
                      <a:pt x="652" y="604"/>
                    </a:lnTo>
                    <a:lnTo>
                      <a:pt x="600" y="604"/>
                    </a:lnTo>
                    <a:close/>
                  </a:path>
                </a:pathLst>
              </a:custGeom>
              <a:solidFill>
                <a:srgbClr val="1A315D"/>
              </a:solidFill>
              <a:ln>
                <a:noFill/>
              </a:ln>
              <a:extLst/>
            </p:spPr>
            <p:txBody>
              <a:bodyPr vert="horz" wrap="square" lIns="0" tIns="0" rIns="0" bIns="0" numCol="1" anchor="t" anchorCtr="0" compatLnSpc="1">
                <a:prstTxWarp prst="textNoShape">
                  <a:avLst/>
                </a:prstTxWarp>
                <a:noAutofit/>
              </a:bodyPr>
              <a:lstStyle/>
              <a:p>
                <a:pPr>
                  <a:defRPr/>
                </a:pPr>
                <a:endParaRPr lang="en-US" sz="3600" kern="0">
                  <a:solidFill>
                    <a:prstClr val="black"/>
                  </a:solidFill>
                  <a:latin typeface="メイリオ"/>
                  <a:ea typeface="メイリオ"/>
                  <a:cs typeface="メイリオ"/>
                </a:endParaRPr>
              </a:p>
            </p:txBody>
          </p:sp>
        </p:grpSp>
        <p:sp>
          <p:nvSpPr>
            <p:cNvPr id="100" name="TextBox 99"/>
            <p:cNvSpPr txBox="1"/>
            <p:nvPr/>
          </p:nvSpPr>
          <p:spPr>
            <a:xfrm>
              <a:off x="11420459" y="5416666"/>
              <a:ext cx="661211" cy="153340"/>
            </a:xfrm>
            <a:prstGeom prst="rect">
              <a:avLst/>
            </a:prstGeom>
            <a:noFill/>
          </p:spPr>
          <p:txBody>
            <a:bodyPr wrap="square" lIns="0" tIns="0" rIns="0" bIns="0" rtlCol="0">
              <a:noAutofit/>
            </a:bodyPr>
            <a:lstStyle/>
            <a:p>
              <a:pPr algn="ctr"/>
              <a:r>
                <a:rPr lang="ja-JP" altLang="en-US" sz="1100" b="1" dirty="0" smtClean="0">
                  <a:solidFill>
                    <a:srgbClr val="1A315D"/>
                  </a:solidFill>
                  <a:latin typeface="メイリオ"/>
                  <a:ea typeface="メイリオ"/>
                  <a:cs typeface="メイリオ"/>
                </a:rPr>
                <a:t>新支社</a:t>
              </a:r>
              <a:endParaRPr lang="en-US" sz="1100" b="1" dirty="0">
                <a:solidFill>
                  <a:srgbClr val="1A315D"/>
                </a:solidFill>
                <a:latin typeface="メイリオ"/>
                <a:ea typeface="メイリオ"/>
                <a:cs typeface="メイリオ"/>
              </a:endParaRPr>
            </a:p>
          </p:txBody>
        </p:sp>
      </p:grpSp>
      <p:cxnSp>
        <p:nvCxnSpPr>
          <p:cNvPr id="123" name="Straight Connector 122"/>
          <p:cNvCxnSpPr/>
          <p:nvPr/>
        </p:nvCxnSpPr>
        <p:spPr>
          <a:xfrm flipH="1">
            <a:off x="2081485" y="2336668"/>
            <a:ext cx="1645576"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4597630" y="2336668"/>
            <a:ext cx="411089"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V="1">
            <a:off x="5008719" y="2133523"/>
            <a:ext cx="0" cy="202307"/>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5008720" y="2120428"/>
            <a:ext cx="1680815"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5008721" y="2586976"/>
            <a:ext cx="2490989"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a:off x="5008722" y="3191308"/>
            <a:ext cx="2900140"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21" idx="0"/>
          </p:cNvCxnSpPr>
          <p:nvPr/>
        </p:nvCxnSpPr>
        <p:spPr>
          <a:xfrm flipV="1">
            <a:off x="2063497" y="2330212"/>
            <a:ext cx="3602" cy="764333"/>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2063497" y="2336668"/>
            <a:ext cx="1682288"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4597630" y="2336668"/>
            <a:ext cx="411089"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V="1">
            <a:off x="5006113" y="2346953"/>
            <a:ext cx="2606" cy="847256"/>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5008722" y="3756099"/>
            <a:ext cx="3289194" cy="0"/>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103640" y="1093318"/>
            <a:ext cx="3651740" cy="900247"/>
          </a:xfrm>
          <a:prstGeom prst="rect">
            <a:avLst/>
          </a:prstGeom>
          <a:noFill/>
        </p:spPr>
        <p:txBody>
          <a:bodyPr wrap="square" lIns="68580" tIns="34290" rIns="68580" bIns="34290" rtlCol="0">
            <a:spAutoFit/>
          </a:bodyPr>
          <a:lstStyle/>
          <a:p>
            <a:r>
              <a:rPr lang="ja-JP" altLang="en-US" dirty="0" smtClean="0">
                <a:solidFill>
                  <a:srgbClr val="1A315D"/>
                </a:solidFill>
                <a:latin typeface="メイリオ"/>
                <a:ea typeface="メイリオ"/>
                <a:cs typeface="メイリオ"/>
              </a:rPr>
              <a:t>テンプレートを用いて、新規ブランチなどに簡単にセキュリティポリシーを展開可能</a:t>
            </a:r>
            <a:endParaRPr lang="en-US" dirty="0">
              <a:solidFill>
                <a:srgbClr val="1A315D"/>
              </a:solidFill>
              <a:latin typeface="メイリオ"/>
              <a:ea typeface="メイリオ"/>
              <a:cs typeface="メイリオ"/>
            </a:endParaRPr>
          </a:p>
        </p:txBody>
      </p:sp>
      <p:grpSp>
        <p:nvGrpSpPr>
          <p:cNvPr id="151" name="Group 150"/>
          <p:cNvGrpSpPr/>
          <p:nvPr/>
        </p:nvGrpSpPr>
        <p:grpSpPr>
          <a:xfrm>
            <a:off x="3927871" y="740231"/>
            <a:ext cx="486578" cy="486579"/>
            <a:chOff x="5776633" y="1370528"/>
            <a:chExt cx="648771" cy="648772"/>
          </a:xfrm>
        </p:grpSpPr>
        <p:sp>
          <p:nvSpPr>
            <p:cNvPr id="152" name="Oval 151"/>
            <p:cNvSpPr/>
            <p:nvPr/>
          </p:nvSpPr>
          <p:spPr>
            <a:xfrm>
              <a:off x="5776633" y="1370528"/>
              <a:ext cx="648771" cy="648772"/>
            </a:xfrm>
            <a:prstGeom prst="ellipse">
              <a:avLst/>
            </a:prstGeom>
            <a:solidFill>
              <a:srgbClr val="FFFFFF"/>
            </a:solidFill>
            <a:ln w="19050" cap="flat" cmpd="sng" algn="ctr">
              <a:solidFill>
                <a:srgbClr val="1A315D"/>
              </a:solidFill>
              <a:prstDash val="sysDash"/>
            </a:ln>
            <a:effectLst/>
          </p:spPr>
          <p:txBody>
            <a:bodyPr rtlCol="0" anchor="ctr"/>
            <a:lstStyle/>
            <a:p>
              <a:pPr algn="ctr">
                <a:defRPr/>
              </a:pPr>
              <a:endParaRPr lang="en-US" sz="1200" kern="0" dirty="0">
                <a:solidFill>
                  <a:srgbClr val="FFFFFF"/>
                </a:solidFill>
                <a:latin typeface="メイリオ"/>
                <a:ea typeface="メイリオ"/>
                <a:cs typeface="メイリオ"/>
              </a:endParaRPr>
            </a:p>
          </p:txBody>
        </p:sp>
        <p:sp>
          <p:nvSpPr>
            <p:cNvPr id="153" name="Freeform 5"/>
            <p:cNvSpPr>
              <a:spLocks noEditPoints="1"/>
            </p:cNvSpPr>
            <p:nvPr/>
          </p:nvSpPr>
          <p:spPr bwMode="auto">
            <a:xfrm>
              <a:off x="5939349" y="1448129"/>
              <a:ext cx="323338" cy="493569"/>
            </a:xfrm>
            <a:custGeom>
              <a:avLst/>
              <a:gdLst>
                <a:gd name="T0" fmla="*/ 739 w 821"/>
                <a:gd name="T1" fmla="*/ 540 h 1254"/>
                <a:gd name="T2" fmla="*/ 739 w 821"/>
                <a:gd name="T3" fmla="*/ 329 h 1254"/>
                <a:gd name="T4" fmla="*/ 411 w 821"/>
                <a:gd name="T5" fmla="*/ 0 h 1254"/>
                <a:gd name="T6" fmla="*/ 82 w 821"/>
                <a:gd name="T7" fmla="*/ 329 h 1254"/>
                <a:gd name="T8" fmla="*/ 82 w 821"/>
                <a:gd name="T9" fmla="*/ 541 h 1254"/>
                <a:gd name="T10" fmla="*/ 0 w 821"/>
                <a:gd name="T11" fmla="*/ 541 h 1254"/>
                <a:gd name="T12" fmla="*/ 0 w 821"/>
                <a:gd name="T13" fmla="*/ 735 h 1254"/>
                <a:gd name="T14" fmla="*/ 0 w 821"/>
                <a:gd name="T15" fmla="*/ 771 h 1254"/>
                <a:gd name="T16" fmla="*/ 0 w 821"/>
                <a:gd name="T17" fmla="*/ 844 h 1254"/>
                <a:gd name="T18" fmla="*/ 411 w 821"/>
                <a:gd name="T19" fmla="*/ 1254 h 1254"/>
                <a:gd name="T20" fmla="*/ 821 w 821"/>
                <a:gd name="T21" fmla="*/ 844 h 1254"/>
                <a:gd name="T22" fmla="*/ 821 w 821"/>
                <a:gd name="T23" fmla="*/ 618 h 1254"/>
                <a:gd name="T24" fmla="*/ 821 w 821"/>
                <a:gd name="T25" fmla="*/ 541 h 1254"/>
                <a:gd name="T26" fmla="*/ 739 w 821"/>
                <a:gd name="T27" fmla="*/ 541 h 1254"/>
                <a:gd name="T28" fmla="*/ 739 w 821"/>
                <a:gd name="T29" fmla="*/ 540 h 1254"/>
                <a:gd name="T30" fmla="*/ 514 w 821"/>
                <a:gd name="T31" fmla="*/ 771 h 1254"/>
                <a:gd name="T32" fmla="*/ 453 w 821"/>
                <a:gd name="T33" fmla="*/ 858 h 1254"/>
                <a:gd name="T34" fmla="*/ 484 w 821"/>
                <a:gd name="T35" fmla="*/ 1061 h 1254"/>
                <a:gd name="T36" fmla="*/ 334 w 821"/>
                <a:gd name="T37" fmla="*/ 1060 h 1254"/>
                <a:gd name="T38" fmla="*/ 368 w 821"/>
                <a:gd name="T39" fmla="*/ 857 h 1254"/>
                <a:gd name="T40" fmla="*/ 307 w 821"/>
                <a:gd name="T41" fmla="*/ 771 h 1254"/>
                <a:gd name="T42" fmla="*/ 307 w 821"/>
                <a:gd name="T43" fmla="*/ 762 h 1254"/>
                <a:gd name="T44" fmla="*/ 412 w 821"/>
                <a:gd name="T45" fmla="*/ 659 h 1254"/>
                <a:gd name="T46" fmla="*/ 515 w 821"/>
                <a:gd name="T47" fmla="*/ 763 h 1254"/>
                <a:gd name="T48" fmla="*/ 514 w 821"/>
                <a:gd name="T49" fmla="*/ 771 h 1254"/>
                <a:gd name="T50" fmla="*/ 607 w 821"/>
                <a:gd name="T51" fmla="*/ 541 h 1254"/>
                <a:gd name="T52" fmla="*/ 215 w 821"/>
                <a:gd name="T53" fmla="*/ 541 h 1254"/>
                <a:gd name="T54" fmla="*/ 215 w 821"/>
                <a:gd name="T55" fmla="*/ 334 h 1254"/>
                <a:gd name="T56" fmla="*/ 411 w 821"/>
                <a:gd name="T57" fmla="*/ 137 h 1254"/>
                <a:gd name="T58" fmla="*/ 607 w 821"/>
                <a:gd name="T59" fmla="*/ 334 h 1254"/>
                <a:gd name="T60" fmla="*/ 607 w 821"/>
                <a:gd name="T61" fmla="*/ 541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1" h="1254">
                  <a:moveTo>
                    <a:pt x="739" y="540"/>
                  </a:moveTo>
                  <a:cubicBezTo>
                    <a:pt x="739" y="329"/>
                    <a:pt x="739" y="329"/>
                    <a:pt x="739" y="329"/>
                  </a:cubicBezTo>
                  <a:cubicBezTo>
                    <a:pt x="739" y="148"/>
                    <a:pt x="592" y="0"/>
                    <a:pt x="411" y="0"/>
                  </a:cubicBezTo>
                  <a:cubicBezTo>
                    <a:pt x="230" y="0"/>
                    <a:pt x="82" y="148"/>
                    <a:pt x="82" y="329"/>
                  </a:cubicBezTo>
                  <a:cubicBezTo>
                    <a:pt x="82" y="541"/>
                    <a:pt x="82" y="541"/>
                    <a:pt x="82" y="541"/>
                  </a:cubicBezTo>
                  <a:cubicBezTo>
                    <a:pt x="0" y="541"/>
                    <a:pt x="0" y="541"/>
                    <a:pt x="0" y="541"/>
                  </a:cubicBezTo>
                  <a:cubicBezTo>
                    <a:pt x="0" y="735"/>
                    <a:pt x="0" y="735"/>
                    <a:pt x="0" y="735"/>
                  </a:cubicBezTo>
                  <a:cubicBezTo>
                    <a:pt x="0" y="771"/>
                    <a:pt x="0" y="771"/>
                    <a:pt x="0" y="771"/>
                  </a:cubicBezTo>
                  <a:cubicBezTo>
                    <a:pt x="0" y="844"/>
                    <a:pt x="0" y="844"/>
                    <a:pt x="0" y="844"/>
                  </a:cubicBezTo>
                  <a:cubicBezTo>
                    <a:pt x="0" y="1071"/>
                    <a:pt x="184" y="1254"/>
                    <a:pt x="411" y="1254"/>
                  </a:cubicBezTo>
                  <a:cubicBezTo>
                    <a:pt x="637" y="1254"/>
                    <a:pt x="821" y="1071"/>
                    <a:pt x="821" y="844"/>
                  </a:cubicBezTo>
                  <a:cubicBezTo>
                    <a:pt x="821" y="618"/>
                    <a:pt x="821" y="618"/>
                    <a:pt x="821" y="618"/>
                  </a:cubicBezTo>
                  <a:cubicBezTo>
                    <a:pt x="821" y="541"/>
                    <a:pt x="821" y="541"/>
                    <a:pt x="821" y="541"/>
                  </a:cubicBezTo>
                  <a:cubicBezTo>
                    <a:pt x="739" y="541"/>
                    <a:pt x="739" y="541"/>
                    <a:pt x="739" y="541"/>
                  </a:cubicBezTo>
                  <a:lnTo>
                    <a:pt x="739" y="540"/>
                  </a:lnTo>
                  <a:close/>
                  <a:moveTo>
                    <a:pt x="514" y="771"/>
                  </a:moveTo>
                  <a:cubicBezTo>
                    <a:pt x="511" y="810"/>
                    <a:pt x="487" y="842"/>
                    <a:pt x="453" y="858"/>
                  </a:cubicBezTo>
                  <a:cubicBezTo>
                    <a:pt x="484" y="1061"/>
                    <a:pt x="484" y="1061"/>
                    <a:pt x="484" y="1061"/>
                  </a:cubicBezTo>
                  <a:cubicBezTo>
                    <a:pt x="334" y="1060"/>
                    <a:pt x="334" y="1060"/>
                    <a:pt x="334" y="1060"/>
                  </a:cubicBezTo>
                  <a:cubicBezTo>
                    <a:pt x="368" y="857"/>
                    <a:pt x="368" y="857"/>
                    <a:pt x="368" y="857"/>
                  </a:cubicBezTo>
                  <a:cubicBezTo>
                    <a:pt x="334" y="842"/>
                    <a:pt x="310" y="809"/>
                    <a:pt x="307" y="771"/>
                  </a:cubicBezTo>
                  <a:cubicBezTo>
                    <a:pt x="307" y="768"/>
                    <a:pt x="307" y="765"/>
                    <a:pt x="307" y="762"/>
                  </a:cubicBezTo>
                  <a:cubicBezTo>
                    <a:pt x="307" y="704"/>
                    <a:pt x="354" y="658"/>
                    <a:pt x="412" y="659"/>
                  </a:cubicBezTo>
                  <a:cubicBezTo>
                    <a:pt x="469" y="659"/>
                    <a:pt x="515" y="706"/>
                    <a:pt x="515" y="763"/>
                  </a:cubicBezTo>
                  <a:cubicBezTo>
                    <a:pt x="515" y="766"/>
                    <a:pt x="515" y="768"/>
                    <a:pt x="514" y="771"/>
                  </a:cubicBezTo>
                  <a:close/>
                  <a:moveTo>
                    <a:pt x="607" y="541"/>
                  </a:moveTo>
                  <a:cubicBezTo>
                    <a:pt x="215" y="541"/>
                    <a:pt x="215" y="541"/>
                    <a:pt x="215" y="541"/>
                  </a:cubicBezTo>
                  <a:cubicBezTo>
                    <a:pt x="215" y="334"/>
                    <a:pt x="215" y="334"/>
                    <a:pt x="215" y="334"/>
                  </a:cubicBezTo>
                  <a:cubicBezTo>
                    <a:pt x="215" y="225"/>
                    <a:pt x="303" y="137"/>
                    <a:pt x="411" y="137"/>
                  </a:cubicBezTo>
                  <a:cubicBezTo>
                    <a:pt x="519" y="137"/>
                    <a:pt x="607" y="225"/>
                    <a:pt x="607" y="334"/>
                  </a:cubicBezTo>
                  <a:lnTo>
                    <a:pt x="607" y="541"/>
                  </a:lnTo>
                  <a:close/>
                </a:path>
              </a:pathLst>
            </a:custGeom>
            <a:solidFill>
              <a:srgbClr val="1A315D"/>
            </a:solidFill>
            <a:ln w="19050">
              <a:solidFill>
                <a:srgbClr val="1A315D"/>
              </a:solidFill>
            </a:ln>
          </p:spPr>
          <p:txBody>
            <a:bodyPr vert="horz" wrap="square" lIns="91440" tIns="45720" rIns="91440" bIns="45720" numCol="1" anchor="t" anchorCtr="0" compatLnSpc="1">
              <a:prstTxWarp prst="textNoShape">
                <a:avLst/>
              </a:prstTxWarp>
            </a:bodyPr>
            <a:lstStyle/>
            <a:p>
              <a:pPr>
                <a:defRPr/>
              </a:pPr>
              <a:endParaRPr lang="en-US" sz="1200" kern="0">
                <a:solidFill>
                  <a:srgbClr val="676767"/>
                </a:solidFill>
                <a:latin typeface="メイリオ"/>
                <a:ea typeface="メイリオ"/>
                <a:cs typeface="メイリオ"/>
              </a:endParaRPr>
            </a:p>
          </p:txBody>
        </p:sp>
      </p:grpSp>
      <p:cxnSp>
        <p:nvCxnSpPr>
          <p:cNvPr id="193" name="Straight Connector 192"/>
          <p:cNvCxnSpPr/>
          <p:nvPr/>
        </p:nvCxnSpPr>
        <p:spPr>
          <a:xfrm flipH="1">
            <a:off x="5005781" y="2118376"/>
            <a:ext cx="1683754"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H="1" flipV="1">
            <a:off x="5006117" y="2105239"/>
            <a:ext cx="1" cy="221132"/>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V="1">
            <a:off x="5006114" y="2330213"/>
            <a:ext cx="0" cy="863996"/>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5008000" y="3757057"/>
            <a:ext cx="3289916"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flipH="1">
            <a:off x="5006113" y="3191778"/>
            <a:ext cx="2917658"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H="1">
            <a:off x="5008721" y="2586922"/>
            <a:ext cx="2490989" cy="0"/>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sp>
        <p:nvSpPr>
          <p:cNvPr id="160" name="Oval 159"/>
          <p:cNvSpPr/>
          <p:nvPr/>
        </p:nvSpPr>
        <p:spPr>
          <a:xfrm>
            <a:off x="3745785" y="1909345"/>
            <a:ext cx="848529" cy="848529"/>
          </a:xfrm>
          <a:prstGeom prst="ellipse">
            <a:avLst/>
          </a:prstGeom>
          <a:noFill/>
          <a:ln w="28575">
            <a:solidFill>
              <a:schemeClr val="accent2"/>
            </a:solidFill>
            <a:prstDash val="solid"/>
          </a:ln>
          <a:effectLst>
            <a:glow rad="63500">
              <a:schemeClr val="accent2">
                <a:alpha val="2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FFFFFF"/>
              </a:solidFill>
              <a:latin typeface="メイリオ"/>
              <a:ea typeface="メイリオ"/>
              <a:cs typeface="メイリオ"/>
            </a:endParaRPr>
          </a:p>
        </p:txBody>
      </p:sp>
      <p:cxnSp>
        <p:nvCxnSpPr>
          <p:cNvPr id="204" name="Straight Connector 203"/>
          <p:cNvCxnSpPr/>
          <p:nvPr/>
        </p:nvCxnSpPr>
        <p:spPr>
          <a:xfrm flipV="1">
            <a:off x="5006114" y="3205525"/>
            <a:ext cx="0" cy="545077"/>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V="1">
            <a:off x="5006114" y="3192276"/>
            <a:ext cx="0" cy="573029"/>
          </a:xfrm>
          <a:prstGeom prst="line">
            <a:avLst/>
          </a:prstGeom>
          <a:ln w="28575">
            <a:solidFill>
              <a:schemeClr val="accent2"/>
            </a:solid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592703" y="1990882"/>
            <a:ext cx="226394" cy="226394"/>
            <a:chOff x="8478800" y="4686441"/>
            <a:chExt cx="226788" cy="226788"/>
          </a:xfrm>
        </p:grpSpPr>
        <p:sp>
          <p:nvSpPr>
            <p:cNvPr id="8" name="Oval 7"/>
            <p:cNvSpPr/>
            <p:nvPr/>
          </p:nvSpPr>
          <p:spPr>
            <a:xfrm>
              <a:off x="8478800" y="4686441"/>
              <a:ext cx="226788" cy="226788"/>
            </a:xfrm>
            <a:prstGeom prst="ellipse">
              <a:avLst/>
            </a:prstGeom>
            <a:solidFill>
              <a:schemeClr val="accent2"/>
            </a:solidFill>
            <a:ln w="25400" cap="flat" cmpd="sng" algn="ctr">
              <a:solidFill>
                <a:sysClr val="window" lastClr="FFFFFF"/>
              </a:solidFill>
              <a:prstDash val="solid"/>
            </a:ln>
            <a:effectLst/>
          </p:spPr>
          <p:txBody>
            <a:bodyPr rtlCol="0" anchor="ctr"/>
            <a:lstStyle/>
            <a:p>
              <a:pPr algn="ctr" defTabSz="801221">
                <a:defRPr/>
              </a:pPr>
              <a:endParaRPr lang="en-US" sz="1400" kern="0" dirty="0">
                <a:solidFill>
                  <a:srgbClr val="FFFFFF"/>
                </a:solidFill>
                <a:latin typeface="メイリオ"/>
                <a:ea typeface="メイリオ"/>
                <a:cs typeface="メイリオ"/>
              </a:endParaRPr>
            </a:p>
          </p:txBody>
        </p:sp>
        <p:grpSp>
          <p:nvGrpSpPr>
            <p:cNvPr id="9" name="Group 8"/>
            <p:cNvGrpSpPr/>
            <p:nvPr/>
          </p:nvGrpSpPr>
          <p:grpSpPr>
            <a:xfrm>
              <a:off x="8510165" y="4760649"/>
              <a:ext cx="162900" cy="87716"/>
              <a:chOff x="2701925" y="1518496"/>
              <a:chExt cx="1506538" cy="811213"/>
            </a:xfrm>
            <a:solidFill>
              <a:srgbClr val="2462B2"/>
            </a:solidFill>
          </p:grpSpPr>
          <p:sp>
            <p:nvSpPr>
              <p:cNvPr id="10"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1"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2"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3"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4"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5"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sp>
            <p:nvSpPr>
              <p:cNvPr id="16"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676767"/>
                  </a:solidFill>
                  <a:latin typeface="メイリオ"/>
                  <a:ea typeface="メイリオ"/>
                  <a:cs typeface="メイリオ"/>
                </a:endParaRPr>
              </a:p>
            </p:txBody>
          </p:sp>
        </p:grpSp>
      </p:grpSp>
      <p:grpSp>
        <p:nvGrpSpPr>
          <p:cNvPr id="103" name="Group 102"/>
          <p:cNvGrpSpPr/>
          <p:nvPr/>
        </p:nvGrpSpPr>
        <p:grpSpPr>
          <a:xfrm>
            <a:off x="7376572" y="2446593"/>
            <a:ext cx="226394" cy="226394"/>
            <a:chOff x="8478800" y="4686441"/>
            <a:chExt cx="226788" cy="226788"/>
          </a:xfrm>
        </p:grpSpPr>
        <p:sp>
          <p:nvSpPr>
            <p:cNvPr id="104" name="Oval 103"/>
            <p:cNvSpPr/>
            <p:nvPr/>
          </p:nvSpPr>
          <p:spPr>
            <a:xfrm>
              <a:off x="8478800" y="4686441"/>
              <a:ext cx="226788" cy="226788"/>
            </a:xfrm>
            <a:prstGeom prst="ellipse">
              <a:avLst/>
            </a:prstGeom>
            <a:solidFill>
              <a:schemeClr val="accent2"/>
            </a:solidFill>
            <a:ln w="25400" cap="flat" cmpd="sng" algn="ctr">
              <a:solidFill>
                <a:sysClr val="window" lastClr="FFFFFF"/>
              </a:solidFill>
              <a:prstDash val="solid"/>
            </a:ln>
            <a:effectLst/>
          </p:spPr>
          <p:txBody>
            <a:bodyPr rtlCol="0" anchor="ctr"/>
            <a:lstStyle/>
            <a:p>
              <a:pPr algn="ctr" defTabSz="801221">
                <a:defRPr/>
              </a:pPr>
              <a:endParaRPr lang="en-US" sz="3200" kern="0" dirty="0">
                <a:solidFill>
                  <a:srgbClr val="FFFFFF"/>
                </a:solidFill>
                <a:latin typeface="メイリオ"/>
                <a:ea typeface="メイリオ"/>
                <a:cs typeface="メイリオ"/>
              </a:endParaRPr>
            </a:p>
          </p:txBody>
        </p:sp>
        <p:grpSp>
          <p:nvGrpSpPr>
            <p:cNvPr id="105" name="Group 104"/>
            <p:cNvGrpSpPr/>
            <p:nvPr/>
          </p:nvGrpSpPr>
          <p:grpSpPr>
            <a:xfrm>
              <a:off x="8510165" y="4760649"/>
              <a:ext cx="162900" cy="87716"/>
              <a:chOff x="2701925" y="1518496"/>
              <a:chExt cx="1506538" cy="811213"/>
            </a:xfrm>
            <a:solidFill>
              <a:srgbClr val="2462B2"/>
            </a:solidFill>
          </p:grpSpPr>
          <p:sp>
            <p:nvSpPr>
              <p:cNvPr id="106"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07"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08"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09"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0"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1"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2"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grpSp>
      </p:grpSp>
      <p:grpSp>
        <p:nvGrpSpPr>
          <p:cNvPr id="113" name="Group 112"/>
          <p:cNvGrpSpPr/>
          <p:nvPr/>
        </p:nvGrpSpPr>
        <p:grpSpPr>
          <a:xfrm>
            <a:off x="7789825" y="3046132"/>
            <a:ext cx="226394" cy="226394"/>
            <a:chOff x="8478800" y="4686441"/>
            <a:chExt cx="226788" cy="226788"/>
          </a:xfrm>
        </p:grpSpPr>
        <p:sp>
          <p:nvSpPr>
            <p:cNvPr id="114" name="Oval 113"/>
            <p:cNvSpPr/>
            <p:nvPr/>
          </p:nvSpPr>
          <p:spPr>
            <a:xfrm>
              <a:off x="8478800" y="4686441"/>
              <a:ext cx="226788" cy="226788"/>
            </a:xfrm>
            <a:prstGeom prst="ellipse">
              <a:avLst/>
            </a:prstGeom>
            <a:solidFill>
              <a:schemeClr val="accent2"/>
            </a:solidFill>
            <a:ln w="25400" cap="flat" cmpd="sng" algn="ctr">
              <a:solidFill>
                <a:sysClr val="window" lastClr="FFFFFF"/>
              </a:solidFill>
              <a:prstDash val="solid"/>
            </a:ln>
            <a:effectLst/>
          </p:spPr>
          <p:txBody>
            <a:bodyPr rtlCol="0" anchor="ctr"/>
            <a:lstStyle/>
            <a:p>
              <a:pPr algn="ctr" defTabSz="801221">
                <a:defRPr/>
              </a:pPr>
              <a:endParaRPr lang="en-US" sz="3200" kern="0" dirty="0">
                <a:solidFill>
                  <a:srgbClr val="FFFFFF"/>
                </a:solidFill>
                <a:latin typeface="メイリオ"/>
                <a:ea typeface="メイリオ"/>
                <a:cs typeface="メイリオ"/>
              </a:endParaRPr>
            </a:p>
          </p:txBody>
        </p:sp>
        <p:grpSp>
          <p:nvGrpSpPr>
            <p:cNvPr id="115" name="Group 114"/>
            <p:cNvGrpSpPr/>
            <p:nvPr/>
          </p:nvGrpSpPr>
          <p:grpSpPr>
            <a:xfrm>
              <a:off x="8510165" y="4760649"/>
              <a:ext cx="162900" cy="87716"/>
              <a:chOff x="2701925" y="1518496"/>
              <a:chExt cx="1506538" cy="811213"/>
            </a:xfrm>
            <a:solidFill>
              <a:srgbClr val="2462B2"/>
            </a:solidFill>
          </p:grpSpPr>
          <p:sp>
            <p:nvSpPr>
              <p:cNvPr id="116"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7"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8"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19"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20"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21"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22"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grpSp>
      </p:grpSp>
      <p:grpSp>
        <p:nvGrpSpPr>
          <p:cNvPr id="124" name="Group 123"/>
          <p:cNvGrpSpPr/>
          <p:nvPr/>
        </p:nvGrpSpPr>
        <p:grpSpPr>
          <a:xfrm>
            <a:off x="8143819" y="3611306"/>
            <a:ext cx="226394" cy="226394"/>
            <a:chOff x="8478800" y="4686441"/>
            <a:chExt cx="226788" cy="226788"/>
          </a:xfrm>
        </p:grpSpPr>
        <p:sp>
          <p:nvSpPr>
            <p:cNvPr id="125" name="Oval 124"/>
            <p:cNvSpPr/>
            <p:nvPr/>
          </p:nvSpPr>
          <p:spPr>
            <a:xfrm>
              <a:off x="8478800" y="4686441"/>
              <a:ext cx="226788" cy="226788"/>
            </a:xfrm>
            <a:prstGeom prst="ellipse">
              <a:avLst/>
            </a:prstGeom>
            <a:solidFill>
              <a:schemeClr val="accent2"/>
            </a:solidFill>
            <a:ln w="25400" cap="flat" cmpd="sng" algn="ctr">
              <a:solidFill>
                <a:sysClr val="window" lastClr="FFFFFF"/>
              </a:solidFill>
              <a:prstDash val="solid"/>
            </a:ln>
            <a:effectLst/>
          </p:spPr>
          <p:txBody>
            <a:bodyPr rtlCol="0" anchor="ctr"/>
            <a:lstStyle/>
            <a:p>
              <a:pPr algn="ctr" defTabSz="801221">
                <a:defRPr/>
              </a:pPr>
              <a:endParaRPr lang="en-US" sz="3200" kern="0" dirty="0">
                <a:solidFill>
                  <a:srgbClr val="FFFFFF"/>
                </a:solidFill>
                <a:latin typeface="メイリオ"/>
                <a:ea typeface="メイリオ"/>
                <a:cs typeface="メイリオ"/>
              </a:endParaRPr>
            </a:p>
          </p:txBody>
        </p:sp>
        <p:grpSp>
          <p:nvGrpSpPr>
            <p:cNvPr id="126" name="Group 125"/>
            <p:cNvGrpSpPr/>
            <p:nvPr/>
          </p:nvGrpSpPr>
          <p:grpSpPr>
            <a:xfrm>
              <a:off x="8510165" y="4760649"/>
              <a:ext cx="162900" cy="87716"/>
              <a:chOff x="2701925" y="1518496"/>
              <a:chExt cx="1506538" cy="811213"/>
            </a:xfrm>
            <a:solidFill>
              <a:srgbClr val="2462B2"/>
            </a:solidFill>
          </p:grpSpPr>
          <p:sp>
            <p:nvSpPr>
              <p:cNvPr id="127" name="Freeform 30"/>
              <p:cNvSpPr>
                <a:spLocks/>
              </p:cNvSpPr>
              <p:nvPr/>
            </p:nvSpPr>
            <p:spPr bwMode="auto">
              <a:xfrm>
                <a:off x="2701925" y="1821709"/>
                <a:ext cx="431800"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28" name="Freeform 31"/>
              <p:cNvSpPr>
                <a:spLocks/>
              </p:cNvSpPr>
              <p:nvPr/>
            </p:nvSpPr>
            <p:spPr bwMode="auto">
              <a:xfrm>
                <a:off x="3776663" y="1821709"/>
                <a:ext cx="431800" cy="206375"/>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29" name="Freeform 32"/>
              <p:cNvSpPr>
                <a:spLocks/>
              </p:cNvSpPr>
              <p:nvPr/>
            </p:nvSpPr>
            <p:spPr bwMode="auto">
              <a:xfrm>
                <a:off x="2970213"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30" name="Freeform 33"/>
              <p:cNvSpPr>
                <a:spLocks/>
              </p:cNvSpPr>
              <p:nvPr/>
            </p:nvSpPr>
            <p:spPr bwMode="auto">
              <a:xfrm>
                <a:off x="3506788" y="2124921"/>
                <a:ext cx="433388" cy="204788"/>
              </a:xfrm>
              <a:custGeom>
                <a:avLst/>
                <a:gdLst>
                  <a:gd name="T0" fmla="*/ 0 w 1092"/>
                  <a:gd name="T1" fmla="*/ 519 h 519"/>
                  <a:gd name="T2" fmla="*/ 0 w 1092"/>
                  <a:gd name="T3" fmla="*/ 519 h 519"/>
                  <a:gd name="T4" fmla="*/ 0 w 1092"/>
                  <a:gd name="T5" fmla="*/ 0 h 519"/>
                  <a:gd name="T6" fmla="*/ 0 w 1092"/>
                  <a:gd name="T7" fmla="*/ 0 h 519"/>
                  <a:gd name="T8" fmla="*/ 1092 w 1092"/>
                  <a:gd name="T9" fmla="*/ 0 h 519"/>
                  <a:gd name="T10" fmla="*/ 1092 w 1092"/>
                  <a:gd name="T11" fmla="*/ 0 h 519"/>
                  <a:gd name="T12" fmla="*/ 1092 w 1092"/>
                  <a:gd name="T13" fmla="*/ 519 h 519"/>
                  <a:gd name="T14" fmla="*/ 1092 w 1092"/>
                  <a:gd name="T15" fmla="*/ 519 h 519"/>
                  <a:gd name="T16" fmla="*/ 0 w 1092"/>
                  <a:gd name="T17" fmla="*/ 519 h 519"/>
                  <a:gd name="T18" fmla="*/ 0 w 1092"/>
                  <a:gd name="T19" fmla="*/ 5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19">
                    <a:moveTo>
                      <a:pt x="0" y="519"/>
                    </a:moveTo>
                    <a:lnTo>
                      <a:pt x="0" y="519"/>
                    </a:lnTo>
                    <a:lnTo>
                      <a:pt x="0" y="0"/>
                    </a:lnTo>
                    <a:lnTo>
                      <a:pt x="0" y="0"/>
                    </a:lnTo>
                    <a:lnTo>
                      <a:pt x="1092" y="0"/>
                    </a:lnTo>
                    <a:lnTo>
                      <a:pt x="1092" y="0"/>
                    </a:lnTo>
                    <a:lnTo>
                      <a:pt x="1092" y="519"/>
                    </a:lnTo>
                    <a:lnTo>
                      <a:pt x="1092" y="519"/>
                    </a:lnTo>
                    <a:lnTo>
                      <a:pt x="0" y="519"/>
                    </a:lnTo>
                    <a:lnTo>
                      <a:pt x="0" y="519"/>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31" name="Freeform 28"/>
              <p:cNvSpPr>
                <a:spLocks/>
              </p:cNvSpPr>
              <p:nvPr/>
            </p:nvSpPr>
            <p:spPr bwMode="auto">
              <a:xfrm>
                <a:off x="2970213" y="1518496"/>
                <a:ext cx="433388" cy="207963"/>
              </a:xfrm>
              <a:custGeom>
                <a:avLst/>
                <a:gdLst>
                  <a:gd name="T0" fmla="*/ 0 w 1092"/>
                  <a:gd name="T1" fmla="*/ 0 h 521"/>
                  <a:gd name="T2" fmla="*/ 0 w 1092"/>
                  <a:gd name="T3" fmla="*/ 0 h 521"/>
                  <a:gd name="T4" fmla="*/ 1092 w 1092"/>
                  <a:gd name="T5" fmla="*/ 0 h 521"/>
                  <a:gd name="T6" fmla="*/ 1092 w 1092"/>
                  <a:gd name="T7" fmla="*/ 0 h 521"/>
                  <a:gd name="T8" fmla="*/ 1092 w 1092"/>
                  <a:gd name="T9" fmla="*/ 521 h 521"/>
                  <a:gd name="T10" fmla="*/ 1092 w 1092"/>
                  <a:gd name="T11" fmla="*/ 521 h 521"/>
                  <a:gd name="T12" fmla="*/ 0 w 1092"/>
                  <a:gd name="T13" fmla="*/ 521 h 521"/>
                  <a:gd name="T14" fmla="*/ 0 w 1092"/>
                  <a:gd name="T15" fmla="*/ 521 h 521"/>
                  <a:gd name="T16" fmla="*/ 0 w 1092"/>
                  <a:gd name="T17" fmla="*/ 0 h 521"/>
                  <a:gd name="T18" fmla="*/ 0 w 1092"/>
                  <a:gd name="T19"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0"/>
                    </a:moveTo>
                    <a:lnTo>
                      <a:pt x="0" y="0"/>
                    </a:lnTo>
                    <a:lnTo>
                      <a:pt x="1092" y="0"/>
                    </a:lnTo>
                    <a:lnTo>
                      <a:pt x="1092" y="0"/>
                    </a:lnTo>
                    <a:lnTo>
                      <a:pt x="1092" y="521"/>
                    </a:lnTo>
                    <a:lnTo>
                      <a:pt x="1092" y="521"/>
                    </a:lnTo>
                    <a:lnTo>
                      <a:pt x="0" y="521"/>
                    </a:lnTo>
                    <a:lnTo>
                      <a:pt x="0" y="521"/>
                    </a:lnTo>
                    <a:lnTo>
                      <a:pt x="0" y="0"/>
                    </a:lnTo>
                    <a:lnTo>
                      <a:pt x="0" y="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32" name="Freeform 29"/>
              <p:cNvSpPr>
                <a:spLocks/>
              </p:cNvSpPr>
              <p:nvPr/>
            </p:nvSpPr>
            <p:spPr bwMode="auto">
              <a:xfrm>
                <a:off x="3506788" y="1518496"/>
                <a:ext cx="433388" cy="207963"/>
              </a:xfrm>
              <a:custGeom>
                <a:avLst/>
                <a:gdLst>
                  <a:gd name="T0" fmla="*/ 0 w 1092"/>
                  <a:gd name="T1" fmla="*/ 521 h 521"/>
                  <a:gd name="T2" fmla="*/ 0 w 1092"/>
                  <a:gd name="T3" fmla="*/ 521 h 521"/>
                  <a:gd name="T4" fmla="*/ 0 w 1092"/>
                  <a:gd name="T5" fmla="*/ 0 h 521"/>
                  <a:gd name="T6" fmla="*/ 0 w 1092"/>
                  <a:gd name="T7" fmla="*/ 0 h 521"/>
                  <a:gd name="T8" fmla="*/ 1092 w 1092"/>
                  <a:gd name="T9" fmla="*/ 0 h 521"/>
                  <a:gd name="T10" fmla="*/ 1092 w 1092"/>
                  <a:gd name="T11" fmla="*/ 0 h 521"/>
                  <a:gd name="T12" fmla="*/ 1092 w 1092"/>
                  <a:gd name="T13" fmla="*/ 521 h 521"/>
                  <a:gd name="T14" fmla="*/ 1092 w 1092"/>
                  <a:gd name="T15" fmla="*/ 521 h 521"/>
                  <a:gd name="T16" fmla="*/ 0 w 1092"/>
                  <a:gd name="T17" fmla="*/ 521 h 521"/>
                  <a:gd name="T18" fmla="*/ 0 w 1092"/>
                  <a:gd name="T19"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1">
                    <a:moveTo>
                      <a:pt x="0" y="521"/>
                    </a:moveTo>
                    <a:lnTo>
                      <a:pt x="0" y="521"/>
                    </a:lnTo>
                    <a:lnTo>
                      <a:pt x="0" y="0"/>
                    </a:lnTo>
                    <a:lnTo>
                      <a:pt x="0" y="0"/>
                    </a:lnTo>
                    <a:lnTo>
                      <a:pt x="1092" y="0"/>
                    </a:lnTo>
                    <a:lnTo>
                      <a:pt x="1092" y="0"/>
                    </a:lnTo>
                    <a:lnTo>
                      <a:pt x="1092" y="521"/>
                    </a:lnTo>
                    <a:lnTo>
                      <a:pt x="1092" y="521"/>
                    </a:lnTo>
                    <a:lnTo>
                      <a:pt x="0" y="521"/>
                    </a:lnTo>
                    <a:lnTo>
                      <a:pt x="0" y="521"/>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sp>
            <p:nvSpPr>
              <p:cNvPr id="133" name="Freeform 30"/>
              <p:cNvSpPr>
                <a:spLocks/>
              </p:cNvSpPr>
              <p:nvPr/>
            </p:nvSpPr>
            <p:spPr bwMode="auto">
              <a:xfrm>
                <a:off x="3240166" y="1821709"/>
                <a:ext cx="431801" cy="206375"/>
              </a:xfrm>
              <a:custGeom>
                <a:avLst/>
                <a:gdLst>
                  <a:gd name="T0" fmla="*/ 0 w 1092"/>
                  <a:gd name="T1" fmla="*/ 520 h 520"/>
                  <a:gd name="T2" fmla="*/ 0 w 1092"/>
                  <a:gd name="T3" fmla="*/ 520 h 520"/>
                  <a:gd name="T4" fmla="*/ 0 w 1092"/>
                  <a:gd name="T5" fmla="*/ 0 h 520"/>
                  <a:gd name="T6" fmla="*/ 0 w 1092"/>
                  <a:gd name="T7" fmla="*/ 0 h 520"/>
                  <a:gd name="T8" fmla="*/ 1092 w 1092"/>
                  <a:gd name="T9" fmla="*/ 0 h 520"/>
                  <a:gd name="T10" fmla="*/ 1092 w 1092"/>
                  <a:gd name="T11" fmla="*/ 0 h 520"/>
                  <a:gd name="T12" fmla="*/ 1092 w 1092"/>
                  <a:gd name="T13" fmla="*/ 520 h 520"/>
                  <a:gd name="T14" fmla="*/ 1092 w 1092"/>
                  <a:gd name="T15" fmla="*/ 520 h 520"/>
                  <a:gd name="T16" fmla="*/ 0 w 1092"/>
                  <a:gd name="T17" fmla="*/ 520 h 520"/>
                  <a:gd name="T18" fmla="*/ 0 w 1092"/>
                  <a:gd name="T19"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2" h="520">
                    <a:moveTo>
                      <a:pt x="0" y="520"/>
                    </a:moveTo>
                    <a:lnTo>
                      <a:pt x="0" y="520"/>
                    </a:lnTo>
                    <a:lnTo>
                      <a:pt x="0" y="0"/>
                    </a:lnTo>
                    <a:lnTo>
                      <a:pt x="0" y="0"/>
                    </a:lnTo>
                    <a:lnTo>
                      <a:pt x="1092" y="0"/>
                    </a:lnTo>
                    <a:lnTo>
                      <a:pt x="1092" y="0"/>
                    </a:lnTo>
                    <a:lnTo>
                      <a:pt x="1092" y="520"/>
                    </a:lnTo>
                    <a:lnTo>
                      <a:pt x="1092" y="520"/>
                    </a:lnTo>
                    <a:lnTo>
                      <a:pt x="0" y="520"/>
                    </a:lnTo>
                    <a:lnTo>
                      <a:pt x="0" y="520"/>
                    </a:ln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3600" kern="0">
                  <a:solidFill>
                    <a:srgbClr val="676767"/>
                  </a:solidFill>
                  <a:latin typeface="メイリオ"/>
                  <a:ea typeface="メイリオ"/>
                  <a:cs typeface="メイリオ"/>
                </a:endParaRPr>
              </a:p>
            </p:txBody>
          </p:sp>
        </p:grpSp>
      </p:grpSp>
      <p:sp>
        <p:nvSpPr>
          <p:cNvPr id="17" name="Freeform 16"/>
          <p:cNvSpPr>
            <a:spLocks/>
          </p:cNvSpPr>
          <p:nvPr/>
        </p:nvSpPr>
        <p:spPr bwMode="auto">
          <a:xfrm>
            <a:off x="632140" y="2997944"/>
            <a:ext cx="2864777" cy="987821"/>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chemeClr val="accent1"/>
          </a:solidFill>
          <a:ln>
            <a:noFill/>
          </a:ln>
        </p:spPr>
        <p:txBody>
          <a:bodyPr vert="horz" wrap="square" lIns="68580" tIns="34290" rIns="68580" bIns="34290" numCol="1" anchor="t" anchorCtr="0" compatLnSpc="1">
            <a:prstTxWarp prst="textNoShape">
              <a:avLst/>
            </a:prstTxWarp>
            <a:noAutofit/>
          </a:bodyPr>
          <a:lstStyle/>
          <a:p>
            <a:pPr defTabSz="342900">
              <a:defRPr/>
            </a:pPr>
            <a:endParaRPr lang="en-US" kern="0">
              <a:solidFill>
                <a:srgbClr val="676767"/>
              </a:solidFill>
              <a:latin typeface="メイリオ"/>
              <a:ea typeface="メイリオ"/>
              <a:cs typeface="メイリオ"/>
            </a:endParaRPr>
          </a:p>
        </p:txBody>
      </p:sp>
      <p:grpSp>
        <p:nvGrpSpPr>
          <p:cNvPr id="18" name="Group 17"/>
          <p:cNvGrpSpPr/>
          <p:nvPr/>
        </p:nvGrpSpPr>
        <p:grpSpPr>
          <a:xfrm>
            <a:off x="2589608" y="3046415"/>
            <a:ext cx="850260" cy="678123"/>
            <a:chOff x="8120710" y="1078757"/>
            <a:chExt cx="2713192" cy="1974768"/>
          </a:xfrm>
        </p:grpSpPr>
        <p:sp>
          <p:nvSpPr>
            <p:cNvPr id="19" name="Rectangle 561"/>
            <p:cNvSpPr/>
            <p:nvPr/>
          </p:nvSpPr>
          <p:spPr>
            <a:xfrm>
              <a:off x="8120710" y="1078757"/>
              <a:ext cx="2713192" cy="1974768"/>
            </a:xfrm>
            <a:custGeom>
              <a:avLst/>
              <a:gdLst>
                <a:gd name="connsiteX0" fmla="*/ 0 w 794608"/>
                <a:gd name="connsiteY0" fmla="*/ 0 h 534457"/>
                <a:gd name="connsiteX1" fmla="*/ 794608 w 794608"/>
                <a:gd name="connsiteY1" fmla="*/ 0 h 534457"/>
                <a:gd name="connsiteX2" fmla="*/ 794608 w 794608"/>
                <a:gd name="connsiteY2" fmla="*/ 534457 h 534457"/>
                <a:gd name="connsiteX3" fmla="*/ 0 w 794608"/>
                <a:gd name="connsiteY3" fmla="*/ 534457 h 534457"/>
                <a:gd name="connsiteX4" fmla="*/ 0 w 794608"/>
                <a:gd name="connsiteY4" fmla="*/ 0 h 534457"/>
                <a:gd name="connsiteX0" fmla="*/ 0 w 798418"/>
                <a:gd name="connsiteY0" fmla="*/ 41910 h 576367"/>
                <a:gd name="connsiteX1" fmla="*/ 798418 w 798418"/>
                <a:gd name="connsiteY1" fmla="*/ 0 h 576367"/>
                <a:gd name="connsiteX2" fmla="*/ 794608 w 798418"/>
                <a:gd name="connsiteY2" fmla="*/ 576367 h 576367"/>
                <a:gd name="connsiteX3" fmla="*/ 0 w 798418"/>
                <a:gd name="connsiteY3" fmla="*/ 576367 h 576367"/>
                <a:gd name="connsiteX4" fmla="*/ 0 w 798418"/>
                <a:gd name="connsiteY4" fmla="*/ 41910 h 576367"/>
                <a:gd name="connsiteX0" fmla="*/ 0 w 798418"/>
                <a:gd name="connsiteY0" fmla="*/ 41910 h 639232"/>
                <a:gd name="connsiteX1" fmla="*/ 798418 w 798418"/>
                <a:gd name="connsiteY1" fmla="*/ 0 h 639232"/>
                <a:gd name="connsiteX2" fmla="*/ 792703 w 798418"/>
                <a:gd name="connsiteY2" fmla="*/ 639232 h 639232"/>
                <a:gd name="connsiteX3" fmla="*/ 0 w 798418"/>
                <a:gd name="connsiteY3" fmla="*/ 576367 h 639232"/>
                <a:gd name="connsiteX4" fmla="*/ 0 w 798418"/>
                <a:gd name="connsiteY4" fmla="*/ 41910 h 639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418" h="639232">
                  <a:moveTo>
                    <a:pt x="0" y="41910"/>
                  </a:moveTo>
                  <a:lnTo>
                    <a:pt x="798418" y="0"/>
                  </a:lnTo>
                  <a:lnTo>
                    <a:pt x="792703" y="639232"/>
                  </a:lnTo>
                  <a:lnTo>
                    <a:pt x="0" y="576367"/>
                  </a:lnTo>
                  <a:lnTo>
                    <a:pt x="0" y="41910"/>
                  </a:lnTo>
                  <a:close/>
                </a:path>
              </a:pathLst>
            </a:custGeom>
            <a:solidFill>
              <a:srgbClr val="FFFFFF"/>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20" name="Freeform 18"/>
            <p:cNvSpPr>
              <a:spLocks noEditPoints="1"/>
            </p:cNvSpPr>
            <p:nvPr/>
          </p:nvSpPr>
          <p:spPr bwMode="auto">
            <a:xfrm>
              <a:off x="8223333" y="1410668"/>
              <a:ext cx="2461155" cy="1282153"/>
            </a:xfrm>
            <a:custGeom>
              <a:avLst/>
              <a:gdLst>
                <a:gd name="T0" fmla="*/ 648 w 2004"/>
                <a:gd name="T1" fmla="*/ 840 h 1044"/>
                <a:gd name="T2" fmla="*/ 468 w 2004"/>
                <a:gd name="T3" fmla="*/ 982 h 1044"/>
                <a:gd name="T4" fmla="*/ 458 w 2004"/>
                <a:gd name="T5" fmla="*/ 600 h 1044"/>
                <a:gd name="T6" fmla="*/ 244 w 2004"/>
                <a:gd name="T7" fmla="*/ 374 h 1044"/>
                <a:gd name="T8" fmla="*/ 0 w 2004"/>
                <a:gd name="T9" fmla="*/ 218 h 1044"/>
                <a:gd name="T10" fmla="*/ 8 w 2004"/>
                <a:gd name="T11" fmla="*/ 98 h 1044"/>
                <a:gd name="T12" fmla="*/ 196 w 2004"/>
                <a:gd name="T13" fmla="*/ 64 h 1044"/>
                <a:gd name="T14" fmla="*/ 436 w 2004"/>
                <a:gd name="T15" fmla="*/ 162 h 1044"/>
                <a:gd name="T16" fmla="*/ 564 w 2004"/>
                <a:gd name="T17" fmla="*/ 176 h 1044"/>
                <a:gd name="T18" fmla="*/ 528 w 2004"/>
                <a:gd name="T19" fmla="*/ 394 h 1044"/>
                <a:gd name="T20" fmla="*/ 392 w 2004"/>
                <a:gd name="T21" fmla="*/ 464 h 1044"/>
                <a:gd name="T22" fmla="*/ 430 w 2004"/>
                <a:gd name="T23" fmla="*/ 544 h 1044"/>
                <a:gd name="T24" fmla="*/ 594 w 2004"/>
                <a:gd name="T25" fmla="*/ 574 h 1044"/>
                <a:gd name="T26" fmla="*/ 1744 w 2004"/>
                <a:gd name="T27" fmla="*/ 666 h 1044"/>
                <a:gd name="T28" fmla="*/ 1628 w 2004"/>
                <a:gd name="T29" fmla="*/ 774 h 1044"/>
                <a:gd name="T30" fmla="*/ 1760 w 2004"/>
                <a:gd name="T31" fmla="*/ 790 h 1044"/>
                <a:gd name="T32" fmla="*/ 1810 w 2004"/>
                <a:gd name="T33" fmla="*/ 686 h 1044"/>
                <a:gd name="T34" fmla="*/ 1644 w 2004"/>
                <a:gd name="T35" fmla="*/ 540 h 1044"/>
                <a:gd name="T36" fmla="*/ 1786 w 2004"/>
                <a:gd name="T37" fmla="*/ 630 h 1044"/>
                <a:gd name="T38" fmla="*/ 1720 w 2004"/>
                <a:gd name="T39" fmla="*/ 584 h 1044"/>
                <a:gd name="T40" fmla="*/ 1720 w 2004"/>
                <a:gd name="T41" fmla="*/ 374 h 1044"/>
                <a:gd name="T42" fmla="*/ 1790 w 2004"/>
                <a:gd name="T43" fmla="*/ 284 h 1044"/>
                <a:gd name="T44" fmla="*/ 1920 w 2004"/>
                <a:gd name="T45" fmla="*/ 882 h 1044"/>
                <a:gd name="T46" fmla="*/ 1962 w 2004"/>
                <a:gd name="T47" fmla="*/ 794 h 1044"/>
                <a:gd name="T48" fmla="*/ 936 w 2004"/>
                <a:gd name="T49" fmla="*/ 96 h 1044"/>
                <a:gd name="T50" fmla="*/ 920 w 2004"/>
                <a:gd name="T51" fmla="*/ 174 h 1044"/>
                <a:gd name="T52" fmla="*/ 1252 w 2004"/>
                <a:gd name="T53" fmla="*/ 674 h 1044"/>
                <a:gd name="T54" fmla="*/ 1868 w 2004"/>
                <a:gd name="T55" fmla="*/ 236 h 1044"/>
                <a:gd name="T56" fmla="*/ 1794 w 2004"/>
                <a:gd name="T57" fmla="*/ 152 h 1044"/>
                <a:gd name="T58" fmla="*/ 1706 w 2004"/>
                <a:gd name="T59" fmla="*/ 328 h 1044"/>
                <a:gd name="T60" fmla="*/ 1648 w 2004"/>
                <a:gd name="T61" fmla="*/ 344 h 1044"/>
                <a:gd name="T62" fmla="*/ 1596 w 2004"/>
                <a:gd name="T63" fmla="*/ 506 h 1044"/>
                <a:gd name="T64" fmla="*/ 1574 w 2004"/>
                <a:gd name="T65" fmla="*/ 604 h 1044"/>
                <a:gd name="T66" fmla="*/ 1508 w 2004"/>
                <a:gd name="T67" fmla="*/ 546 h 1044"/>
                <a:gd name="T68" fmla="*/ 1486 w 2004"/>
                <a:gd name="T69" fmla="*/ 444 h 1044"/>
                <a:gd name="T70" fmla="*/ 1346 w 2004"/>
                <a:gd name="T71" fmla="*/ 426 h 1044"/>
                <a:gd name="T72" fmla="*/ 1280 w 2004"/>
                <a:gd name="T73" fmla="*/ 426 h 1044"/>
                <a:gd name="T74" fmla="*/ 1208 w 2004"/>
                <a:gd name="T75" fmla="*/ 528 h 1044"/>
                <a:gd name="T76" fmla="*/ 1172 w 2004"/>
                <a:gd name="T77" fmla="*/ 690 h 1044"/>
                <a:gd name="T78" fmla="*/ 1008 w 2004"/>
                <a:gd name="T79" fmla="*/ 552 h 1044"/>
                <a:gd name="T80" fmla="*/ 1020 w 2004"/>
                <a:gd name="T81" fmla="*/ 344 h 1044"/>
                <a:gd name="T82" fmla="*/ 1160 w 2004"/>
                <a:gd name="T83" fmla="*/ 382 h 1044"/>
                <a:gd name="T84" fmla="*/ 1092 w 2004"/>
                <a:gd name="T85" fmla="*/ 352 h 1044"/>
                <a:gd name="T86" fmla="*/ 1036 w 2004"/>
                <a:gd name="T87" fmla="*/ 302 h 1044"/>
                <a:gd name="T88" fmla="*/ 974 w 2004"/>
                <a:gd name="T89" fmla="*/ 312 h 1044"/>
                <a:gd name="T90" fmla="*/ 940 w 2004"/>
                <a:gd name="T91" fmla="*/ 274 h 1044"/>
                <a:gd name="T92" fmla="*/ 1004 w 2004"/>
                <a:gd name="T93" fmla="*/ 194 h 1044"/>
                <a:gd name="T94" fmla="*/ 1106 w 2004"/>
                <a:gd name="T95" fmla="*/ 176 h 1044"/>
                <a:gd name="T96" fmla="*/ 1084 w 2004"/>
                <a:gd name="T97" fmla="*/ 118 h 1044"/>
                <a:gd name="T98" fmla="*/ 1098 w 2004"/>
                <a:gd name="T99" fmla="*/ 76 h 1044"/>
                <a:gd name="T100" fmla="*/ 1060 w 2004"/>
                <a:gd name="T101" fmla="*/ 180 h 1044"/>
                <a:gd name="T102" fmla="*/ 986 w 2004"/>
                <a:gd name="T103" fmla="*/ 118 h 1044"/>
                <a:gd name="T104" fmla="*/ 1194 w 2004"/>
                <a:gd name="T105" fmla="*/ 50 h 1044"/>
                <a:gd name="T106" fmla="*/ 1908 w 2004"/>
                <a:gd name="T107" fmla="*/ 150 h 1044"/>
                <a:gd name="T108" fmla="*/ 1166 w 2004"/>
                <a:gd name="T109" fmla="*/ 318 h 1044"/>
                <a:gd name="T110" fmla="*/ 1254 w 2004"/>
                <a:gd name="T111" fmla="*/ 292 h 1044"/>
                <a:gd name="T112" fmla="*/ 1238 w 2004"/>
                <a:gd name="T113" fmla="*/ 346 h 1044"/>
                <a:gd name="T114" fmla="*/ 690 w 2004"/>
                <a:gd name="T115" fmla="*/ 226 h 1044"/>
                <a:gd name="T116" fmla="*/ 756 w 2004"/>
                <a:gd name="T117" fmla="*/ 1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04" h="1044">
                  <a:moveTo>
                    <a:pt x="668" y="660"/>
                  </a:moveTo>
                  <a:lnTo>
                    <a:pt x="750" y="700"/>
                  </a:lnTo>
                  <a:lnTo>
                    <a:pt x="702" y="796"/>
                  </a:lnTo>
                  <a:lnTo>
                    <a:pt x="656" y="804"/>
                  </a:lnTo>
                  <a:lnTo>
                    <a:pt x="648" y="840"/>
                  </a:lnTo>
                  <a:lnTo>
                    <a:pt x="552" y="924"/>
                  </a:lnTo>
                  <a:lnTo>
                    <a:pt x="508" y="1008"/>
                  </a:lnTo>
                  <a:lnTo>
                    <a:pt x="540" y="1044"/>
                  </a:lnTo>
                  <a:lnTo>
                    <a:pt x="486" y="1030"/>
                  </a:lnTo>
                  <a:lnTo>
                    <a:pt x="468" y="982"/>
                  </a:lnTo>
                  <a:lnTo>
                    <a:pt x="522" y="764"/>
                  </a:lnTo>
                  <a:lnTo>
                    <a:pt x="476" y="724"/>
                  </a:lnTo>
                  <a:lnTo>
                    <a:pt x="456" y="638"/>
                  </a:lnTo>
                  <a:lnTo>
                    <a:pt x="480" y="596"/>
                  </a:lnTo>
                  <a:lnTo>
                    <a:pt x="458" y="600"/>
                  </a:lnTo>
                  <a:lnTo>
                    <a:pt x="424" y="558"/>
                  </a:lnTo>
                  <a:lnTo>
                    <a:pt x="396" y="544"/>
                  </a:lnTo>
                  <a:lnTo>
                    <a:pt x="330" y="520"/>
                  </a:lnTo>
                  <a:lnTo>
                    <a:pt x="276" y="436"/>
                  </a:lnTo>
                  <a:lnTo>
                    <a:pt x="244" y="374"/>
                  </a:lnTo>
                  <a:lnTo>
                    <a:pt x="244" y="292"/>
                  </a:lnTo>
                  <a:lnTo>
                    <a:pt x="190" y="200"/>
                  </a:lnTo>
                  <a:lnTo>
                    <a:pt x="120" y="158"/>
                  </a:lnTo>
                  <a:lnTo>
                    <a:pt x="78" y="180"/>
                  </a:lnTo>
                  <a:lnTo>
                    <a:pt x="0" y="218"/>
                  </a:lnTo>
                  <a:lnTo>
                    <a:pt x="50" y="178"/>
                  </a:lnTo>
                  <a:lnTo>
                    <a:pt x="20" y="172"/>
                  </a:lnTo>
                  <a:lnTo>
                    <a:pt x="8" y="132"/>
                  </a:lnTo>
                  <a:lnTo>
                    <a:pt x="44" y="104"/>
                  </a:lnTo>
                  <a:lnTo>
                    <a:pt x="8" y="98"/>
                  </a:lnTo>
                  <a:lnTo>
                    <a:pt x="14" y="72"/>
                  </a:lnTo>
                  <a:lnTo>
                    <a:pt x="40" y="72"/>
                  </a:lnTo>
                  <a:lnTo>
                    <a:pt x="18" y="38"/>
                  </a:lnTo>
                  <a:lnTo>
                    <a:pt x="80" y="0"/>
                  </a:lnTo>
                  <a:lnTo>
                    <a:pt x="196" y="64"/>
                  </a:lnTo>
                  <a:lnTo>
                    <a:pt x="238" y="24"/>
                  </a:lnTo>
                  <a:lnTo>
                    <a:pt x="330" y="78"/>
                  </a:lnTo>
                  <a:lnTo>
                    <a:pt x="508" y="58"/>
                  </a:lnTo>
                  <a:lnTo>
                    <a:pt x="508" y="148"/>
                  </a:lnTo>
                  <a:lnTo>
                    <a:pt x="436" y="162"/>
                  </a:lnTo>
                  <a:lnTo>
                    <a:pt x="422" y="200"/>
                  </a:lnTo>
                  <a:lnTo>
                    <a:pt x="490" y="272"/>
                  </a:lnTo>
                  <a:lnTo>
                    <a:pt x="508" y="270"/>
                  </a:lnTo>
                  <a:lnTo>
                    <a:pt x="518" y="178"/>
                  </a:lnTo>
                  <a:lnTo>
                    <a:pt x="564" y="176"/>
                  </a:lnTo>
                  <a:lnTo>
                    <a:pt x="582" y="228"/>
                  </a:lnTo>
                  <a:lnTo>
                    <a:pt x="606" y="214"/>
                  </a:lnTo>
                  <a:lnTo>
                    <a:pt x="658" y="330"/>
                  </a:lnTo>
                  <a:lnTo>
                    <a:pt x="586" y="362"/>
                  </a:lnTo>
                  <a:lnTo>
                    <a:pt x="528" y="394"/>
                  </a:lnTo>
                  <a:lnTo>
                    <a:pt x="484" y="454"/>
                  </a:lnTo>
                  <a:lnTo>
                    <a:pt x="484" y="486"/>
                  </a:lnTo>
                  <a:lnTo>
                    <a:pt x="468" y="488"/>
                  </a:lnTo>
                  <a:lnTo>
                    <a:pt x="456" y="454"/>
                  </a:lnTo>
                  <a:lnTo>
                    <a:pt x="392" y="464"/>
                  </a:lnTo>
                  <a:lnTo>
                    <a:pt x="378" y="504"/>
                  </a:lnTo>
                  <a:lnTo>
                    <a:pt x="394" y="528"/>
                  </a:lnTo>
                  <a:lnTo>
                    <a:pt x="418" y="508"/>
                  </a:lnTo>
                  <a:lnTo>
                    <a:pt x="442" y="510"/>
                  </a:lnTo>
                  <a:lnTo>
                    <a:pt x="430" y="544"/>
                  </a:lnTo>
                  <a:lnTo>
                    <a:pt x="458" y="546"/>
                  </a:lnTo>
                  <a:lnTo>
                    <a:pt x="468" y="582"/>
                  </a:lnTo>
                  <a:lnTo>
                    <a:pt x="486" y="588"/>
                  </a:lnTo>
                  <a:lnTo>
                    <a:pt x="500" y="566"/>
                  </a:lnTo>
                  <a:lnTo>
                    <a:pt x="594" y="574"/>
                  </a:lnTo>
                  <a:lnTo>
                    <a:pt x="658" y="622"/>
                  </a:lnTo>
                  <a:lnTo>
                    <a:pt x="668" y="660"/>
                  </a:lnTo>
                  <a:close/>
                  <a:moveTo>
                    <a:pt x="1784" y="638"/>
                  </a:moveTo>
                  <a:lnTo>
                    <a:pt x="1778" y="678"/>
                  </a:lnTo>
                  <a:lnTo>
                    <a:pt x="1744" y="666"/>
                  </a:lnTo>
                  <a:lnTo>
                    <a:pt x="1752" y="644"/>
                  </a:lnTo>
                  <a:lnTo>
                    <a:pt x="1714" y="642"/>
                  </a:lnTo>
                  <a:lnTo>
                    <a:pt x="1666" y="686"/>
                  </a:lnTo>
                  <a:lnTo>
                    <a:pt x="1614" y="704"/>
                  </a:lnTo>
                  <a:lnTo>
                    <a:pt x="1628" y="774"/>
                  </a:lnTo>
                  <a:lnTo>
                    <a:pt x="1622" y="788"/>
                  </a:lnTo>
                  <a:lnTo>
                    <a:pt x="1642" y="798"/>
                  </a:lnTo>
                  <a:lnTo>
                    <a:pt x="1716" y="780"/>
                  </a:lnTo>
                  <a:lnTo>
                    <a:pt x="1746" y="796"/>
                  </a:lnTo>
                  <a:lnTo>
                    <a:pt x="1760" y="790"/>
                  </a:lnTo>
                  <a:lnTo>
                    <a:pt x="1770" y="818"/>
                  </a:lnTo>
                  <a:lnTo>
                    <a:pt x="1808" y="828"/>
                  </a:lnTo>
                  <a:lnTo>
                    <a:pt x="1836" y="812"/>
                  </a:lnTo>
                  <a:lnTo>
                    <a:pt x="1852" y="728"/>
                  </a:lnTo>
                  <a:lnTo>
                    <a:pt x="1810" y="686"/>
                  </a:lnTo>
                  <a:lnTo>
                    <a:pt x="1784" y="638"/>
                  </a:lnTo>
                  <a:close/>
                  <a:moveTo>
                    <a:pt x="1596" y="600"/>
                  </a:moveTo>
                  <a:lnTo>
                    <a:pt x="1636" y="608"/>
                  </a:lnTo>
                  <a:lnTo>
                    <a:pt x="1656" y="550"/>
                  </a:lnTo>
                  <a:lnTo>
                    <a:pt x="1644" y="540"/>
                  </a:lnTo>
                  <a:lnTo>
                    <a:pt x="1590" y="574"/>
                  </a:lnTo>
                  <a:lnTo>
                    <a:pt x="1596" y="600"/>
                  </a:lnTo>
                  <a:close/>
                  <a:moveTo>
                    <a:pt x="1720" y="584"/>
                  </a:moveTo>
                  <a:lnTo>
                    <a:pt x="1762" y="628"/>
                  </a:lnTo>
                  <a:lnTo>
                    <a:pt x="1786" y="630"/>
                  </a:lnTo>
                  <a:lnTo>
                    <a:pt x="1796" y="620"/>
                  </a:lnTo>
                  <a:lnTo>
                    <a:pt x="1830" y="642"/>
                  </a:lnTo>
                  <a:lnTo>
                    <a:pt x="1816" y="612"/>
                  </a:lnTo>
                  <a:lnTo>
                    <a:pt x="1752" y="582"/>
                  </a:lnTo>
                  <a:lnTo>
                    <a:pt x="1720" y="584"/>
                  </a:lnTo>
                  <a:close/>
                  <a:moveTo>
                    <a:pt x="1796" y="234"/>
                  </a:moveTo>
                  <a:lnTo>
                    <a:pt x="1784" y="234"/>
                  </a:lnTo>
                  <a:lnTo>
                    <a:pt x="1784" y="290"/>
                  </a:lnTo>
                  <a:lnTo>
                    <a:pt x="1756" y="348"/>
                  </a:lnTo>
                  <a:lnTo>
                    <a:pt x="1720" y="374"/>
                  </a:lnTo>
                  <a:lnTo>
                    <a:pt x="1718" y="398"/>
                  </a:lnTo>
                  <a:lnTo>
                    <a:pt x="1784" y="358"/>
                  </a:lnTo>
                  <a:lnTo>
                    <a:pt x="1786" y="318"/>
                  </a:lnTo>
                  <a:lnTo>
                    <a:pt x="1808" y="298"/>
                  </a:lnTo>
                  <a:lnTo>
                    <a:pt x="1790" y="284"/>
                  </a:lnTo>
                  <a:lnTo>
                    <a:pt x="1800" y="252"/>
                  </a:lnTo>
                  <a:lnTo>
                    <a:pt x="1796" y="234"/>
                  </a:lnTo>
                  <a:close/>
                  <a:moveTo>
                    <a:pt x="1962" y="794"/>
                  </a:moveTo>
                  <a:lnTo>
                    <a:pt x="1968" y="838"/>
                  </a:lnTo>
                  <a:lnTo>
                    <a:pt x="1920" y="882"/>
                  </a:lnTo>
                  <a:lnTo>
                    <a:pt x="1950" y="886"/>
                  </a:lnTo>
                  <a:lnTo>
                    <a:pt x="1978" y="844"/>
                  </a:lnTo>
                  <a:lnTo>
                    <a:pt x="2000" y="814"/>
                  </a:lnTo>
                  <a:lnTo>
                    <a:pt x="1986" y="812"/>
                  </a:lnTo>
                  <a:lnTo>
                    <a:pt x="1962" y="794"/>
                  </a:lnTo>
                  <a:close/>
                  <a:moveTo>
                    <a:pt x="930" y="144"/>
                  </a:moveTo>
                  <a:lnTo>
                    <a:pt x="930" y="190"/>
                  </a:lnTo>
                  <a:lnTo>
                    <a:pt x="962" y="176"/>
                  </a:lnTo>
                  <a:lnTo>
                    <a:pt x="970" y="162"/>
                  </a:lnTo>
                  <a:lnTo>
                    <a:pt x="936" y="96"/>
                  </a:lnTo>
                  <a:lnTo>
                    <a:pt x="916" y="110"/>
                  </a:lnTo>
                  <a:lnTo>
                    <a:pt x="918" y="128"/>
                  </a:lnTo>
                  <a:lnTo>
                    <a:pt x="898" y="150"/>
                  </a:lnTo>
                  <a:lnTo>
                    <a:pt x="898" y="174"/>
                  </a:lnTo>
                  <a:lnTo>
                    <a:pt x="920" y="174"/>
                  </a:lnTo>
                  <a:lnTo>
                    <a:pt x="930" y="144"/>
                  </a:lnTo>
                  <a:close/>
                  <a:moveTo>
                    <a:pt x="1212" y="674"/>
                  </a:moveTo>
                  <a:lnTo>
                    <a:pt x="1212" y="724"/>
                  </a:lnTo>
                  <a:lnTo>
                    <a:pt x="1232" y="734"/>
                  </a:lnTo>
                  <a:lnTo>
                    <a:pt x="1252" y="674"/>
                  </a:lnTo>
                  <a:lnTo>
                    <a:pt x="1246" y="648"/>
                  </a:lnTo>
                  <a:lnTo>
                    <a:pt x="1212" y="674"/>
                  </a:lnTo>
                  <a:close/>
                  <a:moveTo>
                    <a:pt x="1908" y="150"/>
                  </a:moveTo>
                  <a:lnTo>
                    <a:pt x="1908" y="186"/>
                  </a:lnTo>
                  <a:lnTo>
                    <a:pt x="1868" y="236"/>
                  </a:lnTo>
                  <a:lnTo>
                    <a:pt x="1866" y="180"/>
                  </a:lnTo>
                  <a:lnTo>
                    <a:pt x="1920" y="116"/>
                  </a:lnTo>
                  <a:lnTo>
                    <a:pt x="1886" y="120"/>
                  </a:lnTo>
                  <a:lnTo>
                    <a:pt x="1846" y="154"/>
                  </a:lnTo>
                  <a:lnTo>
                    <a:pt x="1794" y="152"/>
                  </a:lnTo>
                  <a:lnTo>
                    <a:pt x="1756" y="188"/>
                  </a:lnTo>
                  <a:lnTo>
                    <a:pt x="1784" y="208"/>
                  </a:lnTo>
                  <a:lnTo>
                    <a:pt x="1750" y="298"/>
                  </a:lnTo>
                  <a:lnTo>
                    <a:pt x="1724" y="304"/>
                  </a:lnTo>
                  <a:lnTo>
                    <a:pt x="1706" y="328"/>
                  </a:lnTo>
                  <a:lnTo>
                    <a:pt x="1714" y="360"/>
                  </a:lnTo>
                  <a:lnTo>
                    <a:pt x="1694" y="372"/>
                  </a:lnTo>
                  <a:lnTo>
                    <a:pt x="1688" y="342"/>
                  </a:lnTo>
                  <a:lnTo>
                    <a:pt x="1670" y="318"/>
                  </a:lnTo>
                  <a:lnTo>
                    <a:pt x="1648" y="344"/>
                  </a:lnTo>
                  <a:lnTo>
                    <a:pt x="1666" y="396"/>
                  </a:lnTo>
                  <a:lnTo>
                    <a:pt x="1640" y="444"/>
                  </a:lnTo>
                  <a:lnTo>
                    <a:pt x="1582" y="446"/>
                  </a:lnTo>
                  <a:lnTo>
                    <a:pt x="1570" y="466"/>
                  </a:lnTo>
                  <a:lnTo>
                    <a:pt x="1596" y="506"/>
                  </a:lnTo>
                  <a:lnTo>
                    <a:pt x="1568" y="528"/>
                  </a:lnTo>
                  <a:lnTo>
                    <a:pt x="1540" y="498"/>
                  </a:lnTo>
                  <a:lnTo>
                    <a:pt x="1540" y="526"/>
                  </a:lnTo>
                  <a:lnTo>
                    <a:pt x="1564" y="554"/>
                  </a:lnTo>
                  <a:lnTo>
                    <a:pt x="1574" y="604"/>
                  </a:lnTo>
                  <a:lnTo>
                    <a:pt x="1606" y="614"/>
                  </a:lnTo>
                  <a:lnTo>
                    <a:pt x="1648" y="632"/>
                  </a:lnTo>
                  <a:lnTo>
                    <a:pt x="1570" y="618"/>
                  </a:lnTo>
                  <a:lnTo>
                    <a:pt x="1538" y="588"/>
                  </a:lnTo>
                  <a:lnTo>
                    <a:pt x="1508" y="546"/>
                  </a:lnTo>
                  <a:lnTo>
                    <a:pt x="1548" y="566"/>
                  </a:lnTo>
                  <a:lnTo>
                    <a:pt x="1530" y="532"/>
                  </a:lnTo>
                  <a:lnTo>
                    <a:pt x="1526" y="486"/>
                  </a:lnTo>
                  <a:lnTo>
                    <a:pt x="1508" y="490"/>
                  </a:lnTo>
                  <a:lnTo>
                    <a:pt x="1486" y="444"/>
                  </a:lnTo>
                  <a:lnTo>
                    <a:pt x="1426" y="486"/>
                  </a:lnTo>
                  <a:lnTo>
                    <a:pt x="1426" y="512"/>
                  </a:lnTo>
                  <a:lnTo>
                    <a:pt x="1404" y="534"/>
                  </a:lnTo>
                  <a:lnTo>
                    <a:pt x="1378" y="464"/>
                  </a:lnTo>
                  <a:lnTo>
                    <a:pt x="1346" y="426"/>
                  </a:lnTo>
                  <a:lnTo>
                    <a:pt x="1272" y="412"/>
                  </a:lnTo>
                  <a:lnTo>
                    <a:pt x="1250" y="394"/>
                  </a:lnTo>
                  <a:lnTo>
                    <a:pt x="1240" y="400"/>
                  </a:lnTo>
                  <a:lnTo>
                    <a:pt x="1256" y="438"/>
                  </a:lnTo>
                  <a:lnTo>
                    <a:pt x="1280" y="426"/>
                  </a:lnTo>
                  <a:lnTo>
                    <a:pt x="1312" y="450"/>
                  </a:lnTo>
                  <a:lnTo>
                    <a:pt x="1216" y="508"/>
                  </a:lnTo>
                  <a:lnTo>
                    <a:pt x="1168" y="410"/>
                  </a:lnTo>
                  <a:lnTo>
                    <a:pt x="1156" y="412"/>
                  </a:lnTo>
                  <a:lnTo>
                    <a:pt x="1208" y="528"/>
                  </a:lnTo>
                  <a:lnTo>
                    <a:pt x="1256" y="504"/>
                  </a:lnTo>
                  <a:lnTo>
                    <a:pt x="1242" y="558"/>
                  </a:lnTo>
                  <a:lnTo>
                    <a:pt x="1192" y="602"/>
                  </a:lnTo>
                  <a:lnTo>
                    <a:pt x="1200" y="670"/>
                  </a:lnTo>
                  <a:lnTo>
                    <a:pt x="1172" y="690"/>
                  </a:lnTo>
                  <a:lnTo>
                    <a:pt x="1120" y="786"/>
                  </a:lnTo>
                  <a:lnTo>
                    <a:pt x="1070" y="796"/>
                  </a:lnTo>
                  <a:lnTo>
                    <a:pt x="1026" y="688"/>
                  </a:lnTo>
                  <a:lnTo>
                    <a:pt x="1036" y="638"/>
                  </a:lnTo>
                  <a:lnTo>
                    <a:pt x="1008" y="552"/>
                  </a:lnTo>
                  <a:lnTo>
                    <a:pt x="914" y="558"/>
                  </a:lnTo>
                  <a:lnTo>
                    <a:pt x="862" y="508"/>
                  </a:lnTo>
                  <a:lnTo>
                    <a:pt x="870" y="424"/>
                  </a:lnTo>
                  <a:lnTo>
                    <a:pt x="922" y="362"/>
                  </a:lnTo>
                  <a:lnTo>
                    <a:pt x="1020" y="344"/>
                  </a:lnTo>
                  <a:lnTo>
                    <a:pt x="1026" y="372"/>
                  </a:lnTo>
                  <a:lnTo>
                    <a:pt x="1066" y="398"/>
                  </a:lnTo>
                  <a:lnTo>
                    <a:pt x="1082" y="376"/>
                  </a:lnTo>
                  <a:lnTo>
                    <a:pt x="1144" y="392"/>
                  </a:lnTo>
                  <a:lnTo>
                    <a:pt x="1160" y="382"/>
                  </a:lnTo>
                  <a:lnTo>
                    <a:pt x="1166" y="358"/>
                  </a:lnTo>
                  <a:lnTo>
                    <a:pt x="1124" y="352"/>
                  </a:lnTo>
                  <a:lnTo>
                    <a:pt x="1110" y="328"/>
                  </a:lnTo>
                  <a:lnTo>
                    <a:pt x="1100" y="322"/>
                  </a:lnTo>
                  <a:lnTo>
                    <a:pt x="1092" y="352"/>
                  </a:lnTo>
                  <a:lnTo>
                    <a:pt x="1072" y="330"/>
                  </a:lnTo>
                  <a:lnTo>
                    <a:pt x="1074" y="310"/>
                  </a:lnTo>
                  <a:lnTo>
                    <a:pt x="1048" y="290"/>
                  </a:lnTo>
                  <a:lnTo>
                    <a:pt x="1034" y="282"/>
                  </a:lnTo>
                  <a:lnTo>
                    <a:pt x="1036" y="302"/>
                  </a:lnTo>
                  <a:lnTo>
                    <a:pt x="1066" y="322"/>
                  </a:lnTo>
                  <a:lnTo>
                    <a:pt x="1050" y="342"/>
                  </a:lnTo>
                  <a:lnTo>
                    <a:pt x="1028" y="312"/>
                  </a:lnTo>
                  <a:lnTo>
                    <a:pt x="1012" y="292"/>
                  </a:lnTo>
                  <a:lnTo>
                    <a:pt x="974" y="312"/>
                  </a:lnTo>
                  <a:lnTo>
                    <a:pt x="948" y="354"/>
                  </a:lnTo>
                  <a:lnTo>
                    <a:pt x="908" y="346"/>
                  </a:lnTo>
                  <a:lnTo>
                    <a:pt x="906" y="296"/>
                  </a:lnTo>
                  <a:lnTo>
                    <a:pt x="956" y="300"/>
                  </a:lnTo>
                  <a:lnTo>
                    <a:pt x="940" y="274"/>
                  </a:lnTo>
                  <a:lnTo>
                    <a:pt x="930" y="252"/>
                  </a:lnTo>
                  <a:lnTo>
                    <a:pt x="968" y="240"/>
                  </a:lnTo>
                  <a:lnTo>
                    <a:pt x="990" y="212"/>
                  </a:lnTo>
                  <a:lnTo>
                    <a:pt x="1008" y="210"/>
                  </a:lnTo>
                  <a:lnTo>
                    <a:pt x="1004" y="194"/>
                  </a:lnTo>
                  <a:lnTo>
                    <a:pt x="1016" y="180"/>
                  </a:lnTo>
                  <a:lnTo>
                    <a:pt x="1024" y="204"/>
                  </a:lnTo>
                  <a:lnTo>
                    <a:pt x="1072" y="206"/>
                  </a:lnTo>
                  <a:lnTo>
                    <a:pt x="1086" y="170"/>
                  </a:lnTo>
                  <a:lnTo>
                    <a:pt x="1106" y="176"/>
                  </a:lnTo>
                  <a:lnTo>
                    <a:pt x="1098" y="152"/>
                  </a:lnTo>
                  <a:lnTo>
                    <a:pt x="1128" y="144"/>
                  </a:lnTo>
                  <a:lnTo>
                    <a:pt x="1118" y="132"/>
                  </a:lnTo>
                  <a:lnTo>
                    <a:pt x="1092" y="140"/>
                  </a:lnTo>
                  <a:lnTo>
                    <a:pt x="1084" y="118"/>
                  </a:lnTo>
                  <a:lnTo>
                    <a:pt x="1082" y="118"/>
                  </a:lnTo>
                  <a:lnTo>
                    <a:pt x="1082" y="116"/>
                  </a:lnTo>
                  <a:lnTo>
                    <a:pt x="1080" y="106"/>
                  </a:lnTo>
                  <a:lnTo>
                    <a:pt x="1090" y="100"/>
                  </a:lnTo>
                  <a:lnTo>
                    <a:pt x="1098" y="76"/>
                  </a:lnTo>
                  <a:lnTo>
                    <a:pt x="1090" y="74"/>
                  </a:lnTo>
                  <a:lnTo>
                    <a:pt x="1072" y="94"/>
                  </a:lnTo>
                  <a:lnTo>
                    <a:pt x="1060" y="124"/>
                  </a:lnTo>
                  <a:lnTo>
                    <a:pt x="1074" y="140"/>
                  </a:lnTo>
                  <a:lnTo>
                    <a:pt x="1060" y="180"/>
                  </a:lnTo>
                  <a:lnTo>
                    <a:pt x="1036" y="190"/>
                  </a:lnTo>
                  <a:lnTo>
                    <a:pt x="1024" y="150"/>
                  </a:lnTo>
                  <a:lnTo>
                    <a:pt x="998" y="164"/>
                  </a:lnTo>
                  <a:lnTo>
                    <a:pt x="986" y="156"/>
                  </a:lnTo>
                  <a:lnTo>
                    <a:pt x="986" y="118"/>
                  </a:lnTo>
                  <a:lnTo>
                    <a:pt x="1010" y="100"/>
                  </a:lnTo>
                  <a:lnTo>
                    <a:pt x="1028" y="54"/>
                  </a:lnTo>
                  <a:lnTo>
                    <a:pt x="1076" y="28"/>
                  </a:lnTo>
                  <a:lnTo>
                    <a:pt x="1194" y="50"/>
                  </a:lnTo>
                  <a:lnTo>
                    <a:pt x="1194" y="50"/>
                  </a:lnTo>
                  <a:lnTo>
                    <a:pt x="1580" y="10"/>
                  </a:lnTo>
                  <a:lnTo>
                    <a:pt x="1990" y="68"/>
                  </a:lnTo>
                  <a:lnTo>
                    <a:pt x="2004" y="110"/>
                  </a:lnTo>
                  <a:lnTo>
                    <a:pt x="1948" y="142"/>
                  </a:lnTo>
                  <a:lnTo>
                    <a:pt x="1908" y="150"/>
                  </a:lnTo>
                  <a:close/>
                  <a:moveTo>
                    <a:pt x="1204" y="306"/>
                  </a:moveTo>
                  <a:lnTo>
                    <a:pt x="1138" y="272"/>
                  </a:lnTo>
                  <a:lnTo>
                    <a:pt x="1120" y="308"/>
                  </a:lnTo>
                  <a:lnTo>
                    <a:pt x="1128" y="324"/>
                  </a:lnTo>
                  <a:lnTo>
                    <a:pt x="1166" y="318"/>
                  </a:lnTo>
                  <a:lnTo>
                    <a:pt x="1192" y="326"/>
                  </a:lnTo>
                  <a:lnTo>
                    <a:pt x="1204" y="306"/>
                  </a:lnTo>
                  <a:close/>
                  <a:moveTo>
                    <a:pt x="1272" y="350"/>
                  </a:moveTo>
                  <a:lnTo>
                    <a:pt x="1266" y="310"/>
                  </a:lnTo>
                  <a:lnTo>
                    <a:pt x="1254" y="292"/>
                  </a:lnTo>
                  <a:lnTo>
                    <a:pt x="1270" y="286"/>
                  </a:lnTo>
                  <a:lnTo>
                    <a:pt x="1270" y="266"/>
                  </a:lnTo>
                  <a:lnTo>
                    <a:pt x="1230" y="288"/>
                  </a:lnTo>
                  <a:lnTo>
                    <a:pt x="1244" y="322"/>
                  </a:lnTo>
                  <a:lnTo>
                    <a:pt x="1238" y="346"/>
                  </a:lnTo>
                  <a:lnTo>
                    <a:pt x="1272" y="350"/>
                  </a:lnTo>
                  <a:close/>
                  <a:moveTo>
                    <a:pt x="712" y="46"/>
                  </a:moveTo>
                  <a:lnTo>
                    <a:pt x="678" y="36"/>
                  </a:lnTo>
                  <a:lnTo>
                    <a:pt x="634" y="82"/>
                  </a:lnTo>
                  <a:lnTo>
                    <a:pt x="690" y="226"/>
                  </a:lnTo>
                  <a:lnTo>
                    <a:pt x="716" y="232"/>
                  </a:lnTo>
                  <a:lnTo>
                    <a:pt x="718" y="186"/>
                  </a:lnTo>
                  <a:lnTo>
                    <a:pt x="736" y="174"/>
                  </a:lnTo>
                  <a:lnTo>
                    <a:pt x="738" y="156"/>
                  </a:lnTo>
                  <a:lnTo>
                    <a:pt x="756" y="122"/>
                  </a:lnTo>
                  <a:lnTo>
                    <a:pt x="742" y="96"/>
                  </a:lnTo>
                  <a:lnTo>
                    <a:pt x="712" y="46"/>
                  </a:lnTo>
                  <a:close/>
                </a:path>
              </a:pathLst>
            </a:custGeom>
            <a:solidFill>
              <a:srgbClr val="FFFFFF">
                <a:lumMod val="75000"/>
              </a:srgbClr>
            </a:solidFill>
            <a:ln>
              <a:noFill/>
            </a:ln>
            <a:scene3d>
              <a:camera prst="orthographicFront">
                <a:rot lat="0" lon="1200000" rev="0"/>
              </a:camera>
              <a:lightRig rig="threePt" dir="t"/>
            </a:scene3d>
          </p:spPr>
          <p:txBody>
            <a:bodyPr vert="horz" wrap="square" lIns="91440" tIns="45720" rIns="91440" bIns="45720" numCol="1" anchor="t" anchorCtr="0" compatLnSpc="1">
              <a:prstTxWarp prst="textNoShape">
                <a:avLst/>
              </a:prstTxWarp>
            </a:bodyPr>
            <a:lstStyle/>
            <a:p>
              <a:pPr>
                <a:defRPr/>
              </a:pPr>
              <a:endParaRPr lang="en-US" kern="0" dirty="0">
                <a:solidFill>
                  <a:srgbClr val="676767"/>
                </a:solidFill>
                <a:latin typeface="メイリオ"/>
                <a:ea typeface="メイリオ"/>
                <a:cs typeface="メイリオ"/>
              </a:endParaRPr>
            </a:p>
          </p:txBody>
        </p:sp>
      </p:grpSp>
      <p:sp>
        <p:nvSpPr>
          <p:cNvPr id="21" name="Rectangle 20"/>
          <p:cNvSpPr/>
          <p:nvPr/>
        </p:nvSpPr>
        <p:spPr>
          <a:xfrm>
            <a:off x="1656543" y="3094545"/>
            <a:ext cx="813908" cy="540536"/>
          </a:xfrm>
          <a:prstGeom prst="rect">
            <a:avLst/>
          </a:prstGeom>
          <a:solidFill>
            <a:srgbClr val="FFFFFF"/>
          </a:solidFill>
          <a:ln w="25400" cap="flat" cmpd="sng" algn="ctr">
            <a:noFill/>
            <a:prstDash val="solid"/>
          </a:ln>
          <a:effectLst/>
        </p:spPr>
        <p:txBody>
          <a:bodyPr lIns="68580" tIns="34290" rIns="68580" bIns="34290" rtlCol="0" anchor="ctr"/>
          <a:lstStyle/>
          <a:p>
            <a:pPr algn="ctr">
              <a:defRPr/>
            </a:pPr>
            <a:endParaRPr lang="en-US" kern="0" dirty="0">
              <a:solidFill>
                <a:srgbClr val="FFFFFF"/>
              </a:solidFill>
              <a:latin typeface="メイリオ"/>
              <a:ea typeface="メイリオ"/>
              <a:cs typeface="メイリオ"/>
            </a:endParaRPr>
          </a:p>
        </p:txBody>
      </p:sp>
      <p:sp>
        <p:nvSpPr>
          <p:cNvPr id="22" name="Rectangle 21"/>
          <p:cNvSpPr/>
          <p:nvPr/>
        </p:nvSpPr>
        <p:spPr>
          <a:xfrm>
            <a:off x="2028518" y="3216307"/>
            <a:ext cx="414612" cy="315405"/>
          </a:xfrm>
          <a:prstGeom prst="rect">
            <a:avLst/>
          </a:prstGeom>
          <a:solidFill>
            <a:srgbClr val="FFFFFF"/>
          </a:solidFill>
          <a:ln w="28575" cap="flat" cmpd="sng" algn="ctr">
            <a:solidFill>
              <a:schemeClr val="bg1">
                <a:lumMod val="95000"/>
              </a:schemeClr>
            </a:solidFill>
            <a:prstDash val="solid"/>
          </a:ln>
          <a:effectLst/>
        </p:spPr>
        <p:txBody>
          <a:bodyPr lIns="68580" tIns="34290" rIns="68580" bIns="34290" rtlCol="0" anchor="ctr"/>
          <a:lstStyle/>
          <a:p>
            <a:pPr algn="ctr">
              <a:defRPr/>
            </a:pPr>
            <a:endParaRPr lang="en-US" kern="0" dirty="0">
              <a:solidFill>
                <a:srgbClr val="FFFFFF"/>
              </a:solidFill>
              <a:latin typeface="メイリオ"/>
              <a:ea typeface="メイリオ"/>
              <a:cs typeface="メイリオ"/>
            </a:endParaRPr>
          </a:p>
        </p:txBody>
      </p:sp>
      <p:sp>
        <p:nvSpPr>
          <p:cNvPr id="23" name="Rectangle 22"/>
          <p:cNvSpPr/>
          <p:nvPr/>
        </p:nvSpPr>
        <p:spPr>
          <a:xfrm>
            <a:off x="1656544" y="3094545"/>
            <a:ext cx="338468" cy="540536"/>
          </a:xfrm>
          <a:prstGeom prst="rect">
            <a:avLst/>
          </a:prstGeom>
          <a:solidFill>
            <a:srgbClr val="FFFFFF">
              <a:lumMod val="95000"/>
            </a:srgbClr>
          </a:solidFill>
          <a:ln w="25400" cap="flat" cmpd="sng" algn="ctr">
            <a:noFill/>
            <a:prstDash val="solid"/>
          </a:ln>
          <a:effectLst/>
        </p:spPr>
        <p:txBody>
          <a:bodyPr lIns="68580" tIns="34290" rIns="68580" bIns="34290" rtlCol="0" anchor="ctr"/>
          <a:lstStyle/>
          <a:p>
            <a:pPr algn="ctr">
              <a:defRPr/>
            </a:pPr>
            <a:endParaRPr lang="en-US" kern="0" dirty="0">
              <a:solidFill>
                <a:srgbClr val="FFFFFF"/>
              </a:solidFill>
              <a:latin typeface="メイリオ"/>
              <a:ea typeface="メイリオ"/>
              <a:cs typeface="メイリオ"/>
            </a:endParaRPr>
          </a:p>
        </p:txBody>
      </p:sp>
      <p:sp>
        <p:nvSpPr>
          <p:cNvPr id="24" name="Freeform 88"/>
          <p:cNvSpPr>
            <a:spLocks/>
          </p:cNvSpPr>
          <p:nvPr/>
        </p:nvSpPr>
        <p:spPr bwMode="auto">
          <a:xfrm>
            <a:off x="697222" y="3036971"/>
            <a:ext cx="844823" cy="705862"/>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Lst>
            <a:ahLst/>
            <a:cxnLst>
              <a:cxn ang="0">
                <a:pos x="T0" y="T1"/>
              </a:cxn>
              <a:cxn ang="0">
                <a:pos x="T2" y="T3"/>
              </a:cxn>
              <a:cxn ang="0">
                <a:pos x="T4" y="T5"/>
              </a:cxn>
              <a:cxn ang="0">
                <a:pos x="T6" y="T7"/>
              </a:cxn>
              <a:cxn ang="0">
                <a:pos x="T8" y="T9"/>
              </a:cxn>
            </a:cxnLst>
            <a:rect l="0" t="0" r="r" b="b"/>
            <a:pathLst>
              <a:path w="349" h="252">
                <a:moveTo>
                  <a:pt x="349" y="222"/>
                </a:moveTo>
                <a:lnTo>
                  <a:pt x="0" y="252"/>
                </a:lnTo>
                <a:lnTo>
                  <a:pt x="0" y="0"/>
                </a:lnTo>
                <a:lnTo>
                  <a:pt x="349" y="19"/>
                </a:lnTo>
                <a:lnTo>
                  <a:pt x="349" y="222"/>
                </a:ln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bodyPr>
          <a:lstStyle/>
          <a:p>
            <a:pPr defTabSz="342900">
              <a:defRPr/>
            </a:pPr>
            <a:endParaRPr lang="en-US" kern="0">
              <a:solidFill>
                <a:srgbClr val="676767"/>
              </a:solidFill>
              <a:latin typeface="メイリオ"/>
              <a:ea typeface="メイリオ"/>
              <a:cs typeface="メイリオ"/>
            </a:endParaRPr>
          </a:p>
        </p:txBody>
      </p:sp>
      <p:grpSp>
        <p:nvGrpSpPr>
          <p:cNvPr id="25" name="Group 24"/>
          <p:cNvGrpSpPr/>
          <p:nvPr/>
        </p:nvGrpSpPr>
        <p:grpSpPr>
          <a:xfrm>
            <a:off x="1231747" y="3297182"/>
            <a:ext cx="216250" cy="208180"/>
            <a:chOff x="3174479" y="1965278"/>
            <a:chExt cx="956216" cy="804686"/>
          </a:xfrm>
        </p:grpSpPr>
        <p:sp>
          <p:nvSpPr>
            <p:cNvPr id="26" name="Freeform 6"/>
            <p:cNvSpPr>
              <a:spLocks/>
            </p:cNvSpPr>
            <p:nvPr/>
          </p:nvSpPr>
          <p:spPr bwMode="auto">
            <a:xfrm>
              <a:off x="3924701" y="2486958"/>
              <a:ext cx="105383" cy="142192"/>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27" name="Freeform 26"/>
            <p:cNvSpPr>
              <a:spLocks/>
            </p:cNvSpPr>
            <p:nvPr/>
          </p:nvSpPr>
          <p:spPr bwMode="auto">
            <a:xfrm>
              <a:off x="3588809" y="2229380"/>
              <a:ext cx="108483" cy="414757"/>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28" name="Freeform 27"/>
            <p:cNvSpPr>
              <a:spLocks/>
            </p:cNvSpPr>
            <p:nvPr/>
          </p:nvSpPr>
          <p:spPr bwMode="auto">
            <a:xfrm>
              <a:off x="3249816" y="2053309"/>
              <a:ext cx="108483" cy="603319"/>
            </a:xfrm>
            <a:custGeom>
              <a:avLst/>
              <a:gdLst>
                <a:gd name="T0" fmla="*/ 0 w 416"/>
                <a:gd name="T1" fmla="*/ 1876 h 1876"/>
                <a:gd name="T2" fmla="*/ 416 w 416"/>
                <a:gd name="T3" fmla="*/ 1855 h 1876"/>
                <a:gd name="T4" fmla="*/ 416 w 416"/>
                <a:gd name="T5" fmla="*/ 19 h 1876"/>
                <a:gd name="T6" fmla="*/ 0 w 416"/>
                <a:gd name="T7" fmla="*/ 0 h 1876"/>
                <a:gd name="T8" fmla="*/ 0 w 416"/>
                <a:gd name="T9" fmla="*/ 1876 h 1876"/>
              </a:gdLst>
              <a:ahLst/>
              <a:cxnLst>
                <a:cxn ang="0">
                  <a:pos x="T0" y="T1"/>
                </a:cxn>
                <a:cxn ang="0">
                  <a:pos x="T2" y="T3"/>
                </a:cxn>
                <a:cxn ang="0">
                  <a:pos x="T4" y="T5"/>
                </a:cxn>
                <a:cxn ang="0">
                  <a:pos x="T6" y="T7"/>
                </a:cxn>
                <a:cxn ang="0">
                  <a:pos x="T8" y="T9"/>
                </a:cxn>
              </a:cxnLst>
              <a:rect l="0" t="0" r="r" b="b"/>
              <a:pathLst>
                <a:path w="416" h="1876">
                  <a:moveTo>
                    <a:pt x="0" y="1876"/>
                  </a:moveTo>
                  <a:lnTo>
                    <a:pt x="416" y="1855"/>
                  </a:lnTo>
                  <a:lnTo>
                    <a:pt x="416" y="19"/>
                  </a:lnTo>
                  <a:lnTo>
                    <a:pt x="0" y="0"/>
                  </a:lnTo>
                  <a:lnTo>
                    <a:pt x="0" y="1876"/>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29" name="Freeform 28"/>
            <p:cNvSpPr>
              <a:spLocks/>
            </p:cNvSpPr>
            <p:nvPr/>
          </p:nvSpPr>
          <p:spPr bwMode="auto">
            <a:xfrm>
              <a:off x="3174479" y="2662312"/>
              <a:ext cx="956216" cy="107652"/>
            </a:xfrm>
            <a:custGeom>
              <a:avLst/>
              <a:gdLst>
                <a:gd name="T0" fmla="*/ 1648 w 1705"/>
                <a:gd name="T1" fmla="*/ 0 h 256"/>
                <a:gd name="T2" fmla="*/ 57 w 1705"/>
                <a:gd name="T3" fmla="*/ 91 h 256"/>
                <a:gd name="T4" fmla="*/ 57 w 1705"/>
                <a:gd name="T5" fmla="*/ 91 h 256"/>
                <a:gd name="T6" fmla="*/ 51 w 1705"/>
                <a:gd name="T7" fmla="*/ 92 h 256"/>
                <a:gd name="T8" fmla="*/ 46 w 1705"/>
                <a:gd name="T9" fmla="*/ 93 h 256"/>
                <a:gd name="T10" fmla="*/ 40 w 1705"/>
                <a:gd name="T11" fmla="*/ 96 h 256"/>
                <a:gd name="T12" fmla="*/ 35 w 1705"/>
                <a:gd name="T13" fmla="*/ 99 h 256"/>
                <a:gd name="T14" fmla="*/ 30 w 1705"/>
                <a:gd name="T15" fmla="*/ 102 h 256"/>
                <a:gd name="T16" fmla="*/ 26 w 1705"/>
                <a:gd name="T17" fmla="*/ 107 h 256"/>
                <a:gd name="T18" fmla="*/ 21 w 1705"/>
                <a:gd name="T19" fmla="*/ 112 h 256"/>
                <a:gd name="T20" fmla="*/ 17 w 1705"/>
                <a:gd name="T21" fmla="*/ 117 h 256"/>
                <a:gd name="T22" fmla="*/ 10 w 1705"/>
                <a:gd name="T23" fmla="*/ 130 h 256"/>
                <a:gd name="T24" fmla="*/ 5 w 1705"/>
                <a:gd name="T25" fmla="*/ 145 h 256"/>
                <a:gd name="T26" fmla="*/ 2 w 1705"/>
                <a:gd name="T27" fmla="*/ 160 h 256"/>
                <a:gd name="T28" fmla="*/ 0 w 1705"/>
                <a:gd name="T29" fmla="*/ 177 h 256"/>
                <a:gd name="T30" fmla="*/ 0 w 1705"/>
                <a:gd name="T31" fmla="*/ 177 h 256"/>
                <a:gd name="T32" fmla="*/ 2 w 1705"/>
                <a:gd name="T33" fmla="*/ 194 h 256"/>
                <a:gd name="T34" fmla="*/ 5 w 1705"/>
                <a:gd name="T35" fmla="*/ 209 h 256"/>
                <a:gd name="T36" fmla="*/ 10 w 1705"/>
                <a:gd name="T37" fmla="*/ 223 h 256"/>
                <a:gd name="T38" fmla="*/ 13 w 1705"/>
                <a:gd name="T39" fmla="*/ 229 h 256"/>
                <a:gd name="T40" fmla="*/ 17 w 1705"/>
                <a:gd name="T41" fmla="*/ 235 h 256"/>
                <a:gd name="T42" fmla="*/ 21 w 1705"/>
                <a:gd name="T43" fmla="*/ 240 h 256"/>
                <a:gd name="T44" fmla="*/ 26 w 1705"/>
                <a:gd name="T45" fmla="*/ 244 h 256"/>
                <a:gd name="T46" fmla="*/ 30 w 1705"/>
                <a:gd name="T47" fmla="*/ 248 h 256"/>
                <a:gd name="T48" fmla="*/ 35 w 1705"/>
                <a:gd name="T49" fmla="*/ 251 h 256"/>
                <a:gd name="T50" fmla="*/ 40 w 1705"/>
                <a:gd name="T51" fmla="*/ 254 h 256"/>
                <a:gd name="T52" fmla="*/ 46 w 1705"/>
                <a:gd name="T53" fmla="*/ 255 h 256"/>
                <a:gd name="T54" fmla="*/ 51 w 1705"/>
                <a:gd name="T55" fmla="*/ 256 h 256"/>
                <a:gd name="T56" fmla="*/ 57 w 1705"/>
                <a:gd name="T57" fmla="*/ 256 h 256"/>
                <a:gd name="T58" fmla="*/ 1648 w 1705"/>
                <a:gd name="T59" fmla="*/ 152 h 256"/>
                <a:gd name="T60" fmla="*/ 1648 w 1705"/>
                <a:gd name="T61" fmla="*/ 152 h 256"/>
                <a:gd name="T62" fmla="*/ 1654 w 1705"/>
                <a:gd name="T63" fmla="*/ 151 h 256"/>
                <a:gd name="T64" fmla="*/ 1660 w 1705"/>
                <a:gd name="T65" fmla="*/ 150 h 256"/>
                <a:gd name="T66" fmla="*/ 1665 w 1705"/>
                <a:gd name="T67" fmla="*/ 147 h 256"/>
                <a:gd name="T68" fmla="*/ 1671 w 1705"/>
                <a:gd name="T69" fmla="*/ 145 h 256"/>
                <a:gd name="T70" fmla="*/ 1675 w 1705"/>
                <a:gd name="T71" fmla="*/ 141 h 256"/>
                <a:gd name="T72" fmla="*/ 1680 w 1705"/>
                <a:gd name="T73" fmla="*/ 137 h 256"/>
                <a:gd name="T74" fmla="*/ 1689 w 1705"/>
                <a:gd name="T75" fmla="*/ 127 h 256"/>
                <a:gd name="T76" fmla="*/ 1695 w 1705"/>
                <a:gd name="T77" fmla="*/ 115 h 256"/>
                <a:gd name="T78" fmla="*/ 1701 w 1705"/>
                <a:gd name="T79" fmla="*/ 102 h 256"/>
                <a:gd name="T80" fmla="*/ 1704 w 1705"/>
                <a:gd name="T81" fmla="*/ 88 h 256"/>
                <a:gd name="T82" fmla="*/ 1705 w 1705"/>
                <a:gd name="T83" fmla="*/ 72 h 256"/>
                <a:gd name="T84" fmla="*/ 1705 w 1705"/>
                <a:gd name="T85" fmla="*/ 72 h 256"/>
                <a:gd name="T86" fmla="*/ 1704 w 1705"/>
                <a:gd name="T87" fmla="*/ 57 h 256"/>
                <a:gd name="T88" fmla="*/ 1701 w 1705"/>
                <a:gd name="T89" fmla="*/ 43 h 256"/>
                <a:gd name="T90" fmla="*/ 1695 w 1705"/>
                <a:gd name="T91" fmla="*/ 30 h 256"/>
                <a:gd name="T92" fmla="*/ 1689 w 1705"/>
                <a:gd name="T93" fmla="*/ 20 h 256"/>
                <a:gd name="T94" fmla="*/ 1685 w 1705"/>
                <a:gd name="T95" fmla="*/ 15 h 256"/>
                <a:gd name="T96" fmla="*/ 1680 w 1705"/>
                <a:gd name="T97" fmla="*/ 11 h 256"/>
                <a:gd name="T98" fmla="*/ 1675 w 1705"/>
                <a:gd name="T99" fmla="*/ 7 h 256"/>
                <a:gd name="T100" fmla="*/ 1671 w 1705"/>
                <a:gd name="T101" fmla="*/ 4 h 256"/>
                <a:gd name="T102" fmla="*/ 1665 w 1705"/>
                <a:gd name="T103" fmla="*/ 2 h 256"/>
                <a:gd name="T104" fmla="*/ 1660 w 1705"/>
                <a:gd name="T105" fmla="*/ 0 h 256"/>
                <a:gd name="T106" fmla="*/ 1654 w 1705"/>
                <a:gd name="T107" fmla="*/ 0 h 256"/>
                <a:gd name="T108" fmla="*/ 1648 w 1705"/>
                <a:gd name="T109" fmla="*/ 0 h 256"/>
                <a:gd name="T110" fmla="*/ 1648 w 1705"/>
                <a:gd name="T11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5" h="256">
                  <a:moveTo>
                    <a:pt x="1648" y="0"/>
                  </a:moveTo>
                  <a:lnTo>
                    <a:pt x="57" y="91"/>
                  </a:lnTo>
                  <a:lnTo>
                    <a:pt x="57" y="91"/>
                  </a:lnTo>
                  <a:lnTo>
                    <a:pt x="51" y="92"/>
                  </a:lnTo>
                  <a:lnTo>
                    <a:pt x="46" y="93"/>
                  </a:lnTo>
                  <a:lnTo>
                    <a:pt x="40" y="96"/>
                  </a:lnTo>
                  <a:lnTo>
                    <a:pt x="35" y="99"/>
                  </a:lnTo>
                  <a:lnTo>
                    <a:pt x="30" y="102"/>
                  </a:lnTo>
                  <a:lnTo>
                    <a:pt x="26" y="107"/>
                  </a:lnTo>
                  <a:lnTo>
                    <a:pt x="21" y="112"/>
                  </a:lnTo>
                  <a:lnTo>
                    <a:pt x="17" y="117"/>
                  </a:lnTo>
                  <a:lnTo>
                    <a:pt x="10" y="130"/>
                  </a:lnTo>
                  <a:lnTo>
                    <a:pt x="5" y="145"/>
                  </a:lnTo>
                  <a:lnTo>
                    <a:pt x="2" y="160"/>
                  </a:lnTo>
                  <a:lnTo>
                    <a:pt x="0" y="177"/>
                  </a:lnTo>
                  <a:lnTo>
                    <a:pt x="0" y="177"/>
                  </a:lnTo>
                  <a:lnTo>
                    <a:pt x="2" y="194"/>
                  </a:lnTo>
                  <a:lnTo>
                    <a:pt x="5" y="209"/>
                  </a:lnTo>
                  <a:lnTo>
                    <a:pt x="10" y="223"/>
                  </a:lnTo>
                  <a:lnTo>
                    <a:pt x="13" y="229"/>
                  </a:lnTo>
                  <a:lnTo>
                    <a:pt x="17" y="235"/>
                  </a:lnTo>
                  <a:lnTo>
                    <a:pt x="21" y="240"/>
                  </a:lnTo>
                  <a:lnTo>
                    <a:pt x="26" y="244"/>
                  </a:lnTo>
                  <a:lnTo>
                    <a:pt x="30" y="248"/>
                  </a:lnTo>
                  <a:lnTo>
                    <a:pt x="35" y="251"/>
                  </a:lnTo>
                  <a:lnTo>
                    <a:pt x="40" y="254"/>
                  </a:lnTo>
                  <a:lnTo>
                    <a:pt x="46" y="255"/>
                  </a:lnTo>
                  <a:lnTo>
                    <a:pt x="51" y="256"/>
                  </a:lnTo>
                  <a:lnTo>
                    <a:pt x="57" y="256"/>
                  </a:lnTo>
                  <a:lnTo>
                    <a:pt x="1648" y="152"/>
                  </a:lnTo>
                  <a:lnTo>
                    <a:pt x="1648" y="152"/>
                  </a:lnTo>
                  <a:lnTo>
                    <a:pt x="1654" y="151"/>
                  </a:lnTo>
                  <a:lnTo>
                    <a:pt x="1660" y="150"/>
                  </a:lnTo>
                  <a:lnTo>
                    <a:pt x="1665" y="147"/>
                  </a:lnTo>
                  <a:lnTo>
                    <a:pt x="1671" y="145"/>
                  </a:lnTo>
                  <a:lnTo>
                    <a:pt x="1675" y="141"/>
                  </a:lnTo>
                  <a:lnTo>
                    <a:pt x="1680" y="137"/>
                  </a:lnTo>
                  <a:lnTo>
                    <a:pt x="1689" y="127"/>
                  </a:lnTo>
                  <a:lnTo>
                    <a:pt x="1695" y="115"/>
                  </a:lnTo>
                  <a:lnTo>
                    <a:pt x="1701" y="102"/>
                  </a:lnTo>
                  <a:lnTo>
                    <a:pt x="1704" y="88"/>
                  </a:lnTo>
                  <a:lnTo>
                    <a:pt x="1705" y="72"/>
                  </a:lnTo>
                  <a:lnTo>
                    <a:pt x="1705" y="72"/>
                  </a:lnTo>
                  <a:lnTo>
                    <a:pt x="1704" y="57"/>
                  </a:lnTo>
                  <a:lnTo>
                    <a:pt x="1701" y="43"/>
                  </a:lnTo>
                  <a:lnTo>
                    <a:pt x="1695" y="30"/>
                  </a:lnTo>
                  <a:lnTo>
                    <a:pt x="1689" y="20"/>
                  </a:lnTo>
                  <a:lnTo>
                    <a:pt x="1685" y="15"/>
                  </a:lnTo>
                  <a:lnTo>
                    <a:pt x="1680" y="11"/>
                  </a:lnTo>
                  <a:lnTo>
                    <a:pt x="1675" y="7"/>
                  </a:lnTo>
                  <a:lnTo>
                    <a:pt x="1671" y="4"/>
                  </a:lnTo>
                  <a:lnTo>
                    <a:pt x="1665" y="2"/>
                  </a:lnTo>
                  <a:lnTo>
                    <a:pt x="1660" y="0"/>
                  </a:lnTo>
                  <a:lnTo>
                    <a:pt x="1654" y="0"/>
                  </a:lnTo>
                  <a:lnTo>
                    <a:pt x="1648" y="0"/>
                  </a:lnTo>
                  <a:lnTo>
                    <a:pt x="164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30" name="Freeform 6"/>
            <p:cNvSpPr>
              <a:spLocks/>
            </p:cNvSpPr>
            <p:nvPr/>
          </p:nvSpPr>
          <p:spPr bwMode="auto">
            <a:xfrm>
              <a:off x="3758305" y="1965278"/>
              <a:ext cx="105383" cy="671367"/>
            </a:xfrm>
            <a:custGeom>
              <a:avLst/>
              <a:gdLst>
                <a:gd name="T0" fmla="*/ 0 w 417"/>
                <a:gd name="T1" fmla="*/ 1161 h 1161"/>
                <a:gd name="T2" fmla="*/ 417 w 417"/>
                <a:gd name="T3" fmla="*/ 1140 h 1161"/>
                <a:gd name="T4" fmla="*/ 417 w 417"/>
                <a:gd name="T5" fmla="*/ 3 h 1161"/>
                <a:gd name="T6" fmla="*/ 0 w 417"/>
                <a:gd name="T7" fmla="*/ 0 h 1161"/>
                <a:gd name="T8" fmla="*/ 0 w 417"/>
                <a:gd name="T9" fmla="*/ 1161 h 1161"/>
              </a:gdLst>
              <a:ahLst/>
              <a:cxnLst>
                <a:cxn ang="0">
                  <a:pos x="T0" y="T1"/>
                </a:cxn>
                <a:cxn ang="0">
                  <a:pos x="T2" y="T3"/>
                </a:cxn>
                <a:cxn ang="0">
                  <a:pos x="T4" y="T5"/>
                </a:cxn>
                <a:cxn ang="0">
                  <a:pos x="T6" y="T7"/>
                </a:cxn>
                <a:cxn ang="0">
                  <a:pos x="T8" y="T9"/>
                </a:cxn>
              </a:cxnLst>
              <a:rect l="0" t="0" r="r" b="b"/>
              <a:pathLst>
                <a:path w="417" h="1161">
                  <a:moveTo>
                    <a:pt x="0" y="1161"/>
                  </a:moveTo>
                  <a:lnTo>
                    <a:pt x="417" y="1140"/>
                  </a:lnTo>
                  <a:lnTo>
                    <a:pt x="417" y="3"/>
                  </a:lnTo>
                  <a:lnTo>
                    <a:pt x="0" y="0"/>
                  </a:lnTo>
                  <a:lnTo>
                    <a:pt x="0" y="116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31" name="Freeform 30"/>
            <p:cNvSpPr>
              <a:spLocks/>
            </p:cNvSpPr>
            <p:nvPr/>
          </p:nvSpPr>
          <p:spPr bwMode="auto">
            <a:xfrm>
              <a:off x="3419313" y="2405448"/>
              <a:ext cx="108483" cy="246184"/>
            </a:xfrm>
            <a:custGeom>
              <a:avLst/>
              <a:gdLst>
                <a:gd name="T0" fmla="*/ 0 w 417"/>
                <a:gd name="T1" fmla="*/ 1531 h 1531"/>
                <a:gd name="T2" fmla="*/ 417 w 417"/>
                <a:gd name="T3" fmla="*/ 1510 h 1531"/>
                <a:gd name="T4" fmla="*/ 417 w 417"/>
                <a:gd name="T5" fmla="*/ 12 h 1531"/>
                <a:gd name="T6" fmla="*/ 0 w 417"/>
                <a:gd name="T7" fmla="*/ 0 h 1531"/>
                <a:gd name="T8" fmla="*/ 0 w 417"/>
                <a:gd name="T9" fmla="*/ 1531 h 1531"/>
              </a:gdLst>
              <a:ahLst/>
              <a:cxnLst>
                <a:cxn ang="0">
                  <a:pos x="T0" y="T1"/>
                </a:cxn>
                <a:cxn ang="0">
                  <a:pos x="T2" y="T3"/>
                </a:cxn>
                <a:cxn ang="0">
                  <a:pos x="T4" y="T5"/>
                </a:cxn>
                <a:cxn ang="0">
                  <a:pos x="T6" y="T7"/>
                </a:cxn>
                <a:cxn ang="0">
                  <a:pos x="T8" y="T9"/>
                </a:cxn>
              </a:cxnLst>
              <a:rect l="0" t="0" r="r" b="b"/>
              <a:pathLst>
                <a:path w="417" h="1531">
                  <a:moveTo>
                    <a:pt x="0" y="1531"/>
                  </a:moveTo>
                  <a:lnTo>
                    <a:pt x="417" y="1510"/>
                  </a:lnTo>
                  <a:lnTo>
                    <a:pt x="417" y="12"/>
                  </a:lnTo>
                  <a:lnTo>
                    <a:pt x="0" y="0"/>
                  </a:lnTo>
                  <a:lnTo>
                    <a:pt x="0" y="1531"/>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grpSp>
      <p:sp>
        <p:nvSpPr>
          <p:cNvPr id="37" name="Freeform 36"/>
          <p:cNvSpPr/>
          <p:nvPr/>
        </p:nvSpPr>
        <p:spPr>
          <a:xfrm>
            <a:off x="695950" y="3033204"/>
            <a:ext cx="845881" cy="152350"/>
          </a:xfrm>
          <a:custGeom>
            <a:avLst/>
            <a:gdLst>
              <a:gd name="connsiteX0" fmla="*/ 0 w 1127841"/>
              <a:gd name="connsiteY0" fmla="*/ 0 h 220718"/>
              <a:gd name="connsiteX1" fmla="*/ 2425 w 1127841"/>
              <a:gd name="connsiteY1" fmla="*/ 157656 h 220718"/>
              <a:gd name="connsiteX2" fmla="*/ 1127841 w 1127841"/>
              <a:gd name="connsiteY2" fmla="*/ 220718 h 220718"/>
              <a:gd name="connsiteX3" fmla="*/ 1125415 w 1127841"/>
              <a:gd name="connsiteY3" fmla="*/ 72764 h 220718"/>
              <a:gd name="connsiteX4" fmla="*/ 0 w 1127841"/>
              <a:gd name="connsiteY4" fmla="*/ 0 h 220718"/>
              <a:gd name="connsiteX0" fmla="*/ 0 w 1129892"/>
              <a:gd name="connsiteY0" fmla="*/ 0 h 220718"/>
              <a:gd name="connsiteX1" fmla="*/ 2425 w 1129892"/>
              <a:gd name="connsiteY1" fmla="*/ 157656 h 220718"/>
              <a:gd name="connsiteX2" fmla="*/ 1127841 w 1129892"/>
              <a:gd name="connsiteY2" fmla="*/ 220718 h 220718"/>
              <a:gd name="connsiteX3" fmla="*/ 1129772 w 1129892"/>
              <a:gd name="connsiteY3" fmla="*/ 79726 h 220718"/>
              <a:gd name="connsiteX4" fmla="*/ 0 w 1129892"/>
              <a:gd name="connsiteY4" fmla="*/ 0 h 220718"/>
              <a:gd name="connsiteX0" fmla="*/ 0 w 1129616"/>
              <a:gd name="connsiteY0" fmla="*/ 0 h 220718"/>
              <a:gd name="connsiteX1" fmla="*/ 2425 w 1129616"/>
              <a:gd name="connsiteY1" fmla="*/ 157656 h 220718"/>
              <a:gd name="connsiteX2" fmla="*/ 1127841 w 1129616"/>
              <a:gd name="connsiteY2" fmla="*/ 220718 h 220718"/>
              <a:gd name="connsiteX3" fmla="*/ 1129486 w 1129616"/>
              <a:gd name="connsiteY3" fmla="*/ 75085 h 220718"/>
              <a:gd name="connsiteX4" fmla="*/ 0 w 1129616"/>
              <a:gd name="connsiteY4" fmla="*/ 0 h 220718"/>
              <a:gd name="connsiteX0" fmla="*/ 0 w 1129616"/>
              <a:gd name="connsiteY0" fmla="*/ 0 h 220718"/>
              <a:gd name="connsiteX1" fmla="*/ 2424 w 1129616"/>
              <a:gd name="connsiteY1" fmla="*/ 98504 h 220718"/>
              <a:gd name="connsiteX2" fmla="*/ 1127841 w 1129616"/>
              <a:gd name="connsiteY2" fmla="*/ 220718 h 220718"/>
              <a:gd name="connsiteX3" fmla="*/ 1129486 w 1129616"/>
              <a:gd name="connsiteY3" fmla="*/ 75085 h 220718"/>
              <a:gd name="connsiteX4" fmla="*/ 0 w 1129616"/>
              <a:gd name="connsiteY4" fmla="*/ 0 h 220718"/>
              <a:gd name="connsiteX0" fmla="*/ 0 w 1129606"/>
              <a:gd name="connsiteY0" fmla="*/ 0 h 168960"/>
              <a:gd name="connsiteX1" fmla="*/ 2424 w 1129606"/>
              <a:gd name="connsiteY1" fmla="*/ 98504 h 168960"/>
              <a:gd name="connsiteX2" fmla="*/ 1127556 w 1129606"/>
              <a:gd name="connsiteY2" fmla="*/ 168960 h 168960"/>
              <a:gd name="connsiteX3" fmla="*/ 1129486 w 1129606"/>
              <a:gd name="connsiteY3" fmla="*/ 75085 h 168960"/>
              <a:gd name="connsiteX4" fmla="*/ 0 w 1129606"/>
              <a:gd name="connsiteY4" fmla="*/ 0 h 168960"/>
              <a:gd name="connsiteX0" fmla="*/ 0 w 1127556"/>
              <a:gd name="connsiteY0" fmla="*/ 0 h 168960"/>
              <a:gd name="connsiteX1" fmla="*/ 2424 w 1127556"/>
              <a:gd name="connsiteY1" fmla="*/ 98504 h 168960"/>
              <a:gd name="connsiteX2" fmla="*/ 1127556 w 1127556"/>
              <a:gd name="connsiteY2" fmla="*/ 168960 h 168960"/>
              <a:gd name="connsiteX3" fmla="*/ 1123093 w 1127556"/>
              <a:gd name="connsiteY3" fmla="*/ 54406 h 168960"/>
              <a:gd name="connsiteX4" fmla="*/ 0 w 1127556"/>
              <a:gd name="connsiteY4" fmla="*/ 0 h 168960"/>
              <a:gd name="connsiteX0" fmla="*/ 0 w 1127556"/>
              <a:gd name="connsiteY0" fmla="*/ 0 h 145983"/>
              <a:gd name="connsiteX1" fmla="*/ 2424 w 1127556"/>
              <a:gd name="connsiteY1" fmla="*/ 98504 h 145983"/>
              <a:gd name="connsiteX2" fmla="*/ 1127556 w 1127556"/>
              <a:gd name="connsiteY2" fmla="*/ 145983 h 145983"/>
              <a:gd name="connsiteX3" fmla="*/ 1123093 w 1127556"/>
              <a:gd name="connsiteY3" fmla="*/ 54406 h 145983"/>
              <a:gd name="connsiteX4" fmla="*/ 0 w 1127556"/>
              <a:gd name="connsiteY4" fmla="*/ 0 h 145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556" h="145983">
                <a:moveTo>
                  <a:pt x="0" y="0"/>
                </a:moveTo>
                <a:cubicBezTo>
                  <a:pt x="808" y="52552"/>
                  <a:pt x="1616" y="45952"/>
                  <a:pt x="2424" y="98504"/>
                </a:cubicBezTo>
                <a:lnTo>
                  <a:pt x="1127556" y="145983"/>
                </a:lnTo>
                <a:cubicBezTo>
                  <a:pt x="1126747" y="96665"/>
                  <a:pt x="1123902" y="103724"/>
                  <a:pt x="1123093" y="54406"/>
                </a:cubicBezTo>
                <a:cubicBezTo>
                  <a:pt x="746598" y="29378"/>
                  <a:pt x="376495" y="25028"/>
                  <a:pt x="0" y="0"/>
                </a:cubicBezTo>
                <a:close/>
              </a:path>
            </a:pathLst>
          </a:cu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grpSp>
        <p:nvGrpSpPr>
          <p:cNvPr id="52" name="Group 51"/>
          <p:cNvGrpSpPr/>
          <p:nvPr/>
        </p:nvGrpSpPr>
        <p:grpSpPr>
          <a:xfrm>
            <a:off x="2071716" y="3294703"/>
            <a:ext cx="133141" cy="163464"/>
            <a:chOff x="3143089" y="4341908"/>
            <a:chExt cx="279112" cy="342681"/>
          </a:xfrm>
          <a:solidFill>
            <a:schemeClr val="accent2"/>
          </a:solidFill>
        </p:grpSpPr>
        <p:grpSp>
          <p:nvGrpSpPr>
            <p:cNvPr id="53" name="Group 52"/>
            <p:cNvGrpSpPr/>
            <p:nvPr/>
          </p:nvGrpSpPr>
          <p:grpSpPr>
            <a:xfrm>
              <a:off x="3143089" y="4341908"/>
              <a:ext cx="279112" cy="342681"/>
              <a:chOff x="2699358" y="419777"/>
              <a:chExt cx="1310785" cy="1503647"/>
            </a:xfrm>
            <a:grpFill/>
          </p:grpSpPr>
          <p:sp>
            <p:nvSpPr>
              <p:cNvPr id="59" name="Freeform 168"/>
              <p:cNvSpPr>
                <a:spLocks noEditPoints="1"/>
              </p:cNvSpPr>
              <p:nvPr/>
            </p:nvSpPr>
            <p:spPr bwMode="auto">
              <a:xfrm>
                <a:off x="2699358" y="419777"/>
                <a:ext cx="1310785" cy="1503647"/>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676767"/>
                  </a:solidFill>
                  <a:latin typeface="メイリオ"/>
                  <a:ea typeface="メイリオ"/>
                  <a:cs typeface="メイリオ"/>
                </a:endParaRPr>
              </a:p>
            </p:txBody>
          </p:sp>
          <p:sp>
            <p:nvSpPr>
              <p:cNvPr id="60" name="Rectangle 59"/>
              <p:cNvSpPr/>
              <p:nvPr/>
            </p:nvSpPr>
            <p:spPr>
              <a:xfrm>
                <a:off x="2699358" y="665015"/>
                <a:ext cx="96172" cy="1257756"/>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676767"/>
                  </a:solidFill>
                  <a:latin typeface="メイリオ"/>
                  <a:ea typeface="メイリオ"/>
                  <a:cs typeface="メイリオ"/>
                </a:endParaRPr>
              </a:p>
            </p:txBody>
          </p:sp>
          <p:sp>
            <p:nvSpPr>
              <p:cNvPr id="61" name="Rectangle 60"/>
              <p:cNvSpPr/>
              <p:nvPr/>
            </p:nvSpPr>
            <p:spPr>
              <a:xfrm rot="5400000">
                <a:off x="3185283" y="1340674"/>
                <a:ext cx="96172" cy="1068021"/>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676767"/>
                  </a:solidFill>
                  <a:latin typeface="メイリオ"/>
                  <a:ea typeface="メイリオ"/>
                  <a:cs typeface="メイリオ"/>
                </a:endParaRPr>
              </a:p>
            </p:txBody>
          </p:sp>
        </p:grpSp>
        <p:sp>
          <p:nvSpPr>
            <p:cNvPr id="54" name="Freeform 19"/>
            <p:cNvSpPr>
              <a:spLocks noChangeAspect="1" noEditPoints="1"/>
            </p:cNvSpPr>
            <p:nvPr/>
          </p:nvSpPr>
          <p:spPr bwMode="auto">
            <a:xfrm>
              <a:off x="3314777" y="4561009"/>
              <a:ext cx="66625" cy="74661"/>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FFFFFF"/>
                </a:solidFill>
                <a:latin typeface="メイリオ"/>
                <a:ea typeface="メイリオ"/>
                <a:cs typeface="メイリオ"/>
              </a:endParaRPr>
            </a:p>
          </p:txBody>
        </p:sp>
        <p:grpSp>
          <p:nvGrpSpPr>
            <p:cNvPr id="55" name="Group 54"/>
            <p:cNvGrpSpPr/>
            <p:nvPr/>
          </p:nvGrpSpPr>
          <p:grpSpPr>
            <a:xfrm>
              <a:off x="3197139" y="4441480"/>
              <a:ext cx="137160" cy="91608"/>
              <a:chOff x="3202179" y="4429260"/>
              <a:chExt cx="105327" cy="91608"/>
            </a:xfrm>
            <a:grpFill/>
          </p:grpSpPr>
          <p:sp>
            <p:nvSpPr>
              <p:cNvPr id="56" name="Rectangle 55"/>
              <p:cNvSpPr/>
              <p:nvPr/>
            </p:nvSpPr>
            <p:spPr>
              <a:xfrm>
                <a:off x="3202179" y="4468044"/>
                <a:ext cx="105327" cy="15408"/>
              </a:xfrm>
              <a:prstGeom prst="rect">
                <a:avLst/>
              </a:prstGeom>
              <a:grp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57" name="Rectangle 56"/>
              <p:cNvSpPr/>
              <p:nvPr/>
            </p:nvSpPr>
            <p:spPr>
              <a:xfrm>
                <a:off x="3202179" y="4429260"/>
                <a:ext cx="70218" cy="15408"/>
              </a:xfrm>
              <a:prstGeom prst="rect">
                <a:avLst/>
              </a:prstGeom>
              <a:grp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58" name="Rectangle 57"/>
              <p:cNvSpPr/>
              <p:nvPr/>
            </p:nvSpPr>
            <p:spPr>
              <a:xfrm>
                <a:off x="3202179" y="4505460"/>
                <a:ext cx="105327" cy="15408"/>
              </a:xfrm>
              <a:prstGeom prst="rect">
                <a:avLst/>
              </a:prstGeom>
              <a:grp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grpSp>
        <p:nvGrpSpPr>
          <p:cNvPr id="62" name="Group 61"/>
          <p:cNvGrpSpPr/>
          <p:nvPr/>
        </p:nvGrpSpPr>
        <p:grpSpPr>
          <a:xfrm>
            <a:off x="1680309" y="3275788"/>
            <a:ext cx="277492" cy="34289"/>
            <a:chOff x="2779884" y="4534729"/>
            <a:chExt cx="369989" cy="45719"/>
          </a:xfrm>
        </p:grpSpPr>
        <p:sp>
          <p:nvSpPr>
            <p:cNvPr id="63" name="Rectangle 62"/>
            <p:cNvSpPr/>
            <p:nvPr/>
          </p:nvSpPr>
          <p:spPr>
            <a:xfrm>
              <a:off x="2779884" y="4534729"/>
              <a:ext cx="369989" cy="45719"/>
            </a:xfrm>
            <a:prstGeom prst="rect">
              <a:avLst/>
            </a:prstGeom>
            <a:solidFill>
              <a:srgbClr val="A8D8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sp>
          <p:nvSpPr>
            <p:cNvPr id="64" name="Rectangle 63"/>
            <p:cNvSpPr/>
            <p:nvPr/>
          </p:nvSpPr>
          <p:spPr>
            <a:xfrm>
              <a:off x="2779886" y="4534729"/>
              <a:ext cx="134366" cy="45719"/>
            </a:xfrm>
            <a:prstGeom prst="rect">
              <a:avLst/>
            </a:prstGeom>
            <a:solidFill>
              <a:schemeClr val="accent2"/>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nvGrpSpPr>
          <p:cNvPr id="65" name="Group 64"/>
          <p:cNvGrpSpPr/>
          <p:nvPr/>
        </p:nvGrpSpPr>
        <p:grpSpPr>
          <a:xfrm>
            <a:off x="1680309" y="3346915"/>
            <a:ext cx="277492" cy="34289"/>
            <a:chOff x="2779884" y="4606330"/>
            <a:chExt cx="369989" cy="45719"/>
          </a:xfrm>
        </p:grpSpPr>
        <p:sp>
          <p:nvSpPr>
            <p:cNvPr id="66" name="Rectangle 65"/>
            <p:cNvSpPr/>
            <p:nvPr/>
          </p:nvSpPr>
          <p:spPr>
            <a:xfrm>
              <a:off x="2779884" y="4606330"/>
              <a:ext cx="369989" cy="45719"/>
            </a:xfrm>
            <a:prstGeom prst="rect">
              <a:avLst/>
            </a:prstGeom>
            <a:solidFill>
              <a:srgbClr val="A8D8E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sp>
          <p:nvSpPr>
            <p:cNvPr id="67" name="Rectangle 66"/>
            <p:cNvSpPr/>
            <p:nvPr/>
          </p:nvSpPr>
          <p:spPr>
            <a:xfrm>
              <a:off x="2779885" y="4606330"/>
              <a:ext cx="193957" cy="45719"/>
            </a:xfrm>
            <a:prstGeom prst="rect">
              <a:avLst/>
            </a:prstGeom>
            <a:solidFill>
              <a:schemeClr val="accent2"/>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nvGrpSpPr>
          <p:cNvPr id="68" name="Group 67"/>
          <p:cNvGrpSpPr/>
          <p:nvPr/>
        </p:nvGrpSpPr>
        <p:grpSpPr>
          <a:xfrm>
            <a:off x="2233489" y="3331371"/>
            <a:ext cx="164153" cy="76525"/>
            <a:chOff x="3537495" y="4618470"/>
            <a:chExt cx="154788" cy="102033"/>
          </a:xfrm>
        </p:grpSpPr>
        <p:sp>
          <p:nvSpPr>
            <p:cNvPr id="69" name="Rectangle 68"/>
            <p:cNvSpPr/>
            <p:nvPr/>
          </p:nvSpPr>
          <p:spPr>
            <a:xfrm>
              <a:off x="3537495" y="4618470"/>
              <a:ext cx="154788" cy="18288"/>
            </a:xfrm>
            <a:prstGeom prst="rect">
              <a:avLst/>
            </a:prstGeom>
            <a:solidFill>
              <a:schemeClr val="bg1">
                <a:lumMod val="85000"/>
              </a:schemeClr>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70" name="Rectangle 69"/>
            <p:cNvSpPr/>
            <p:nvPr/>
          </p:nvSpPr>
          <p:spPr>
            <a:xfrm>
              <a:off x="3537495" y="4660343"/>
              <a:ext cx="154788" cy="18288"/>
            </a:xfrm>
            <a:prstGeom prst="rect">
              <a:avLst/>
            </a:prstGeom>
            <a:solidFill>
              <a:schemeClr val="bg1">
                <a:lumMod val="85000"/>
              </a:schemeClr>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sp>
          <p:nvSpPr>
            <p:cNvPr id="71" name="Rectangle 70"/>
            <p:cNvSpPr/>
            <p:nvPr/>
          </p:nvSpPr>
          <p:spPr>
            <a:xfrm>
              <a:off x="3537495" y="4702215"/>
              <a:ext cx="91440" cy="18288"/>
            </a:xfrm>
            <a:prstGeom prst="rect">
              <a:avLst/>
            </a:prstGeom>
            <a:solidFill>
              <a:schemeClr val="bg1">
                <a:lumMod val="85000"/>
              </a:schemeClr>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nvGrpSpPr>
          <p:cNvPr id="72" name="Group 71"/>
          <p:cNvGrpSpPr/>
          <p:nvPr/>
        </p:nvGrpSpPr>
        <p:grpSpPr>
          <a:xfrm>
            <a:off x="1680309" y="3418041"/>
            <a:ext cx="277492" cy="34289"/>
            <a:chOff x="2779884" y="4724400"/>
            <a:chExt cx="369989" cy="45719"/>
          </a:xfrm>
        </p:grpSpPr>
        <p:sp>
          <p:nvSpPr>
            <p:cNvPr id="73" name="Rectangle 72"/>
            <p:cNvSpPr/>
            <p:nvPr/>
          </p:nvSpPr>
          <p:spPr>
            <a:xfrm>
              <a:off x="2779884" y="4724400"/>
              <a:ext cx="369989" cy="45719"/>
            </a:xfrm>
            <a:prstGeom prst="rect">
              <a:avLst/>
            </a:prstGeom>
            <a:solidFill>
              <a:srgbClr val="C6E6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676767"/>
                </a:solidFill>
                <a:latin typeface="メイリオ"/>
                <a:ea typeface="メイリオ"/>
                <a:cs typeface="メイリオ"/>
              </a:endParaRPr>
            </a:p>
          </p:txBody>
        </p:sp>
        <p:sp>
          <p:nvSpPr>
            <p:cNvPr id="74" name="Rectangle 73"/>
            <p:cNvSpPr/>
            <p:nvPr/>
          </p:nvSpPr>
          <p:spPr>
            <a:xfrm>
              <a:off x="2779885" y="4724400"/>
              <a:ext cx="285657" cy="45719"/>
            </a:xfrm>
            <a:prstGeom prst="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grpSp>
      <p:sp>
        <p:nvSpPr>
          <p:cNvPr id="79" name="Freeform 88"/>
          <p:cNvSpPr>
            <a:spLocks/>
          </p:cNvSpPr>
          <p:nvPr/>
        </p:nvSpPr>
        <p:spPr bwMode="auto">
          <a:xfrm>
            <a:off x="1093616" y="3205347"/>
            <a:ext cx="394671" cy="457831"/>
          </a:xfrm>
          <a:custGeom>
            <a:avLst/>
            <a:gdLst>
              <a:gd name="T0" fmla="*/ 349 w 349"/>
              <a:gd name="T1" fmla="*/ 222 h 252"/>
              <a:gd name="T2" fmla="*/ 0 w 349"/>
              <a:gd name="T3" fmla="*/ 252 h 252"/>
              <a:gd name="T4" fmla="*/ 0 w 349"/>
              <a:gd name="T5" fmla="*/ 0 h 252"/>
              <a:gd name="T6" fmla="*/ 349 w 349"/>
              <a:gd name="T7" fmla="*/ 19 h 252"/>
              <a:gd name="T8" fmla="*/ 349 w 349"/>
              <a:gd name="T9" fmla="*/ 222 h 252"/>
              <a:gd name="connsiteX0" fmla="*/ 10000 w 10000"/>
              <a:gd name="connsiteY0" fmla="*/ 8810 h 10000"/>
              <a:gd name="connsiteX1" fmla="*/ 0 w 10000"/>
              <a:gd name="connsiteY1" fmla="*/ 10000 h 10000"/>
              <a:gd name="connsiteX2" fmla="*/ 0 w 10000"/>
              <a:gd name="connsiteY2" fmla="*/ 0 h 10000"/>
              <a:gd name="connsiteX3" fmla="*/ 10000 w 10000"/>
              <a:gd name="connsiteY3" fmla="*/ 437 h 10000"/>
              <a:gd name="connsiteX4" fmla="*/ 10000 w 10000"/>
              <a:gd name="connsiteY4" fmla="*/ 8810 h 10000"/>
              <a:gd name="connsiteX0" fmla="*/ 10000 w 10000"/>
              <a:gd name="connsiteY0" fmla="*/ 9207 h 10000"/>
              <a:gd name="connsiteX1" fmla="*/ 0 w 10000"/>
              <a:gd name="connsiteY1" fmla="*/ 10000 h 10000"/>
              <a:gd name="connsiteX2" fmla="*/ 0 w 10000"/>
              <a:gd name="connsiteY2" fmla="*/ 0 h 10000"/>
              <a:gd name="connsiteX3" fmla="*/ 10000 w 10000"/>
              <a:gd name="connsiteY3" fmla="*/ 437 h 10000"/>
              <a:gd name="connsiteX4" fmla="*/ 10000 w 10000"/>
              <a:gd name="connsiteY4" fmla="*/ 9207 h 10000"/>
              <a:gd name="connsiteX0" fmla="*/ 10000 w 10000"/>
              <a:gd name="connsiteY0" fmla="*/ 9326 h 10000"/>
              <a:gd name="connsiteX1" fmla="*/ 0 w 10000"/>
              <a:gd name="connsiteY1" fmla="*/ 10000 h 10000"/>
              <a:gd name="connsiteX2" fmla="*/ 0 w 10000"/>
              <a:gd name="connsiteY2" fmla="*/ 0 h 10000"/>
              <a:gd name="connsiteX3" fmla="*/ 10000 w 10000"/>
              <a:gd name="connsiteY3" fmla="*/ 437 h 10000"/>
              <a:gd name="connsiteX4" fmla="*/ 10000 w 10000"/>
              <a:gd name="connsiteY4" fmla="*/ 9326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9326"/>
                </a:moveTo>
                <a:lnTo>
                  <a:pt x="0" y="10000"/>
                </a:lnTo>
                <a:lnTo>
                  <a:pt x="0" y="0"/>
                </a:lnTo>
                <a:lnTo>
                  <a:pt x="10000" y="437"/>
                </a:lnTo>
                <a:lnTo>
                  <a:pt x="10000" y="9326"/>
                </a:lnTo>
                <a:close/>
              </a:path>
            </a:pathLst>
          </a:custGeom>
          <a:solidFill>
            <a:schemeClr val="bg2"/>
          </a:solidFill>
          <a:ln w="31750">
            <a:solidFill>
              <a:schemeClr val="accent2">
                <a:alpha val="43000"/>
              </a:schemeClr>
            </a:solidFill>
          </a:ln>
        </p:spPr>
        <p:txBody>
          <a:bodyPr vert="horz" wrap="square" lIns="68580" tIns="34290" rIns="68580" bIns="34290" numCol="1" anchor="t" anchorCtr="0" compatLnSpc="1">
            <a:prstTxWarp prst="textNoShape">
              <a:avLst/>
            </a:prstTxWarp>
          </a:bodyPr>
          <a:lstStyle/>
          <a:p>
            <a:pPr defTabSz="342900">
              <a:defRPr/>
            </a:pPr>
            <a:endParaRPr lang="en-US" kern="0">
              <a:solidFill>
                <a:srgbClr val="676767"/>
              </a:solidFill>
              <a:latin typeface="メイリオ"/>
              <a:ea typeface="メイリオ"/>
              <a:cs typeface="メイリオ"/>
            </a:endParaRPr>
          </a:p>
        </p:txBody>
      </p:sp>
      <p:sp>
        <p:nvSpPr>
          <p:cNvPr id="80" name="Freeform 79"/>
          <p:cNvSpPr/>
          <p:nvPr/>
        </p:nvSpPr>
        <p:spPr>
          <a:xfrm rot="21445681">
            <a:off x="1082924" y="3187275"/>
            <a:ext cx="421013" cy="115828"/>
          </a:xfrm>
          <a:custGeom>
            <a:avLst/>
            <a:gdLst>
              <a:gd name="connsiteX0" fmla="*/ 0 w 1127841"/>
              <a:gd name="connsiteY0" fmla="*/ 0 h 220718"/>
              <a:gd name="connsiteX1" fmla="*/ 2425 w 1127841"/>
              <a:gd name="connsiteY1" fmla="*/ 157656 h 220718"/>
              <a:gd name="connsiteX2" fmla="*/ 1127841 w 1127841"/>
              <a:gd name="connsiteY2" fmla="*/ 220718 h 220718"/>
              <a:gd name="connsiteX3" fmla="*/ 1125415 w 1127841"/>
              <a:gd name="connsiteY3" fmla="*/ 72764 h 220718"/>
              <a:gd name="connsiteX4" fmla="*/ 0 w 1127841"/>
              <a:gd name="connsiteY4" fmla="*/ 0 h 220718"/>
              <a:gd name="connsiteX0" fmla="*/ 0 w 1129892"/>
              <a:gd name="connsiteY0" fmla="*/ 0 h 220718"/>
              <a:gd name="connsiteX1" fmla="*/ 2425 w 1129892"/>
              <a:gd name="connsiteY1" fmla="*/ 157656 h 220718"/>
              <a:gd name="connsiteX2" fmla="*/ 1127841 w 1129892"/>
              <a:gd name="connsiteY2" fmla="*/ 220718 h 220718"/>
              <a:gd name="connsiteX3" fmla="*/ 1129772 w 1129892"/>
              <a:gd name="connsiteY3" fmla="*/ 79726 h 220718"/>
              <a:gd name="connsiteX4" fmla="*/ 0 w 1129892"/>
              <a:gd name="connsiteY4" fmla="*/ 0 h 220718"/>
              <a:gd name="connsiteX0" fmla="*/ 0 w 1129616"/>
              <a:gd name="connsiteY0" fmla="*/ 0 h 220718"/>
              <a:gd name="connsiteX1" fmla="*/ 2425 w 1129616"/>
              <a:gd name="connsiteY1" fmla="*/ 157656 h 220718"/>
              <a:gd name="connsiteX2" fmla="*/ 1127841 w 1129616"/>
              <a:gd name="connsiteY2" fmla="*/ 220718 h 220718"/>
              <a:gd name="connsiteX3" fmla="*/ 1129486 w 1129616"/>
              <a:gd name="connsiteY3" fmla="*/ 75085 h 220718"/>
              <a:gd name="connsiteX4" fmla="*/ 0 w 1129616"/>
              <a:gd name="connsiteY4" fmla="*/ 0 h 220718"/>
              <a:gd name="connsiteX0" fmla="*/ 0 w 1129616"/>
              <a:gd name="connsiteY0" fmla="*/ 0 h 220718"/>
              <a:gd name="connsiteX1" fmla="*/ 2424 w 1129616"/>
              <a:gd name="connsiteY1" fmla="*/ 98504 h 220718"/>
              <a:gd name="connsiteX2" fmla="*/ 1127841 w 1129616"/>
              <a:gd name="connsiteY2" fmla="*/ 220718 h 220718"/>
              <a:gd name="connsiteX3" fmla="*/ 1129486 w 1129616"/>
              <a:gd name="connsiteY3" fmla="*/ 75085 h 220718"/>
              <a:gd name="connsiteX4" fmla="*/ 0 w 1129616"/>
              <a:gd name="connsiteY4" fmla="*/ 0 h 220718"/>
              <a:gd name="connsiteX0" fmla="*/ 0 w 1129606"/>
              <a:gd name="connsiteY0" fmla="*/ 0 h 168960"/>
              <a:gd name="connsiteX1" fmla="*/ 2424 w 1129606"/>
              <a:gd name="connsiteY1" fmla="*/ 98504 h 168960"/>
              <a:gd name="connsiteX2" fmla="*/ 1127556 w 1129606"/>
              <a:gd name="connsiteY2" fmla="*/ 168960 h 168960"/>
              <a:gd name="connsiteX3" fmla="*/ 1129486 w 1129606"/>
              <a:gd name="connsiteY3" fmla="*/ 75085 h 168960"/>
              <a:gd name="connsiteX4" fmla="*/ 0 w 1129606"/>
              <a:gd name="connsiteY4" fmla="*/ 0 h 168960"/>
              <a:gd name="connsiteX0" fmla="*/ 0 w 1127557"/>
              <a:gd name="connsiteY0" fmla="*/ 0 h 168960"/>
              <a:gd name="connsiteX1" fmla="*/ 2424 w 1127557"/>
              <a:gd name="connsiteY1" fmla="*/ 98504 h 168960"/>
              <a:gd name="connsiteX2" fmla="*/ 1127556 w 1127557"/>
              <a:gd name="connsiteY2" fmla="*/ 168960 h 168960"/>
              <a:gd name="connsiteX3" fmla="*/ 1125132 w 1127557"/>
              <a:gd name="connsiteY3" fmla="*/ 63966 h 168960"/>
              <a:gd name="connsiteX4" fmla="*/ 0 w 1127557"/>
              <a:gd name="connsiteY4" fmla="*/ 0 h 168960"/>
              <a:gd name="connsiteX0" fmla="*/ 0 w 1125183"/>
              <a:gd name="connsiteY0" fmla="*/ 0 h 160466"/>
              <a:gd name="connsiteX1" fmla="*/ 2424 w 1125183"/>
              <a:gd name="connsiteY1" fmla="*/ 98504 h 160466"/>
              <a:gd name="connsiteX2" fmla="*/ 1117660 w 1125183"/>
              <a:gd name="connsiteY2" fmla="*/ 160466 h 160466"/>
              <a:gd name="connsiteX3" fmla="*/ 1125132 w 1125183"/>
              <a:gd name="connsiteY3" fmla="*/ 63966 h 160466"/>
              <a:gd name="connsiteX4" fmla="*/ 0 w 1125183"/>
              <a:gd name="connsiteY4" fmla="*/ 0 h 160466"/>
              <a:gd name="connsiteX0" fmla="*/ 0 w 1125183"/>
              <a:gd name="connsiteY0" fmla="*/ 0 h 160466"/>
              <a:gd name="connsiteX1" fmla="*/ 754 w 1125183"/>
              <a:gd name="connsiteY1" fmla="*/ 117746 h 160466"/>
              <a:gd name="connsiteX2" fmla="*/ 1117660 w 1125183"/>
              <a:gd name="connsiteY2" fmla="*/ 160466 h 160466"/>
              <a:gd name="connsiteX3" fmla="*/ 1125132 w 1125183"/>
              <a:gd name="connsiteY3" fmla="*/ 63966 h 160466"/>
              <a:gd name="connsiteX4" fmla="*/ 0 w 1125183"/>
              <a:gd name="connsiteY4" fmla="*/ 0 h 160466"/>
              <a:gd name="connsiteX0" fmla="*/ 0 w 1125183"/>
              <a:gd name="connsiteY0" fmla="*/ 0 h 160466"/>
              <a:gd name="connsiteX1" fmla="*/ 1709 w 1125183"/>
              <a:gd name="connsiteY1" fmla="*/ 106752 h 160466"/>
              <a:gd name="connsiteX2" fmla="*/ 1117660 w 1125183"/>
              <a:gd name="connsiteY2" fmla="*/ 160466 h 160466"/>
              <a:gd name="connsiteX3" fmla="*/ 1125132 w 1125183"/>
              <a:gd name="connsiteY3" fmla="*/ 63966 h 160466"/>
              <a:gd name="connsiteX4" fmla="*/ 0 w 1125183"/>
              <a:gd name="connsiteY4" fmla="*/ 0 h 160466"/>
              <a:gd name="connsiteX0" fmla="*/ 0 w 1125894"/>
              <a:gd name="connsiteY0" fmla="*/ 0 h 160466"/>
              <a:gd name="connsiteX1" fmla="*/ 1709 w 1125894"/>
              <a:gd name="connsiteY1" fmla="*/ 106752 h 160466"/>
              <a:gd name="connsiteX2" fmla="*/ 1117660 w 1125894"/>
              <a:gd name="connsiteY2" fmla="*/ 160466 h 160466"/>
              <a:gd name="connsiteX3" fmla="*/ 1125847 w 1125894"/>
              <a:gd name="connsiteY3" fmla="*/ 55718 h 160466"/>
              <a:gd name="connsiteX4" fmla="*/ 0 w 1125894"/>
              <a:gd name="connsiteY4" fmla="*/ 0 h 160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894" h="160466">
                <a:moveTo>
                  <a:pt x="0" y="0"/>
                </a:moveTo>
                <a:cubicBezTo>
                  <a:pt x="808" y="52552"/>
                  <a:pt x="901" y="54200"/>
                  <a:pt x="1709" y="106752"/>
                </a:cubicBezTo>
                <a:lnTo>
                  <a:pt x="1117660" y="160466"/>
                </a:lnTo>
                <a:cubicBezTo>
                  <a:pt x="1116851" y="111148"/>
                  <a:pt x="1126656" y="105036"/>
                  <a:pt x="1125847" y="55718"/>
                </a:cubicBezTo>
                <a:lnTo>
                  <a:pt x="0" y="0"/>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77" name="Freeform 5"/>
          <p:cNvSpPr>
            <a:spLocks noEditPoints="1"/>
          </p:cNvSpPr>
          <p:nvPr/>
        </p:nvSpPr>
        <p:spPr bwMode="auto">
          <a:xfrm>
            <a:off x="1211500" y="3315924"/>
            <a:ext cx="190051" cy="290109"/>
          </a:xfrm>
          <a:custGeom>
            <a:avLst/>
            <a:gdLst>
              <a:gd name="T0" fmla="*/ 739 w 821"/>
              <a:gd name="T1" fmla="*/ 540 h 1254"/>
              <a:gd name="T2" fmla="*/ 739 w 821"/>
              <a:gd name="T3" fmla="*/ 329 h 1254"/>
              <a:gd name="T4" fmla="*/ 411 w 821"/>
              <a:gd name="T5" fmla="*/ 0 h 1254"/>
              <a:gd name="T6" fmla="*/ 82 w 821"/>
              <a:gd name="T7" fmla="*/ 329 h 1254"/>
              <a:gd name="T8" fmla="*/ 82 w 821"/>
              <a:gd name="T9" fmla="*/ 541 h 1254"/>
              <a:gd name="T10" fmla="*/ 0 w 821"/>
              <a:gd name="T11" fmla="*/ 541 h 1254"/>
              <a:gd name="T12" fmla="*/ 0 w 821"/>
              <a:gd name="T13" fmla="*/ 735 h 1254"/>
              <a:gd name="T14" fmla="*/ 0 w 821"/>
              <a:gd name="T15" fmla="*/ 771 h 1254"/>
              <a:gd name="T16" fmla="*/ 0 w 821"/>
              <a:gd name="T17" fmla="*/ 844 h 1254"/>
              <a:gd name="T18" fmla="*/ 411 w 821"/>
              <a:gd name="T19" fmla="*/ 1254 h 1254"/>
              <a:gd name="T20" fmla="*/ 821 w 821"/>
              <a:gd name="T21" fmla="*/ 844 h 1254"/>
              <a:gd name="T22" fmla="*/ 821 w 821"/>
              <a:gd name="T23" fmla="*/ 618 h 1254"/>
              <a:gd name="T24" fmla="*/ 821 w 821"/>
              <a:gd name="T25" fmla="*/ 541 h 1254"/>
              <a:gd name="T26" fmla="*/ 739 w 821"/>
              <a:gd name="T27" fmla="*/ 541 h 1254"/>
              <a:gd name="T28" fmla="*/ 739 w 821"/>
              <a:gd name="T29" fmla="*/ 540 h 1254"/>
              <a:gd name="T30" fmla="*/ 514 w 821"/>
              <a:gd name="T31" fmla="*/ 771 h 1254"/>
              <a:gd name="T32" fmla="*/ 453 w 821"/>
              <a:gd name="T33" fmla="*/ 858 h 1254"/>
              <a:gd name="T34" fmla="*/ 484 w 821"/>
              <a:gd name="T35" fmla="*/ 1061 h 1254"/>
              <a:gd name="T36" fmla="*/ 334 w 821"/>
              <a:gd name="T37" fmla="*/ 1060 h 1254"/>
              <a:gd name="T38" fmla="*/ 368 w 821"/>
              <a:gd name="T39" fmla="*/ 857 h 1254"/>
              <a:gd name="T40" fmla="*/ 307 w 821"/>
              <a:gd name="T41" fmla="*/ 771 h 1254"/>
              <a:gd name="T42" fmla="*/ 307 w 821"/>
              <a:gd name="T43" fmla="*/ 762 h 1254"/>
              <a:gd name="T44" fmla="*/ 412 w 821"/>
              <a:gd name="T45" fmla="*/ 659 h 1254"/>
              <a:gd name="T46" fmla="*/ 515 w 821"/>
              <a:gd name="T47" fmla="*/ 763 h 1254"/>
              <a:gd name="T48" fmla="*/ 514 w 821"/>
              <a:gd name="T49" fmla="*/ 771 h 1254"/>
              <a:gd name="T50" fmla="*/ 607 w 821"/>
              <a:gd name="T51" fmla="*/ 541 h 1254"/>
              <a:gd name="T52" fmla="*/ 215 w 821"/>
              <a:gd name="T53" fmla="*/ 541 h 1254"/>
              <a:gd name="T54" fmla="*/ 215 w 821"/>
              <a:gd name="T55" fmla="*/ 334 h 1254"/>
              <a:gd name="T56" fmla="*/ 411 w 821"/>
              <a:gd name="T57" fmla="*/ 137 h 1254"/>
              <a:gd name="T58" fmla="*/ 607 w 821"/>
              <a:gd name="T59" fmla="*/ 334 h 1254"/>
              <a:gd name="T60" fmla="*/ 607 w 821"/>
              <a:gd name="T61" fmla="*/ 541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21" h="1254">
                <a:moveTo>
                  <a:pt x="739" y="540"/>
                </a:moveTo>
                <a:cubicBezTo>
                  <a:pt x="739" y="329"/>
                  <a:pt x="739" y="329"/>
                  <a:pt x="739" y="329"/>
                </a:cubicBezTo>
                <a:cubicBezTo>
                  <a:pt x="739" y="148"/>
                  <a:pt x="592" y="0"/>
                  <a:pt x="411" y="0"/>
                </a:cubicBezTo>
                <a:cubicBezTo>
                  <a:pt x="230" y="0"/>
                  <a:pt x="82" y="148"/>
                  <a:pt x="82" y="329"/>
                </a:cubicBezTo>
                <a:cubicBezTo>
                  <a:pt x="82" y="541"/>
                  <a:pt x="82" y="541"/>
                  <a:pt x="82" y="541"/>
                </a:cubicBezTo>
                <a:cubicBezTo>
                  <a:pt x="0" y="541"/>
                  <a:pt x="0" y="541"/>
                  <a:pt x="0" y="541"/>
                </a:cubicBezTo>
                <a:cubicBezTo>
                  <a:pt x="0" y="735"/>
                  <a:pt x="0" y="735"/>
                  <a:pt x="0" y="735"/>
                </a:cubicBezTo>
                <a:cubicBezTo>
                  <a:pt x="0" y="771"/>
                  <a:pt x="0" y="771"/>
                  <a:pt x="0" y="771"/>
                </a:cubicBezTo>
                <a:cubicBezTo>
                  <a:pt x="0" y="844"/>
                  <a:pt x="0" y="844"/>
                  <a:pt x="0" y="844"/>
                </a:cubicBezTo>
                <a:cubicBezTo>
                  <a:pt x="0" y="1071"/>
                  <a:pt x="184" y="1254"/>
                  <a:pt x="411" y="1254"/>
                </a:cubicBezTo>
                <a:cubicBezTo>
                  <a:pt x="637" y="1254"/>
                  <a:pt x="821" y="1071"/>
                  <a:pt x="821" y="844"/>
                </a:cubicBezTo>
                <a:cubicBezTo>
                  <a:pt x="821" y="618"/>
                  <a:pt x="821" y="618"/>
                  <a:pt x="821" y="618"/>
                </a:cubicBezTo>
                <a:cubicBezTo>
                  <a:pt x="821" y="541"/>
                  <a:pt x="821" y="541"/>
                  <a:pt x="821" y="541"/>
                </a:cubicBezTo>
                <a:cubicBezTo>
                  <a:pt x="739" y="541"/>
                  <a:pt x="739" y="541"/>
                  <a:pt x="739" y="541"/>
                </a:cubicBezTo>
                <a:lnTo>
                  <a:pt x="739" y="540"/>
                </a:lnTo>
                <a:close/>
                <a:moveTo>
                  <a:pt x="514" y="771"/>
                </a:moveTo>
                <a:cubicBezTo>
                  <a:pt x="511" y="810"/>
                  <a:pt x="487" y="842"/>
                  <a:pt x="453" y="858"/>
                </a:cubicBezTo>
                <a:cubicBezTo>
                  <a:pt x="484" y="1061"/>
                  <a:pt x="484" y="1061"/>
                  <a:pt x="484" y="1061"/>
                </a:cubicBezTo>
                <a:cubicBezTo>
                  <a:pt x="334" y="1060"/>
                  <a:pt x="334" y="1060"/>
                  <a:pt x="334" y="1060"/>
                </a:cubicBezTo>
                <a:cubicBezTo>
                  <a:pt x="368" y="857"/>
                  <a:pt x="368" y="857"/>
                  <a:pt x="368" y="857"/>
                </a:cubicBezTo>
                <a:cubicBezTo>
                  <a:pt x="334" y="842"/>
                  <a:pt x="310" y="809"/>
                  <a:pt x="307" y="771"/>
                </a:cubicBezTo>
                <a:cubicBezTo>
                  <a:pt x="307" y="768"/>
                  <a:pt x="307" y="765"/>
                  <a:pt x="307" y="762"/>
                </a:cubicBezTo>
                <a:cubicBezTo>
                  <a:pt x="307" y="704"/>
                  <a:pt x="354" y="658"/>
                  <a:pt x="412" y="659"/>
                </a:cubicBezTo>
                <a:cubicBezTo>
                  <a:pt x="469" y="659"/>
                  <a:pt x="515" y="706"/>
                  <a:pt x="515" y="763"/>
                </a:cubicBezTo>
                <a:cubicBezTo>
                  <a:pt x="515" y="766"/>
                  <a:pt x="515" y="768"/>
                  <a:pt x="514" y="771"/>
                </a:cubicBezTo>
                <a:close/>
                <a:moveTo>
                  <a:pt x="607" y="541"/>
                </a:moveTo>
                <a:cubicBezTo>
                  <a:pt x="215" y="541"/>
                  <a:pt x="215" y="541"/>
                  <a:pt x="215" y="541"/>
                </a:cubicBezTo>
                <a:cubicBezTo>
                  <a:pt x="215" y="334"/>
                  <a:pt x="215" y="334"/>
                  <a:pt x="215" y="334"/>
                </a:cubicBezTo>
                <a:cubicBezTo>
                  <a:pt x="215" y="225"/>
                  <a:pt x="303" y="137"/>
                  <a:pt x="411" y="137"/>
                </a:cubicBezTo>
                <a:cubicBezTo>
                  <a:pt x="519" y="137"/>
                  <a:pt x="607" y="225"/>
                  <a:pt x="607" y="334"/>
                </a:cubicBezTo>
                <a:lnTo>
                  <a:pt x="607" y="541"/>
                </a:lnTo>
                <a:close/>
              </a:path>
            </a:pathLst>
          </a:custGeom>
          <a:solidFill>
            <a:schemeClr val="tx1">
              <a:alpha val="12000"/>
            </a:schemeClr>
          </a:solidFill>
          <a:ln>
            <a:noFill/>
          </a:ln>
        </p:spPr>
        <p:txBody>
          <a:bodyPr vert="horz" wrap="square" lIns="68580" tIns="34290" rIns="68580" bIns="34290" numCol="1" anchor="t" anchorCtr="0" compatLnSpc="1">
            <a:prstTxWarp prst="textNoShape">
              <a:avLst/>
            </a:prstTxWarp>
          </a:bodyPr>
          <a:lstStyle/>
          <a:p>
            <a:pPr>
              <a:defRPr/>
            </a:pPr>
            <a:endParaRPr lang="en-US" sz="1200" kern="0">
              <a:solidFill>
                <a:srgbClr val="1A315D">
                  <a:alpha val="58000"/>
                </a:srgbClr>
              </a:solidFill>
              <a:latin typeface="メイリオ"/>
              <a:ea typeface="メイリオ"/>
              <a:cs typeface="メイリオ"/>
            </a:endParaRPr>
          </a:p>
        </p:txBody>
      </p:sp>
      <p:sp>
        <p:nvSpPr>
          <p:cNvPr id="157" name="TextBox 156"/>
          <p:cNvSpPr txBox="1"/>
          <p:nvPr/>
        </p:nvSpPr>
        <p:spPr>
          <a:xfrm rot="194978">
            <a:off x="660898" y="3031185"/>
            <a:ext cx="957921" cy="150041"/>
          </a:xfrm>
          <a:prstGeom prst="rect">
            <a:avLst/>
          </a:prstGeom>
          <a:noFill/>
        </p:spPr>
        <p:txBody>
          <a:bodyPr wrap="square" lIns="68580" tIns="34290" rIns="68580" bIns="34290" rtlCol="0">
            <a:spAutoFit/>
          </a:bodyPr>
          <a:lstStyle/>
          <a:p>
            <a:r>
              <a:rPr lang="en-US" sz="500" b="1" dirty="0">
                <a:solidFill>
                  <a:srgbClr val="FFFFFF"/>
                </a:solidFill>
                <a:latin typeface="メイリオ"/>
                <a:ea typeface="メイリオ"/>
                <a:cs typeface="メイリオ"/>
              </a:rPr>
              <a:t>Security Policy Template</a:t>
            </a:r>
          </a:p>
        </p:txBody>
      </p:sp>
      <p:grpSp>
        <p:nvGrpSpPr>
          <p:cNvPr id="179" name="Group 178"/>
          <p:cNvGrpSpPr/>
          <p:nvPr/>
        </p:nvGrpSpPr>
        <p:grpSpPr>
          <a:xfrm>
            <a:off x="756118" y="3331219"/>
            <a:ext cx="277492" cy="34289"/>
            <a:chOff x="2779884" y="4534729"/>
            <a:chExt cx="369989" cy="45719"/>
          </a:xfrm>
        </p:grpSpPr>
        <p:sp>
          <p:nvSpPr>
            <p:cNvPr id="180" name="Rectangle 179"/>
            <p:cNvSpPr/>
            <p:nvPr/>
          </p:nvSpPr>
          <p:spPr>
            <a:xfrm>
              <a:off x="2779884" y="4534729"/>
              <a:ext cx="369989" cy="45719"/>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sp>
          <p:nvSpPr>
            <p:cNvPr id="181" name="Rectangle 180"/>
            <p:cNvSpPr/>
            <p:nvPr/>
          </p:nvSpPr>
          <p:spPr>
            <a:xfrm>
              <a:off x="2779886" y="4534729"/>
              <a:ext cx="134366" cy="45719"/>
            </a:xfrm>
            <a:prstGeom prst="rect">
              <a:avLst/>
            </a:prstGeom>
            <a:solidFill>
              <a:schemeClr val="accent4">
                <a:lumMod val="50000"/>
              </a:schemeClr>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nvGrpSpPr>
          <p:cNvPr id="182" name="Group 181"/>
          <p:cNvGrpSpPr/>
          <p:nvPr/>
        </p:nvGrpSpPr>
        <p:grpSpPr>
          <a:xfrm rot="21440679">
            <a:off x="753865" y="3420306"/>
            <a:ext cx="277492" cy="34289"/>
            <a:chOff x="2779884" y="4606330"/>
            <a:chExt cx="369989" cy="45719"/>
          </a:xfrm>
        </p:grpSpPr>
        <p:sp>
          <p:nvSpPr>
            <p:cNvPr id="183" name="Rectangle 182"/>
            <p:cNvSpPr/>
            <p:nvPr/>
          </p:nvSpPr>
          <p:spPr>
            <a:xfrm>
              <a:off x="2779884" y="4606330"/>
              <a:ext cx="369989" cy="45719"/>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sp>
          <p:nvSpPr>
            <p:cNvPr id="184" name="Rectangle 183"/>
            <p:cNvSpPr/>
            <p:nvPr/>
          </p:nvSpPr>
          <p:spPr>
            <a:xfrm>
              <a:off x="2779885" y="4606330"/>
              <a:ext cx="193957" cy="45719"/>
            </a:xfrm>
            <a:prstGeom prst="rect">
              <a:avLst/>
            </a:prstGeom>
            <a:solidFill>
              <a:schemeClr val="accent3">
                <a:lumMod val="50000"/>
              </a:schemeClr>
            </a:solidFill>
            <a:ln w="25400" cap="flat" cmpd="sng" algn="ctr">
              <a:noFill/>
              <a:prstDash val="solid"/>
            </a:ln>
            <a:effectLst/>
          </p:spPr>
          <p:txBody>
            <a:bodyPr rtlCol="0" anchor="ctr"/>
            <a:lstStyle/>
            <a:p>
              <a:pPr algn="ctr">
                <a:defRPr/>
              </a:pPr>
              <a:endParaRPr lang="en-US" kern="0" dirty="0">
                <a:solidFill>
                  <a:srgbClr val="FFFFFF"/>
                </a:solidFill>
                <a:latin typeface="メイリオ"/>
                <a:ea typeface="メイリオ"/>
                <a:cs typeface="メイリオ"/>
              </a:endParaRPr>
            </a:p>
          </p:txBody>
        </p:sp>
      </p:grpSp>
      <p:grpSp>
        <p:nvGrpSpPr>
          <p:cNvPr id="185" name="Group 184"/>
          <p:cNvGrpSpPr/>
          <p:nvPr/>
        </p:nvGrpSpPr>
        <p:grpSpPr>
          <a:xfrm rot="21397598">
            <a:off x="753633" y="3507200"/>
            <a:ext cx="277492" cy="34289"/>
            <a:chOff x="2779884" y="4724400"/>
            <a:chExt cx="369989" cy="45719"/>
          </a:xfrm>
        </p:grpSpPr>
        <p:sp>
          <p:nvSpPr>
            <p:cNvPr id="186" name="Rectangle 185"/>
            <p:cNvSpPr/>
            <p:nvPr/>
          </p:nvSpPr>
          <p:spPr>
            <a:xfrm>
              <a:off x="2779884" y="4724400"/>
              <a:ext cx="369989" cy="45719"/>
            </a:xfrm>
            <a:prstGeom prst="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676767"/>
                </a:solidFill>
                <a:latin typeface="メイリオ"/>
                <a:ea typeface="メイリオ"/>
                <a:cs typeface="メイリオ"/>
              </a:endParaRPr>
            </a:p>
          </p:txBody>
        </p:sp>
        <p:sp>
          <p:nvSpPr>
            <p:cNvPr id="187" name="Rectangle 186"/>
            <p:cNvSpPr/>
            <p:nvPr/>
          </p:nvSpPr>
          <p:spPr>
            <a:xfrm>
              <a:off x="2779885" y="4724400"/>
              <a:ext cx="285657" cy="4571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latin typeface="メイリオ"/>
                <a:ea typeface="メイリオ"/>
                <a:cs typeface="メイリオ"/>
              </a:endParaRPr>
            </a:p>
          </p:txBody>
        </p:sp>
      </p:grpSp>
      <p:sp>
        <p:nvSpPr>
          <p:cNvPr id="188" name="Rectangle 187"/>
          <p:cNvSpPr/>
          <p:nvPr/>
        </p:nvSpPr>
        <p:spPr>
          <a:xfrm>
            <a:off x="1139860" y="3323832"/>
            <a:ext cx="313949" cy="263668"/>
          </a:xfrm>
          <a:custGeom>
            <a:avLst/>
            <a:gdLst>
              <a:gd name="connsiteX0" fmla="*/ 0 w 418598"/>
              <a:gd name="connsiteY0" fmla="*/ 0 h 285517"/>
              <a:gd name="connsiteX1" fmla="*/ 418598 w 418598"/>
              <a:gd name="connsiteY1" fmla="*/ 0 h 285517"/>
              <a:gd name="connsiteX2" fmla="*/ 418598 w 418598"/>
              <a:gd name="connsiteY2" fmla="*/ 285517 h 285517"/>
              <a:gd name="connsiteX3" fmla="*/ 0 w 418598"/>
              <a:gd name="connsiteY3" fmla="*/ 285517 h 285517"/>
              <a:gd name="connsiteX4" fmla="*/ 0 w 418598"/>
              <a:gd name="connsiteY4" fmla="*/ 0 h 285517"/>
              <a:gd name="connsiteX0" fmla="*/ 0 w 418598"/>
              <a:gd name="connsiteY0" fmla="*/ 0 h 323617"/>
              <a:gd name="connsiteX1" fmla="*/ 418598 w 418598"/>
              <a:gd name="connsiteY1" fmla="*/ 38100 h 323617"/>
              <a:gd name="connsiteX2" fmla="*/ 418598 w 418598"/>
              <a:gd name="connsiteY2" fmla="*/ 323617 h 323617"/>
              <a:gd name="connsiteX3" fmla="*/ 0 w 418598"/>
              <a:gd name="connsiteY3" fmla="*/ 323617 h 323617"/>
              <a:gd name="connsiteX4" fmla="*/ 0 w 418598"/>
              <a:gd name="connsiteY4" fmla="*/ 0 h 323617"/>
              <a:gd name="connsiteX0" fmla="*/ 0 w 418598"/>
              <a:gd name="connsiteY0" fmla="*/ 0 h 351557"/>
              <a:gd name="connsiteX1" fmla="*/ 418598 w 418598"/>
              <a:gd name="connsiteY1" fmla="*/ 38100 h 351557"/>
              <a:gd name="connsiteX2" fmla="*/ 418598 w 418598"/>
              <a:gd name="connsiteY2" fmla="*/ 323617 h 351557"/>
              <a:gd name="connsiteX3" fmla="*/ 0 w 418598"/>
              <a:gd name="connsiteY3" fmla="*/ 351557 h 351557"/>
              <a:gd name="connsiteX4" fmla="*/ 0 w 418598"/>
              <a:gd name="connsiteY4" fmla="*/ 0 h 351557"/>
              <a:gd name="connsiteX0" fmla="*/ 0 w 418598"/>
              <a:gd name="connsiteY0" fmla="*/ 0 h 351557"/>
              <a:gd name="connsiteX1" fmla="*/ 418598 w 418598"/>
              <a:gd name="connsiteY1" fmla="*/ 22860 h 351557"/>
              <a:gd name="connsiteX2" fmla="*/ 418598 w 418598"/>
              <a:gd name="connsiteY2" fmla="*/ 323617 h 351557"/>
              <a:gd name="connsiteX3" fmla="*/ 0 w 418598"/>
              <a:gd name="connsiteY3" fmla="*/ 351557 h 351557"/>
              <a:gd name="connsiteX4" fmla="*/ 0 w 418598"/>
              <a:gd name="connsiteY4" fmla="*/ 0 h 3515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598" h="351557">
                <a:moveTo>
                  <a:pt x="0" y="0"/>
                </a:moveTo>
                <a:lnTo>
                  <a:pt x="418598" y="22860"/>
                </a:lnTo>
                <a:lnTo>
                  <a:pt x="418598" y="323617"/>
                </a:lnTo>
                <a:lnTo>
                  <a:pt x="0" y="351557"/>
                </a:lnTo>
                <a:lnTo>
                  <a:pt x="0" y="0"/>
                </a:lnTo>
                <a:close/>
              </a:path>
            </a:pathLst>
          </a:custGeom>
          <a:noFill/>
          <a:ln>
            <a:solidFill>
              <a:schemeClr val="bg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pic>
        <p:nvPicPr>
          <p:cNvPr id="209" name="Picture 20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2555" y="3215732"/>
            <a:ext cx="1091171" cy="1116097"/>
          </a:xfrm>
          <a:prstGeom prst="rect">
            <a:avLst/>
          </a:prstGeom>
        </p:spPr>
      </p:pic>
      <p:sp>
        <p:nvSpPr>
          <p:cNvPr id="223" name="Oval 222"/>
          <p:cNvSpPr/>
          <p:nvPr/>
        </p:nvSpPr>
        <p:spPr>
          <a:xfrm>
            <a:off x="1342689" y="3225492"/>
            <a:ext cx="38332" cy="3558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FFFFFF"/>
              </a:solidFill>
              <a:latin typeface="メイリオ"/>
              <a:ea typeface="メイリオ"/>
              <a:cs typeface="メイリオ"/>
            </a:endParaRPr>
          </a:p>
        </p:txBody>
      </p:sp>
      <p:sp>
        <p:nvSpPr>
          <p:cNvPr id="224" name="Oval 223"/>
          <p:cNvSpPr/>
          <p:nvPr/>
        </p:nvSpPr>
        <p:spPr>
          <a:xfrm>
            <a:off x="1396752" y="3230174"/>
            <a:ext cx="38332" cy="35585"/>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FFFFFF"/>
              </a:solidFill>
              <a:latin typeface="メイリオ"/>
              <a:ea typeface="メイリオ"/>
              <a:cs typeface="メイリオ"/>
            </a:endParaRPr>
          </a:p>
        </p:txBody>
      </p:sp>
      <p:sp>
        <p:nvSpPr>
          <p:cNvPr id="225" name="Oval 224"/>
          <p:cNvSpPr/>
          <p:nvPr/>
        </p:nvSpPr>
        <p:spPr>
          <a:xfrm>
            <a:off x="1452543" y="3232451"/>
            <a:ext cx="38332" cy="35585"/>
          </a:xfrm>
          <a:prstGeom prst="ellipse">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FFFFFF"/>
              </a:solidFill>
              <a:latin typeface="メイリオ"/>
              <a:ea typeface="メイリオ"/>
              <a:cs typeface="メイリオ"/>
            </a:endParaRPr>
          </a:p>
        </p:txBody>
      </p:sp>
      <p:sp>
        <p:nvSpPr>
          <p:cNvPr id="190" name="Trapezoid 189"/>
          <p:cNvSpPr/>
          <p:nvPr/>
        </p:nvSpPr>
        <p:spPr>
          <a:xfrm rot="5400000">
            <a:off x="1202545" y="3367672"/>
            <a:ext cx="72517" cy="72963"/>
          </a:xfrm>
          <a:prstGeom prst="trapezoid">
            <a:avLst>
              <a:gd name="adj" fmla="val 1450"/>
            </a:avLst>
          </a:prstGeom>
          <a:noFill/>
          <a:ln>
            <a:solidFill>
              <a:schemeClr val="bg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12" name="Trapezoid 211"/>
          <p:cNvSpPr/>
          <p:nvPr/>
        </p:nvSpPr>
        <p:spPr>
          <a:xfrm rot="5400000">
            <a:off x="1202545" y="3469634"/>
            <a:ext cx="72520" cy="72963"/>
          </a:xfrm>
          <a:prstGeom prst="trapezoid">
            <a:avLst>
              <a:gd name="adj" fmla="val 2541"/>
            </a:avLst>
          </a:prstGeom>
          <a:noFill/>
          <a:ln>
            <a:solidFill>
              <a:schemeClr val="bg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15" name="Trapezoid 214"/>
          <p:cNvSpPr/>
          <p:nvPr/>
        </p:nvSpPr>
        <p:spPr>
          <a:xfrm rot="5400000">
            <a:off x="1337146" y="3370455"/>
            <a:ext cx="64751" cy="65150"/>
          </a:xfrm>
          <a:prstGeom prst="trapezoid">
            <a:avLst>
              <a:gd name="adj" fmla="val 1450"/>
            </a:avLst>
          </a:prstGeom>
          <a:noFill/>
          <a:ln>
            <a:solidFill>
              <a:schemeClr val="bg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16" name="Trapezoid 215"/>
          <p:cNvSpPr/>
          <p:nvPr/>
        </p:nvSpPr>
        <p:spPr>
          <a:xfrm rot="5400000">
            <a:off x="1335798" y="3471459"/>
            <a:ext cx="64756" cy="65151"/>
          </a:xfrm>
          <a:prstGeom prst="trapezoid">
            <a:avLst>
              <a:gd name="adj" fmla="val 0"/>
            </a:avLst>
          </a:prstGeom>
          <a:noFill/>
          <a:ln>
            <a:solidFill>
              <a:schemeClr val="bg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39" name="TextBox 238"/>
          <p:cNvSpPr txBox="1"/>
          <p:nvPr/>
        </p:nvSpPr>
        <p:spPr>
          <a:xfrm>
            <a:off x="1183064" y="3434781"/>
            <a:ext cx="109566" cy="123111"/>
          </a:xfrm>
          <a:prstGeom prst="rect">
            <a:avLst/>
          </a:prstGeom>
          <a:noFill/>
        </p:spPr>
        <p:txBody>
          <a:bodyPr wrap="square" lIns="0" tIns="0" rIns="0" bIns="0" rtlCol="0">
            <a:spAutoFit/>
          </a:bodyPr>
          <a:lstStyle/>
          <a:p>
            <a:pPr algn="ctr"/>
            <a:r>
              <a:rPr lang="en-US" sz="800" dirty="0">
                <a:solidFill>
                  <a:srgbClr val="DF1D36"/>
                </a:solidFill>
                <a:latin typeface="メイリオ"/>
                <a:ea typeface="メイリオ"/>
                <a:cs typeface="メイリオ"/>
              </a:rPr>
              <a:t>x</a:t>
            </a:r>
          </a:p>
        </p:txBody>
      </p:sp>
      <p:sp>
        <p:nvSpPr>
          <p:cNvPr id="217" name="TextBox 216"/>
          <p:cNvSpPr txBox="1"/>
          <p:nvPr/>
        </p:nvSpPr>
        <p:spPr>
          <a:xfrm>
            <a:off x="1311942" y="3330972"/>
            <a:ext cx="109566" cy="123111"/>
          </a:xfrm>
          <a:prstGeom prst="rect">
            <a:avLst/>
          </a:prstGeom>
          <a:noFill/>
        </p:spPr>
        <p:txBody>
          <a:bodyPr wrap="square" lIns="0" tIns="0" rIns="0" bIns="0" rtlCol="0">
            <a:spAutoFit/>
          </a:bodyPr>
          <a:lstStyle/>
          <a:p>
            <a:pPr algn="ctr"/>
            <a:r>
              <a:rPr lang="en-US" sz="800" dirty="0">
                <a:solidFill>
                  <a:srgbClr val="DF1D36"/>
                </a:solidFill>
                <a:latin typeface="メイリオ"/>
                <a:ea typeface="メイリオ"/>
                <a:cs typeface="メイリオ"/>
              </a:rPr>
              <a:t>x</a:t>
            </a:r>
          </a:p>
        </p:txBody>
      </p:sp>
      <p:sp>
        <p:nvSpPr>
          <p:cNvPr id="218" name="TextBox 217"/>
          <p:cNvSpPr txBox="1"/>
          <p:nvPr/>
        </p:nvSpPr>
        <p:spPr>
          <a:xfrm>
            <a:off x="1190618" y="3329726"/>
            <a:ext cx="109566" cy="169277"/>
          </a:xfrm>
          <a:prstGeom prst="rect">
            <a:avLst/>
          </a:prstGeom>
          <a:noFill/>
        </p:spPr>
        <p:txBody>
          <a:bodyPr wrap="square" lIns="0" tIns="0" rIns="0" bIns="0" rtlCol="0">
            <a:spAutoFit/>
          </a:bodyPr>
          <a:lstStyle/>
          <a:p>
            <a:pPr algn="ctr"/>
            <a:r>
              <a:rPr lang="en-US" sz="1100" b="1" dirty="0">
                <a:solidFill>
                  <a:srgbClr val="92D050"/>
                </a:solidFill>
                <a:latin typeface="メイリオ"/>
                <a:ea typeface="メイリオ"/>
                <a:cs typeface="メイリオ"/>
                <a:sym typeface="Wingdings" panose="05000000000000000000" pitchFamily="2" charset="2"/>
              </a:rPr>
              <a:t></a:t>
            </a:r>
            <a:endParaRPr lang="en-US" sz="1100" b="1" dirty="0">
              <a:solidFill>
                <a:srgbClr val="92D050"/>
              </a:solidFill>
              <a:latin typeface="メイリオ"/>
              <a:ea typeface="メイリオ"/>
              <a:cs typeface="メイリオ"/>
            </a:endParaRPr>
          </a:p>
        </p:txBody>
      </p:sp>
      <p:sp>
        <p:nvSpPr>
          <p:cNvPr id="219" name="TextBox 218"/>
          <p:cNvSpPr txBox="1"/>
          <p:nvPr/>
        </p:nvSpPr>
        <p:spPr>
          <a:xfrm>
            <a:off x="1315325" y="3422895"/>
            <a:ext cx="109566" cy="169277"/>
          </a:xfrm>
          <a:prstGeom prst="rect">
            <a:avLst/>
          </a:prstGeom>
          <a:noFill/>
        </p:spPr>
        <p:txBody>
          <a:bodyPr wrap="square" lIns="0" tIns="0" rIns="0" bIns="0" rtlCol="0">
            <a:spAutoFit/>
          </a:bodyPr>
          <a:lstStyle/>
          <a:p>
            <a:pPr algn="ctr"/>
            <a:r>
              <a:rPr lang="en-US" sz="1100" b="1" dirty="0">
                <a:solidFill>
                  <a:srgbClr val="92D050"/>
                </a:solidFill>
                <a:latin typeface="メイリオ"/>
                <a:ea typeface="メイリオ"/>
                <a:cs typeface="メイリオ"/>
                <a:sym typeface="Wingdings" panose="05000000000000000000" pitchFamily="2" charset="2"/>
              </a:rPr>
              <a:t></a:t>
            </a:r>
            <a:endParaRPr lang="en-US" sz="1100" b="1" dirty="0">
              <a:solidFill>
                <a:srgbClr val="92D050"/>
              </a:solidFill>
              <a:latin typeface="メイリオ"/>
              <a:ea typeface="メイリオ"/>
              <a:cs typeface="メイリオ"/>
            </a:endParaRPr>
          </a:p>
        </p:txBody>
      </p:sp>
      <p:sp>
        <p:nvSpPr>
          <p:cNvPr id="242" name="Oval 241"/>
          <p:cNvSpPr/>
          <p:nvPr/>
        </p:nvSpPr>
        <p:spPr>
          <a:xfrm>
            <a:off x="2724284" y="3280455"/>
            <a:ext cx="39746" cy="3974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43" name="Oval 242"/>
          <p:cNvSpPr/>
          <p:nvPr/>
        </p:nvSpPr>
        <p:spPr>
          <a:xfrm>
            <a:off x="2786719" y="3318356"/>
            <a:ext cx="39746" cy="3974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244" name="Oval 243"/>
          <p:cNvSpPr/>
          <p:nvPr/>
        </p:nvSpPr>
        <p:spPr>
          <a:xfrm>
            <a:off x="2823960" y="3399390"/>
            <a:ext cx="39746" cy="3974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rgbClr val="FFFFFF"/>
              </a:solidFill>
              <a:latin typeface="メイリオ"/>
              <a:ea typeface="メイリオ"/>
              <a:cs typeface="メイリオ"/>
            </a:endParaRPr>
          </a:p>
        </p:txBody>
      </p:sp>
      <p:sp>
        <p:nvSpPr>
          <p:cNvPr id="6" name="Oval 5"/>
          <p:cNvSpPr/>
          <p:nvPr/>
        </p:nvSpPr>
        <p:spPr>
          <a:xfrm>
            <a:off x="2030200" y="3013134"/>
            <a:ext cx="65996" cy="65996"/>
          </a:xfrm>
          <a:prstGeom prst="ellipse">
            <a:avLst/>
          </a:prstGeom>
          <a:solidFill>
            <a:schemeClr val="accent2"/>
          </a:solidFill>
          <a:ln w="28575">
            <a:noFill/>
            <a:prstDash val="solid"/>
          </a:ln>
          <a:effectLst>
            <a:glow rad="63500">
              <a:schemeClr val="accent2">
                <a:alpha val="20000"/>
              </a:schemeClr>
            </a:glow>
          </a:effectLst>
        </p:spPr>
        <p:style>
          <a:lnRef idx="1">
            <a:schemeClr val="accent1"/>
          </a:lnRef>
          <a:fillRef idx="0">
            <a:schemeClr val="accent1"/>
          </a:fillRef>
          <a:effectRef idx="0">
            <a:schemeClr val="accent1"/>
          </a:effectRef>
          <a:fontRef idx="minor">
            <a:schemeClr val="tx1"/>
          </a:fontRef>
        </p:style>
        <p:txBody>
          <a:bodyPr lIns="68580" tIns="34290" rIns="68580" bIns="34290" rtlCol="0" anchor="ctr"/>
          <a:lstStyle/>
          <a:p>
            <a:pPr algn="ctr"/>
            <a:endParaRPr lang="en-US" dirty="0" smtClean="0">
              <a:solidFill>
                <a:srgbClr val="676767"/>
              </a:solidFill>
              <a:latin typeface="メイリオ"/>
              <a:ea typeface="メイリオ"/>
              <a:cs typeface="メイリオ"/>
            </a:endParaRPr>
          </a:p>
        </p:txBody>
      </p:sp>
      <p:grpSp>
        <p:nvGrpSpPr>
          <p:cNvPr id="230" name="Group 229"/>
          <p:cNvGrpSpPr/>
          <p:nvPr/>
        </p:nvGrpSpPr>
        <p:grpSpPr>
          <a:xfrm>
            <a:off x="2739618" y="3365508"/>
            <a:ext cx="266143" cy="266143"/>
            <a:chOff x="4192295" y="4787077"/>
            <a:chExt cx="354857" cy="354857"/>
          </a:xfrm>
        </p:grpSpPr>
        <p:sp>
          <p:nvSpPr>
            <p:cNvPr id="248" name="Freeform 5"/>
            <p:cNvSpPr>
              <a:spLocks/>
            </p:cNvSpPr>
            <p:nvPr/>
          </p:nvSpPr>
          <p:spPr bwMode="auto">
            <a:xfrm>
              <a:off x="4346927" y="4941709"/>
              <a:ext cx="45592" cy="45592"/>
            </a:xfrm>
            <a:custGeom>
              <a:avLst/>
              <a:gdLst>
                <a:gd name="T0" fmla="*/ 606 w 606"/>
                <a:gd name="T1" fmla="*/ 302 h 606"/>
                <a:gd name="T2" fmla="*/ 600 w 606"/>
                <a:gd name="T3" fmla="*/ 364 h 606"/>
                <a:gd name="T4" fmla="*/ 582 w 606"/>
                <a:gd name="T5" fmla="*/ 420 h 606"/>
                <a:gd name="T6" fmla="*/ 554 w 606"/>
                <a:gd name="T7" fmla="*/ 472 h 606"/>
                <a:gd name="T8" fmla="*/ 518 w 606"/>
                <a:gd name="T9" fmla="*/ 516 h 606"/>
                <a:gd name="T10" fmla="*/ 472 w 606"/>
                <a:gd name="T11" fmla="*/ 554 h 606"/>
                <a:gd name="T12" fmla="*/ 422 w 606"/>
                <a:gd name="T13" fmla="*/ 582 h 606"/>
                <a:gd name="T14" fmla="*/ 364 w 606"/>
                <a:gd name="T15" fmla="*/ 600 h 606"/>
                <a:gd name="T16" fmla="*/ 304 w 606"/>
                <a:gd name="T17" fmla="*/ 606 h 606"/>
                <a:gd name="T18" fmla="*/ 272 w 606"/>
                <a:gd name="T19" fmla="*/ 604 h 606"/>
                <a:gd name="T20" fmla="*/ 214 w 606"/>
                <a:gd name="T21" fmla="*/ 592 h 606"/>
                <a:gd name="T22" fmla="*/ 160 w 606"/>
                <a:gd name="T23" fmla="*/ 570 h 606"/>
                <a:gd name="T24" fmla="*/ 110 w 606"/>
                <a:gd name="T25" fmla="*/ 536 h 606"/>
                <a:gd name="T26" fmla="*/ 70 w 606"/>
                <a:gd name="T27" fmla="*/ 496 h 606"/>
                <a:gd name="T28" fmla="*/ 38 w 606"/>
                <a:gd name="T29" fmla="*/ 448 h 606"/>
                <a:gd name="T30" fmla="*/ 14 w 606"/>
                <a:gd name="T31" fmla="*/ 392 h 606"/>
                <a:gd name="T32" fmla="*/ 2 w 606"/>
                <a:gd name="T33" fmla="*/ 334 h 606"/>
                <a:gd name="T34" fmla="*/ 0 w 606"/>
                <a:gd name="T35" fmla="*/ 302 h 606"/>
                <a:gd name="T36" fmla="*/ 6 w 606"/>
                <a:gd name="T37" fmla="*/ 242 h 606"/>
                <a:gd name="T38" fmla="*/ 24 w 606"/>
                <a:gd name="T39" fmla="*/ 186 h 606"/>
                <a:gd name="T40" fmla="*/ 52 w 606"/>
                <a:gd name="T41" fmla="*/ 134 h 606"/>
                <a:gd name="T42" fmla="*/ 90 w 606"/>
                <a:gd name="T43" fmla="*/ 90 h 606"/>
                <a:gd name="T44" fmla="*/ 134 w 606"/>
                <a:gd name="T45" fmla="*/ 52 h 606"/>
                <a:gd name="T46" fmla="*/ 186 w 606"/>
                <a:gd name="T47" fmla="*/ 24 h 606"/>
                <a:gd name="T48" fmla="*/ 242 w 606"/>
                <a:gd name="T49" fmla="*/ 6 h 606"/>
                <a:gd name="T50" fmla="*/ 304 w 606"/>
                <a:gd name="T51" fmla="*/ 0 h 606"/>
                <a:gd name="T52" fmla="*/ 334 w 606"/>
                <a:gd name="T53" fmla="*/ 2 h 606"/>
                <a:gd name="T54" fmla="*/ 394 w 606"/>
                <a:gd name="T55" fmla="*/ 14 h 606"/>
                <a:gd name="T56" fmla="*/ 448 w 606"/>
                <a:gd name="T57" fmla="*/ 36 h 606"/>
                <a:gd name="T58" fmla="*/ 496 w 606"/>
                <a:gd name="T59" fmla="*/ 70 h 606"/>
                <a:gd name="T60" fmla="*/ 536 w 606"/>
                <a:gd name="T61" fmla="*/ 110 h 606"/>
                <a:gd name="T62" fmla="*/ 570 w 606"/>
                <a:gd name="T63" fmla="*/ 158 h 606"/>
                <a:gd name="T64" fmla="*/ 592 w 606"/>
                <a:gd name="T65" fmla="*/ 214 h 606"/>
                <a:gd name="T66" fmla="*/ 604 w 606"/>
                <a:gd name="T67" fmla="*/ 272 h 606"/>
                <a:gd name="T68" fmla="*/ 606 w 606"/>
                <a:gd name="T69" fmla="*/ 30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6" h="606">
                  <a:moveTo>
                    <a:pt x="606" y="302"/>
                  </a:moveTo>
                  <a:lnTo>
                    <a:pt x="606" y="302"/>
                  </a:lnTo>
                  <a:lnTo>
                    <a:pt x="604" y="334"/>
                  </a:lnTo>
                  <a:lnTo>
                    <a:pt x="600" y="364"/>
                  </a:lnTo>
                  <a:lnTo>
                    <a:pt x="592" y="392"/>
                  </a:lnTo>
                  <a:lnTo>
                    <a:pt x="582" y="420"/>
                  </a:lnTo>
                  <a:lnTo>
                    <a:pt x="570" y="448"/>
                  </a:lnTo>
                  <a:lnTo>
                    <a:pt x="554" y="472"/>
                  </a:lnTo>
                  <a:lnTo>
                    <a:pt x="536" y="496"/>
                  </a:lnTo>
                  <a:lnTo>
                    <a:pt x="518" y="516"/>
                  </a:lnTo>
                  <a:lnTo>
                    <a:pt x="496" y="536"/>
                  </a:lnTo>
                  <a:lnTo>
                    <a:pt x="472" y="554"/>
                  </a:lnTo>
                  <a:lnTo>
                    <a:pt x="448" y="570"/>
                  </a:lnTo>
                  <a:lnTo>
                    <a:pt x="422" y="582"/>
                  </a:lnTo>
                  <a:lnTo>
                    <a:pt x="394" y="592"/>
                  </a:lnTo>
                  <a:lnTo>
                    <a:pt x="364" y="600"/>
                  </a:lnTo>
                  <a:lnTo>
                    <a:pt x="334" y="604"/>
                  </a:lnTo>
                  <a:lnTo>
                    <a:pt x="304" y="606"/>
                  </a:lnTo>
                  <a:lnTo>
                    <a:pt x="304" y="606"/>
                  </a:lnTo>
                  <a:lnTo>
                    <a:pt x="272" y="604"/>
                  </a:lnTo>
                  <a:lnTo>
                    <a:pt x="242" y="600"/>
                  </a:lnTo>
                  <a:lnTo>
                    <a:pt x="214" y="592"/>
                  </a:lnTo>
                  <a:lnTo>
                    <a:pt x="186" y="582"/>
                  </a:lnTo>
                  <a:lnTo>
                    <a:pt x="160" y="570"/>
                  </a:lnTo>
                  <a:lnTo>
                    <a:pt x="134" y="554"/>
                  </a:lnTo>
                  <a:lnTo>
                    <a:pt x="110" y="536"/>
                  </a:lnTo>
                  <a:lnTo>
                    <a:pt x="90" y="516"/>
                  </a:lnTo>
                  <a:lnTo>
                    <a:pt x="70" y="496"/>
                  </a:lnTo>
                  <a:lnTo>
                    <a:pt x="52" y="472"/>
                  </a:lnTo>
                  <a:lnTo>
                    <a:pt x="38" y="448"/>
                  </a:lnTo>
                  <a:lnTo>
                    <a:pt x="24" y="420"/>
                  </a:lnTo>
                  <a:lnTo>
                    <a:pt x="14" y="392"/>
                  </a:lnTo>
                  <a:lnTo>
                    <a:pt x="6" y="364"/>
                  </a:lnTo>
                  <a:lnTo>
                    <a:pt x="2" y="334"/>
                  </a:lnTo>
                  <a:lnTo>
                    <a:pt x="0" y="302"/>
                  </a:lnTo>
                  <a:lnTo>
                    <a:pt x="0" y="302"/>
                  </a:lnTo>
                  <a:lnTo>
                    <a:pt x="2" y="272"/>
                  </a:lnTo>
                  <a:lnTo>
                    <a:pt x="6" y="242"/>
                  </a:lnTo>
                  <a:lnTo>
                    <a:pt x="14" y="214"/>
                  </a:lnTo>
                  <a:lnTo>
                    <a:pt x="24" y="186"/>
                  </a:lnTo>
                  <a:lnTo>
                    <a:pt x="38" y="158"/>
                  </a:lnTo>
                  <a:lnTo>
                    <a:pt x="52" y="134"/>
                  </a:lnTo>
                  <a:lnTo>
                    <a:pt x="70" y="110"/>
                  </a:lnTo>
                  <a:lnTo>
                    <a:pt x="90" y="90"/>
                  </a:lnTo>
                  <a:lnTo>
                    <a:pt x="110" y="70"/>
                  </a:lnTo>
                  <a:lnTo>
                    <a:pt x="134" y="52"/>
                  </a:lnTo>
                  <a:lnTo>
                    <a:pt x="160" y="36"/>
                  </a:lnTo>
                  <a:lnTo>
                    <a:pt x="186" y="24"/>
                  </a:lnTo>
                  <a:lnTo>
                    <a:pt x="214" y="14"/>
                  </a:lnTo>
                  <a:lnTo>
                    <a:pt x="242" y="6"/>
                  </a:lnTo>
                  <a:lnTo>
                    <a:pt x="272" y="2"/>
                  </a:lnTo>
                  <a:lnTo>
                    <a:pt x="304" y="0"/>
                  </a:lnTo>
                  <a:lnTo>
                    <a:pt x="304" y="0"/>
                  </a:lnTo>
                  <a:lnTo>
                    <a:pt x="334" y="2"/>
                  </a:lnTo>
                  <a:lnTo>
                    <a:pt x="364" y="6"/>
                  </a:lnTo>
                  <a:lnTo>
                    <a:pt x="394" y="14"/>
                  </a:lnTo>
                  <a:lnTo>
                    <a:pt x="422" y="24"/>
                  </a:lnTo>
                  <a:lnTo>
                    <a:pt x="448" y="36"/>
                  </a:lnTo>
                  <a:lnTo>
                    <a:pt x="472" y="52"/>
                  </a:lnTo>
                  <a:lnTo>
                    <a:pt x="496" y="70"/>
                  </a:lnTo>
                  <a:lnTo>
                    <a:pt x="518" y="90"/>
                  </a:lnTo>
                  <a:lnTo>
                    <a:pt x="536" y="110"/>
                  </a:lnTo>
                  <a:lnTo>
                    <a:pt x="554" y="134"/>
                  </a:lnTo>
                  <a:lnTo>
                    <a:pt x="570" y="158"/>
                  </a:lnTo>
                  <a:lnTo>
                    <a:pt x="582" y="186"/>
                  </a:lnTo>
                  <a:lnTo>
                    <a:pt x="592" y="214"/>
                  </a:lnTo>
                  <a:lnTo>
                    <a:pt x="600" y="242"/>
                  </a:lnTo>
                  <a:lnTo>
                    <a:pt x="604" y="272"/>
                  </a:lnTo>
                  <a:lnTo>
                    <a:pt x="606" y="302"/>
                  </a:lnTo>
                  <a:lnTo>
                    <a:pt x="606" y="30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latin typeface="メイリオ"/>
                <a:ea typeface="メイリオ"/>
                <a:cs typeface="メイリオ"/>
              </a:endParaRPr>
            </a:p>
          </p:txBody>
        </p:sp>
        <p:sp>
          <p:nvSpPr>
            <p:cNvPr id="249" name="Freeform 6"/>
            <p:cNvSpPr>
              <a:spLocks noEditPoints="1"/>
            </p:cNvSpPr>
            <p:nvPr/>
          </p:nvSpPr>
          <p:spPr bwMode="auto">
            <a:xfrm>
              <a:off x="4311116" y="4905898"/>
              <a:ext cx="117215" cy="117215"/>
            </a:xfrm>
            <a:custGeom>
              <a:avLst/>
              <a:gdLst>
                <a:gd name="T0" fmla="*/ 700 w 1558"/>
                <a:gd name="T1" fmla="*/ 1554 h 1558"/>
                <a:gd name="T2" fmla="*/ 548 w 1558"/>
                <a:gd name="T3" fmla="*/ 1522 h 1558"/>
                <a:gd name="T4" fmla="*/ 408 w 1558"/>
                <a:gd name="T5" fmla="*/ 1464 h 1558"/>
                <a:gd name="T6" fmla="*/ 284 w 1558"/>
                <a:gd name="T7" fmla="*/ 1380 h 1558"/>
                <a:gd name="T8" fmla="*/ 178 w 1558"/>
                <a:gd name="T9" fmla="*/ 1274 h 1558"/>
                <a:gd name="T10" fmla="*/ 96 w 1558"/>
                <a:gd name="T11" fmla="*/ 1150 h 1558"/>
                <a:gd name="T12" fmla="*/ 36 w 1558"/>
                <a:gd name="T13" fmla="*/ 1010 h 1558"/>
                <a:gd name="T14" fmla="*/ 6 w 1558"/>
                <a:gd name="T15" fmla="*/ 858 h 1558"/>
                <a:gd name="T16" fmla="*/ 2 w 1558"/>
                <a:gd name="T17" fmla="*/ 738 h 1558"/>
                <a:gd name="T18" fmla="*/ 26 w 1558"/>
                <a:gd name="T19" fmla="*/ 584 h 1558"/>
                <a:gd name="T20" fmla="*/ 78 w 1558"/>
                <a:gd name="T21" fmla="*/ 442 h 1558"/>
                <a:gd name="T22" fmla="*/ 156 w 1558"/>
                <a:gd name="T23" fmla="*/ 314 h 1558"/>
                <a:gd name="T24" fmla="*/ 256 w 1558"/>
                <a:gd name="T25" fmla="*/ 204 h 1558"/>
                <a:gd name="T26" fmla="*/ 376 w 1558"/>
                <a:gd name="T27" fmla="*/ 114 h 1558"/>
                <a:gd name="T28" fmla="*/ 512 w 1558"/>
                <a:gd name="T29" fmla="*/ 48 h 1558"/>
                <a:gd name="T30" fmla="*/ 662 w 1558"/>
                <a:gd name="T31" fmla="*/ 10 h 1558"/>
                <a:gd name="T32" fmla="*/ 780 w 1558"/>
                <a:gd name="T33" fmla="*/ 0 h 1558"/>
                <a:gd name="T34" fmla="*/ 936 w 1558"/>
                <a:gd name="T35" fmla="*/ 16 h 1558"/>
                <a:gd name="T36" fmla="*/ 1082 w 1558"/>
                <a:gd name="T37" fmla="*/ 62 h 1558"/>
                <a:gd name="T38" fmla="*/ 1214 w 1558"/>
                <a:gd name="T39" fmla="*/ 134 h 1558"/>
                <a:gd name="T40" fmla="*/ 1330 w 1558"/>
                <a:gd name="T41" fmla="*/ 228 h 1558"/>
                <a:gd name="T42" fmla="*/ 1424 w 1558"/>
                <a:gd name="T43" fmla="*/ 344 h 1558"/>
                <a:gd name="T44" fmla="*/ 1496 w 1558"/>
                <a:gd name="T45" fmla="*/ 476 h 1558"/>
                <a:gd name="T46" fmla="*/ 1542 w 1558"/>
                <a:gd name="T47" fmla="*/ 622 h 1558"/>
                <a:gd name="T48" fmla="*/ 1558 w 1558"/>
                <a:gd name="T49" fmla="*/ 778 h 1558"/>
                <a:gd name="T50" fmla="*/ 1548 w 1558"/>
                <a:gd name="T51" fmla="*/ 898 h 1558"/>
                <a:gd name="T52" fmla="*/ 1510 w 1558"/>
                <a:gd name="T53" fmla="*/ 1046 h 1558"/>
                <a:gd name="T54" fmla="*/ 1444 w 1558"/>
                <a:gd name="T55" fmla="*/ 1182 h 1558"/>
                <a:gd name="T56" fmla="*/ 1356 w 1558"/>
                <a:gd name="T57" fmla="*/ 1302 h 1558"/>
                <a:gd name="T58" fmla="*/ 1244 w 1558"/>
                <a:gd name="T59" fmla="*/ 1402 h 1558"/>
                <a:gd name="T60" fmla="*/ 1116 w 1558"/>
                <a:gd name="T61" fmla="*/ 1480 h 1558"/>
                <a:gd name="T62" fmla="*/ 974 w 1558"/>
                <a:gd name="T63" fmla="*/ 1532 h 1558"/>
                <a:gd name="T64" fmla="*/ 820 w 1558"/>
                <a:gd name="T65" fmla="*/ 1556 h 1558"/>
                <a:gd name="T66" fmla="*/ 780 w 1558"/>
                <a:gd name="T67" fmla="*/ 276 h 1558"/>
                <a:gd name="T68" fmla="*/ 678 w 1558"/>
                <a:gd name="T69" fmla="*/ 286 h 1558"/>
                <a:gd name="T70" fmla="*/ 584 w 1558"/>
                <a:gd name="T71" fmla="*/ 316 h 1558"/>
                <a:gd name="T72" fmla="*/ 424 w 1558"/>
                <a:gd name="T73" fmla="*/ 424 h 1558"/>
                <a:gd name="T74" fmla="*/ 316 w 1558"/>
                <a:gd name="T75" fmla="*/ 584 h 1558"/>
                <a:gd name="T76" fmla="*/ 286 w 1558"/>
                <a:gd name="T77" fmla="*/ 678 h 1558"/>
                <a:gd name="T78" fmla="*/ 276 w 1558"/>
                <a:gd name="T79" fmla="*/ 778 h 1558"/>
                <a:gd name="T80" fmla="*/ 282 w 1558"/>
                <a:gd name="T81" fmla="*/ 856 h 1558"/>
                <a:gd name="T82" fmla="*/ 306 w 1558"/>
                <a:gd name="T83" fmla="*/ 952 h 1558"/>
                <a:gd name="T84" fmla="*/ 392 w 1558"/>
                <a:gd name="T85" fmla="*/ 1098 h 1558"/>
                <a:gd name="T86" fmla="*/ 540 w 1558"/>
                <a:gd name="T87" fmla="*/ 1222 h 1558"/>
                <a:gd name="T88" fmla="*/ 654 w 1558"/>
                <a:gd name="T89" fmla="*/ 1266 h 1558"/>
                <a:gd name="T90" fmla="*/ 754 w 1558"/>
                <a:gd name="T91" fmla="*/ 1282 h 1558"/>
                <a:gd name="T92" fmla="*/ 830 w 1558"/>
                <a:gd name="T93" fmla="*/ 1280 h 1558"/>
                <a:gd name="T94" fmla="*/ 928 w 1558"/>
                <a:gd name="T95" fmla="*/ 1260 h 1558"/>
                <a:gd name="T96" fmla="*/ 1060 w 1558"/>
                <a:gd name="T97" fmla="*/ 1196 h 1558"/>
                <a:gd name="T98" fmla="*/ 1196 w 1558"/>
                <a:gd name="T99" fmla="*/ 1060 h 1558"/>
                <a:gd name="T100" fmla="*/ 1260 w 1558"/>
                <a:gd name="T101" fmla="*/ 928 h 1558"/>
                <a:gd name="T102" fmla="*/ 1280 w 1558"/>
                <a:gd name="T103" fmla="*/ 830 h 1558"/>
                <a:gd name="T104" fmla="*/ 1282 w 1558"/>
                <a:gd name="T105" fmla="*/ 754 h 1558"/>
                <a:gd name="T106" fmla="*/ 1266 w 1558"/>
                <a:gd name="T107" fmla="*/ 654 h 1558"/>
                <a:gd name="T108" fmla="*/ 1222 w 1558"/>
                <a:gd name="T109" fmla="*/ 540 h 1558"/>
                <a:gd name="T110" fmla="*/ 1100 w 1558"/>
                <a:gd name="T111" fmla="*/ 390 h 1558"/>
                <a:gd name="T112" fmla="*/ 952 w 1558"/>
                <a:gd name="T113" fmla="*/ 306 h 1558"/>
                <a:gd name="T114" fmla="*/ 856 w 1558"/>
                <a:gd name="T115" fmla="*/ 282 h 1558"/>
                <a:gd name="T116" fmla="*/ 780 w 1558"/>
                <a:gd name="T117" fmla="*/ 276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8" h="1558">
                  <a:moveTo>
                    <a:pt x="780" y="1558"/>
                  </a:moveTo>
                  <a:lnTo>
                    <a:pt x="780" y="1558"/>
                  </a:lnTo>
                  <a:lnTo>
                    <a:pt x="740" y="1556"/>
                  </a:lnTo>
                  <a:lnTo>
                    <a:pt x="700" y="1554"/>
                  </a:lnTo>
                  <a:lnTo>
                    <a:pt x="662" y="1548"/>
                  </a:lnTo>
                  <a:lnTo>
                    <a:pt x="622" y="1542"/>
                  </a:lnTo>
                  <a:lnTo>
                    <a:pt x="586" y="1532"/>
                  </a:lnTo>
                  <a:lnTo>
                    <a:pt x="548" y="1522"/>
                  </a:lnTo>
                  <a:lnTo>
                    <a:pt x="512" y="1510"/>
                  </a:lnTo>
                  <a:lnTo>
                    <a:pt x="476" y="1496"/>
                  </a:lnTo>
                  <a:lnTo>
                    <a:pt x="442" y="1480"/>
                  </a:lnTo>
                  <a:lnTo>
                    <a:pt x="408" y="1464"/>
                  </a:lnTo>
                  <a:lnTo>
                    <a:pt x="376" y="1444"/>
                  </a:lnTo>
                  <a:lnTo>
                    <a:pt x="344" y="1424"/>
                  </a:lnTo>
                  <a:lnTo>
                    <a:pt x="314" y="1402"/>
                  </a:lnTo>
                  <a:lnTo>
                    <a:pt x="284" y="1380"/>
                  </a:lnTo>
                  <a:lnTo>
                    <a:pt x="256" y="1354"/>
                  </a:lnTo>
                  <a:lnTo>
                    <a:pt x="230" y="1330"/>
                  </a:lnTo>
                  <a:lnTo>
                    <a:pt x="204" y="1302"/>
                  </a:lnTo>
                  <a:lnTo>
                    <a:pt x="178" y="1274"/>
                  </a:lnTo>
                  <a:lnTo>
                    <a:pt x="156" y="1244"/>
                  </a:lnTo>
                  <a:lnTo>
                    <a:pt x="134" y="1214"/>
                  </a:lnTo>
                  <a:lnTo>
                    <a:pt x="114" y="1182"/>
                  </a:lnTo>
                  <a:lnTo>
                    <a:pt x="96" y="1150"/>
                  </a:lnTo>
                  <a:lnTo>
                    <a:pt x="78" y="1116"/>
                  </a:lnTo>
                  <a:lnTo>
                    <a:pt x="62" y="1082"/>
                  </a:lnTo>
                  <a:lnTo>
                    <a:pt x="48" y="1046"/>
                  </a:lnTo>
                  <a:lnTo>
                    <a:pt x="36" y="1010"/>
                  </a:lnTo>
                  <a:lnTo>
                    <a:pt x="26" y="974"/>
                  </a:lnTo>
                  <a:lnTo>
                    <a:pt x="16" y="936"/>
                  </a:lnTo>
                  <a:lnTo>
                    <a:pt x="10" y="898"/>
                  </a:lnTo>
                  <a:lnTo>
                    <a:pt x="6" y="858"/>
                  </a:lnTo>
                  <a:lnTo>
                    <a:pt x="2" y="818"/>
                  </a:lnTo>
                  <a:lnTo>
                    <a:pt x="0" y="778"/>
                  </a:lnTo>
                  <a:lnTo>
                    <a:pt x="0" y="778"/>
                  </a:lnTo>
                  <a:lnTo>
                    <a:pt x="2" y="738"/>
                  </a:lnTo>
                  <a:lnTo>
                    <a:pt x="6" y="700"/>
                  </a:lnTo>
                  <a:lnTo>
                    <a:pt x="10" y="660"/>
                  </a:lnTo>
                  <a:lnTo>
                    <a:pt x="16" y="622"/>
                  </a:lnTo>
                  <a:lnTo>
                    <a:pt x="26" y="584"/>
                  </a:lnTo>
                  <a:lnTo>
                    <a:pt x="36" y="548"/>
                  </a:lnTo>
                  <a:lnTo>
                    <a:pt x="48" y="512"/>
                  </a:lnTo>
                  <a:lnTo>
                    <a:pt x="62" y="476"/>
                  </a:lnTo>
                  <a:lnTo>
                    <a:pt x="78" y="442"/>
                  </a:lnTo>
                  <a:lnTo>
                    <a:pt x="96" y="408"/>
                  </a:lnTo>
                  <a:lnTo>
                    <a:pt x="114" y="376"/>
                  </a:lnTo>
                  <a:lnTo>
                    <a:pt x="134" y="344"/>
                  </a:lnTo>
                  <a:lnTo>
                    <a:pt x="156" y="314"/>
                  </a:lnTo>
                  <a:lnTo>
                    <a:pt x="178" y="284"/>
                  </a:lnTo>
                  <a:lnTo>
                    <a:pt x="204" y="256"/>
                  </a:lnTo>
                  <a:lnTo>
                    <a:pt x="230" y="228"/>
                  </a:lnTo>
                  <a:lnTo>
                    <a:pt x="256" y="204"/>
                  </a:lnTo>
                  <a:lnTo>
                    <a:pt x="284" y="178"/>
                  </a:lnTo>
                  <a:lnTo>
                    <a:pt x="314" y="156"/>
                  </a:lnTo>
                  <a:lnTo>
                    <a:pt x="344" y="134"/>
                  </a:lnTo>
                  <a:lnTo>
                    <a:pt x="376" y="114"/>
                  </a:lnTo>
                  <a:lnTo>
                    <a:pt x="408" y="94"/>
                  </a:lnTo>
                  <a:lnTo>
                    <a:pt x="442" y="78"/>
                  </a:lnTo>
                  <a:lnTo>
                    <a:pt x="476" y="62"/>
                  </a:lnTo>
                  <a:lnTo>
                    <a:pt x="512" y="48"/>
                  </a:lnTo>
                  <a:lnTo>
                    <a:pt x="548" y="36"/>
                  </a:lnTo>
                  <a:lnTo>
                    <a:pt x="586" y="26"/>
                  </a:lnTo>
                  <a:lnTo>
                    <a:pt x="622" y="16"/>
                  </a:lnTo>
                  <a:lnTo>
                    <a:pt x="662" y="10"/>
                  </a:lnTo>
                  <a:lnTo>
                    <a:pt x="700" y="4"/>
                  </a:lnTo>
                  <a:lnTo>
                    <a:pt x="740" y="2"/>
                  </a:lnTo>
                  <a:lnTo>
                    <a:pt x="780" y="0"/>
                  </a:lnTo>
                  <a:lnTo>
                    <a:pt x="780" y="0"/>
                  </a:lnTo>
                  <a:lnTo>
                    <a:pt x="820" y="2"/>
                  </a:lnTo>
                  <a:lnTo>
                    <a:pt x="858" y="4"/>
                  </a:lnTo>
                  <a:lnTo>
                    <a:pt x="898" y="10"/>
                  </a:lnTo>
                  <a:lnTo>
                    <a:pt x="936" y="16"/>
                  </a:lnTo>
                  <a:lnTo>
                    <a:pt x="974" y="26"/>
                  </a:lnTo>
                  <a:lnTo>
                    <a:pt x="1010" y="36"/>
                  </a:lnTo>
                  <a:lnTo>
                    <a:pt x="1046" y="48"/>
                  </a:lnTo>
                  <a:lnTo>
                    <a:pt x="1082" y="62"/>
                  </a:lnTo>
                  <a:lnTo>
                    <a:pt x="1116" y="78"/>
                  </a:lnTo>
                  <a:lnTo>
                    <a:pt x="1150" y="94"/>
                  </a:lnTo>
                  <a:lnTo>
                    <a:pt x="1182" y="114"/>
                  </a:lnTo>
                  <a:lnTo>
                    <a:pt x="1214" y="134"/>
                  </a:lnTo>
                  <a:lnTo>
                    <a:pt x="1244" y="156"/>
                  </a:lnTo>
                  <a:lnTo>
                    <a:pt x="1274" y="178"/>
                  </a:lnTo>
                  <a:lnTo>
                    <a:pt x="1302" y="204"/>
                  </a:lnTo>
                  <a:lnTo>
                    <a:pt x="1330" y="228"/>
                  </a:lnTo>
                  <a:lnTo>
                    <a:pt x="1356" y="256"/>
                  </a:lnTo>
                  <a:lnTo>
                    <a:pt x="1380" y="284"/>
                  </a:lnTo>
                  <a:lnTo>
                    <a:pt x="1402" y="314"/>
                  </a:lnTo>
                  <a:lnTo>
                    <a:pt x="1424" y="344"/>
                  </a:lnTo>
                  <a:lnTo>
                    <a:pt x="1444" y="376"/>
                  </a:lnTo>
                  <a:lnTo>
                    <a:pt x="1464" y="408"/>
                  </a:lnTo>
                  <a:lnTo>
                    <a:pt x="1480" y="442"/>
                  </a:lnTo>
                  <a:lnTo>
                    <a:pt x="1496" y="476"/>
                  </a:lnTo>
                  <a:lnTo>
                    <a:pt x="1510" y="512"/>
                  </a:lnTo>
                  <a:lnTo>
                    <a:pt x="1522" y="548"/>
                  </a:lnTo>
                  <a:lnTo>
                    <a:pt x="1534" y="584"/>
                  </a:lnTo>
                  <a:lnTo>
                    <a:pt x="1542" y="622"/>
                  </a:lnTo>
                  <a:lnTo>
                    <a:pt x="1548" y="660"/>
                  </a:lnTo>
                  <a:lnTo>
                    <a:pt x="1554" y="700"/>
                  </a:lnTo>
                  <a:lnTo>
                    <a:pt x="1556" y="738"/>
                  </a:lnTo>
                  <a:lnTo>
                    <a:pt x="1558" y="778"/>
                  </a:lnTo>
                  <a:lnTo>
                    <a:pt x="1558" y="778"/>
                  </a:lnTo>
                  <a:lnTo>
                    <a:pt x="1556" y="818"/>
                  </a:lnTo>
                  <a:lnTo>
                    <a:pt x="1554" y="858"/>
                  </a:lnTo>
                  <a:lnTo>
                    <a:pt x="1548" y="898"/>
                  </a:lnTo>
                  <a:lnTo>
                    <a:pt x="1542" y="936"/>
                  </a:lnTo>
                  <a:lnTo>
                    <a:pt x="1534" y="974"/>
                  </a:lnTo>
                  <a:lnTo>
                    <a:pt x="1522" y="1010"/>
                  </a:lnTo>
                  <a:lnTo>
                    <a:pt x="1510" y="1046"/>
                  </a:lnTo>
                  <a:lnTo>
                    <a:pt x="1496" y="1082"/>
                  </a:lnTo>
                  <a:lnTo>
                    <a:pt x="1480" y="1116"/>
                  </a:lnTo>
                  <a:lnTo>
                    <a:pt x="1464" y="1150"/>
                  </a:lnTo>
                  <a:lnTo>
                    <a:pt x="1444" y="1182"/>
                  </a:lnTo>
                  <a:lnTo>
                    <a:pt x="1424" y="1214"/>
                  </a:lnTo>
                  <a:lnTo>
                    <a:pt x="1402" y="1244"/>
                  </a:lnTo>
                  <a:lnTo>
                    <a:pt x="1380" y="1274"/>
                  </a:lnTo>
                  <a:lnTo>
                    <a:pt x="1356" y="1302"/>
                  </a:lnTo>
                  <a:lnTo>
                    <a:pt x="1330" y="1330"/>
                  </a:lnTo>
                  <a:lnTo>
                    <a:pt x="1302" y="1354"/>
                  </a:lnTo>
                  <a:lnTo>
                    <a:pt x="1274" y="1380"/>
                  </a:lnTo>
                  <a:lnTo>
                    <a:pt x="1244" y="1402"/>
                  </a:lnTo>
                  <a:lnTo>
                    <a:pt x="1214" y="1424"/>
                  </a:lnTo>
                  <a:lnTo>
                    <a:pt x="1182" y="1444"/>
                  </a:lnTo>
                  <a:lnTo>
                    <a:pt x="1150" y="1464"/>
                  </a:lnTo>
                  <a:lnTo>
                    <a:pt x="1116" y="1480"/>
                  </a:lnTo>
                  <a:lnTo>
                    <a:pt x="1082" y="1496"/>
                  </a:lnTo>
                  <a:lnTo>
                    <a:pt x="1046" y="1510"/>
                  </a:lnTo>
                  <a:lnTo>
                    <a:pt x="1010" y="1522"/>
                  </a:lnTo>
                  <a:lnTo>
                    <a:pt x="974" y="1532"/>
                  </a:lnTo>
                  <a:lnTo>
                    <a:pt x="936" y="1542"/>
                  </a:lnTo>
                  <a:lnTo>
                    <a:pt x="898" y="1548"/>
                  </a:lnTo>
                  <a:lnTo>
                    <a:pt x="858" y="1554"/>
                  </a:lnTo>
                  <a:lnTo>
                    <a:pt x="820" y="1556"/>
                  </a:lnTo>
                  <a:lnTo>
                    <a:pt x="780" y="1558"/>
                  </a:lnTo>
                  <a:lnTo>
                    <a:pt x="780" y="1558"/>
                  </a:lnTo>
                  <a:close/>
                  <a:moveTo>
                    <a:pt x="780" y="276"/>
                  </a:moveTo>
                  <a:lnTo>
                    <a:pt x="780" y="276"/>
                  </a:lnTo>
                  <a:lnTo>
                    <a:pt x="754" y="276"/>
                  </a:lnTo>
                  <a:lnTo>
                    <a:pt x="728" y="278"/>
                  </a:lnTo>
                  <a:lnTo>
                    <a:pt x="702" y="282"/>
                  </a:lnTo>
                  <a:lnTo>
                    <a:pt x="678" y="286"/>
                  </a:lnTo>
                  <a:lnTo>
                    <a:pt x="654" y="292"/>
                  </a:lnTo>
                  <a:lnTo>
                    <a:pt x="630" y="298"/>
                  </a:lnTo>
                  <a:lnTo>
                    <a:pt x="606" y="306"/>
                  </a:lnTo>
                  <a:lnTo>
                    <a:pt x="584" y="316"/>
                  </a:lnTo>
                  <a:lnTo>
                    <a:pt x="540" y="336"/>
                  </a:lnTo>
                  <a:lnTo>
                    <a:pt x="498" y="362"/>
                  </a:lnTo>
                  <a:lnTo>
                    <a:pt x="460" y="390"/>
                  </a:lnTo>
                  <a:lnTo>
                    <a:pt x="424" y="424"/>
                  </a:lnTo>
                  <a:lnTo>
                    <a:pt x="392" y="458"/>
                  </a:lnTo>
                  <a:lnTo>
                    <a:pt x="362" y="498"/>
                  </a:lnTo>
                  <a:lnTo>
                    <a:pt x="336" y="540"/>
                  </a:lnTo>
                  <a:lnTo>
                    <a:pt x="316" y="584"/>
                  </a:lnTo>
                  <a:lnTo>
                    <a:pt x="306" y="606"/>
                  </a:lnTo>
                  <a:lnTo>
                    <a:pt x="298" y="630"/>
                  </a:lnTo>
                  <a:lnTo>
                    <a:pt x="292" y="654"/>
                  </a:lnTo>
                  <a:lnTo>
                    <a:pt x="286" y="678"/>
                  </a:lnTo>
                  <a:lnTo>
                    <a:pt x="282" y="702"/>
                  </a:lnTo>
                  <a:lnTo>
                    <a:pt x="278" y="728"/>
                  </a:lnTo>
                  <a:lnTo>
                    <a:pt x="276" y="754"/>
                  </a:lnTo>
                  <a:lnTo>
                    <a:pt x="276" y="778"/>
                  </a:lnTo>
                  <a:lnTo>
                    <a:pt x="276" y="778"/>
                  </a:lnTo>
                  <a:lnTo>
                    <a:pt x="276" y="804"/>
                  </a:lnTo>
                  <a:lnTo>
                    <a:pt x="278" y="830"/>
                  </a:lnTo>
                  <a:lnTo>
                    <a:pt x="282" y="856"/>
                  </a:lnTo>
                  <a:lnTo>
                    <a:pt x="286" y="880"/>
                  </a:lnTo>
                  <a:lnTo>
                    <a:pt x="292" y="904"/>
                  </a:lnTo>
                  <a:lnTo>
                    <a:pt x="298" y="928"/>
                  </a:lnTo>
                  <a:lnTo>
                    <a:pt x="306" y="952"/>
                  </a:lnTo>
                  <a:lnTo>
                    <a:pt x="316" y="974"/>
                  </a:lnTo>
                  <a:lnTo>
                    <a:pt x="336" y="1018"/>
                  </a:lnTo>
                  <a:lnTo>
                    <a:pt x="362" y="1060"/>
                  </a:lnTo>
                  <a:lnTo>
                    <a:pt x="392" y="1098"/>
                  </a:lnTo>
                  <a:lnTo>
                    <a:pt x="424" y="1134"/>
                  </a:lnTo>
                  <a:lnTo>
                    <a:pt x="460" y="1168"/>
                  </a:lnTo>
                  <a:lnTo>
                    <a:pt x="498" y="1196"/>
                  </a:lnTo>
                  <a:lnTo>
                    <a:pt x="540" y="1222"/>
                  </a:lnTo>
                  <a:lnTo>
                    <a:pt x="584" y="1242"/>
                  </a:lnTo>
                  <a:lnTo>
                    <a:pt x="606" y="1252"/>
                  </a:lnTo>
                  <a:lnTo>
                    <a:pt x="630" y="1260"/>
                  </a:lnTo>
                  <a:lnTo>
                    <a:pt x="654" y="1266"/>
                  </a:lnTo>
                  <a:lnTo>
                    <a:pt x="678" y="1272"/>
                  </a:lnTo>
                  <a:lnTo>
                    <a:pt x="702" y="1276"/>
                  </a:lnTo>
                  <a:lnTo>
                    <a:pt x="728" y="1280"/>
                  </a:lnTo>
                  <a:lnTo>
                    <a:pt x="754" y="1282"/>
                  </a:lnTo>
                  <a:lnTo>
                    <a:pt x="780" y="1282"/>
                  </a:lnTo>
                  <a:lnTo>
                    <a:pt x="780" y="1282"/>
                  </a:lnTo>
                  <a:lnTo>
                    <a:pt x="806" y="1282"/>
                  </a:lnTo>
                  <a:lnTo>
                    <a:pt x="830" y="1280"/>
                  </a:lnTo>
                  <a:lnTo>
                    <a:pt x="856" y="1276"/>
                  </a:lnTo>
                  <a:lnTo>
                    <a:pt x="880" y="1272"/>
                  </a:lnTo>
                  <a:lnTo>
                    <a:pt x="906" y="1266"/>
                  </a:lnTo>
                  <a:lnTo>
                    <a:pt x="928" y="1260"/>
                  </a:lnTo>
                  <a:lnTo>
                    <a:pt x="952" y="1252"/>
                  </a:lnTo>
                  <a:lnTo>
                    <a:pt x="976" y="1242"/>
                  </a:lnTo>
                  <a:lnTo>
                    <a:pt x="1020" y="1222"/>
                  </a:lnTo>
                  <a:lnTo>
                    <a:pt x="1060" y="1196"/>
                  </a:lnTo>
                  <a:lnTo>
                    <a:pt x="1100" y="1168"/>
                  </a:lnTo>
                  <a:lnTo>
                    <a:pt x="1136" y="1134"/>
                  </a:lnTo>
                  <a:lnTo>
                    <a:pt x="1168" y="1098"/>
                  </a:lnTo>
                  <a:lnTo>
                    <a:pt x="1196" y="1060"/>
                  </a:lnTo>
                  <a:lnTo>
                    <a:pt x="1222" y="1018"/>
                  </a:lnTo>
                  <a:lnTo>
                    <a:pt x="1244" y="974"/>
                  </a:lnTo>
                  <a:lnTo>
                    <a:pt x="1252" y="952"/>
                  </a:lnTo>
                  <a:lnTo>
                    <a:pt x="1260" y="928"/>
                  </a:lnTo>
                  <a:lnTo>
                    <a:pt x="1266" y="904"/>
                  </a:lnTo>
                  <a:lnTo>
                    <a:pt x="1272" y="880"/>
                  </a:lnTo>
                  <a:lnTo>
                    <a:pt x="1276" y="856"/>
                  </a:lnTo>
                  <a:lnTo>
                    <a:pt x="1280" y="830"/>
                  </a:lnTo>
                  <a:lnTo>
                    <a:pt x="1282" y="804"/>
                  </a:lnTo>
                  <a:lnTo>
                    <a:pt x="1282" y="778"/>
                  </a:lnTo>
                  <a:lnTo>
                    <a:pt x="1282" y="778"/>
                  </a:lnTo>
                  <a:lnTo>
                    <a:pt x="1282" y="754"/>
                  </a:lnTo>
                  <a:lnTo>
                    <a:pt x="1280" y="728"/>
                  </a:lnTo>
                  <a:lnTo>
                    <a:pt x="1276" y="702"/>
                  </a:lnTo>
                  <a:lnTo>
                    <a:pt x="1272" y="678"/>
                  </a:lnTo>
                  <a:lnTo>
                    <a:pt x="1266" y="654"/>
                  </a:lnTo>
                  <a:lnTo>
                    <a:pt x="1260" y="630"/>
                  </a:lnTo>
                  <a:lnTo>
                    <a:pt x="1252" y="606"/>
                  </a:lnTo>
                  <a:lnTo>
                    <a:pt x="1244" y="584"/>
                  </a:lnTo>
                  <a:lnTo>
                    <a:pt x="1222" y="540"/>
                  </a:lnTo>
                  <a:lnTo>
                    <a:pt x="1196" y="498"/>
                  </a:lnTo>
                  <a:lnTo>
                    <a:pt x="1168" y="458"/>
                  </a:lnTo>
                  <a:lnTo>
                    <a:pt x="1136" y="424"/>
                  </a:lnTo>
                  <a:lnTo>
                    <a:pt x="1100" y="390"/>
                  </a:lnTo>
                  <a:lnTo>
                    <a:pt x="1060" y="362"/>
                  </a:lnTo>
                  <a:lnTo>
                    <a:pt x="1020" y="336"/>
                  </a:lnTo>
                  <a:lnTo>
                    <a:pt x="976" y="316"/>
                  </a:lnTo>
                  <a:lnTo>
                    <a:pt x="952" y="306"/>
                  </a:lnTo>
                  <a:lnTo>
                    <a:pt x="928" y="298"/>
                  </a:lnTo>
                  <a:lnTo>
                    <a:pt x="906" y="292"/>
                  </a:lnTo>
                  <a:lnTo>
                    <a:pt x="880" y="286"/>
                  </a:lnTo>
                  <a:lnTo>
                    <a:pt x="856" y="282"/>
                  </a:lnTo>
                  <a:lnTo>
                    <a:pt x="830" y="278"/>
                  </a:lnTo>
                  <a:lnTo>
                    <a:pt x="806" y="276"/>
                  </a:lnTo>
                  <a:lnTo>
                    <a:pt x="780" y="276"/>
                  </a:lnTo>
                  <a:lnTo>
                    <a:pt x="780" y="27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latin typeface="メイリオ"/>
                <a:ea typeface="メイリオ"/>
                <a:cs typeface="メイリオ"/>
              </a:endParaRPr>
            </a:p>
          </p:txBody>
        </p:sp>
        <p:sp>
          <p:nvSpPr>
            <p:cNvPr id="227" name="Oval 226"/>
            <p:cNvSpPr/>
            <p:nvPr/>
          </p:nvSpPr>
          <p:spPr>
            <a:xfrm>
              <a:off x="4280480" y="4875262"/>
              <a:ext cx="178486" cy="178486"/>
            </a:xfrm>
            <a:prstGeom prst="ellipse">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メイリオ"/>
                <a:ea typeface="メイリオ"/>
                <a:cs typeface="メイリオ"/>
              </a:endParaRPr>
            </a:p>
          </p:txBody>
        </p:sp>
        <p:sp>
          <p:nvSpPr>
            <p:cNvPr id="229" name="Oval 228"/>
            <p:cNvSpPr/>
            <p:nvPr/>
          </p:nvSpPr>
          <p:spPr>
            <a:xfrm>
              <a:off x="4238117" y="4832899"/>
              <a:ext cx="263213" cy="263213"/>
            </a:xfrm>
            <a:prstGeom prst="ellipse">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メイリオ"/>
                <a:ea typeface="メイリオ"/>
                <a:cs typeface="メイリオ"/>
              </a:endParaRPr>
            </a:p>
          </p:txBody>
        </p:sp>
        <p:sp>
          <p:nvSpPr>
            <p:cNvPr id="189" name="Oval 188"/>
            <p:cNvSpPr/>
            <p:nvPr/>
          </p:nvSpPr>
          <p:spPr>
            <a:xfrm>
              <a:off x="4192295" y="4787077"/>
              <a:ext cx="354857" cy="354857"/>
            </a:xfrm>
            <a:prstGeom prst="ellipse">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メイリオ"/>
                <a:ea typeface="メイリオ"/>
                <a:cs typeface="メイリオ"/>
              </a:endParaRPr>
            </a:p>
          </p:txBody>
        </p:sp>
      </p:grpSp>
      <p:sp>
        <p:nvSpPr>
          <p:cNvPr id="191" name="タイトル 1"/>
          <p:cNvSpPr>
            <a:spLocks noGrp="1"/>
          </p:cNvSpPr>
          <p:nvPr>
            <p:ph type="title"/>
          </p:nvPr>
        </p:nvSpPr>
        <p:spPr>
          <a:xfrm>
            <a:off x="274476" y="85173"/>
            <a:ext cx="8277608" cy="443295"/>
          </a:xfrm>
        </p:spPr>
        <p:txBody>
          <a:bodyPr/>
          <a:lstStyle/>
          <a:p>
            <a:r>
              <a:rPr kumimoji="1" lang="ja-JP" altLang="en-US" dirty="0" smtClean="0"/>
              <a:t>テンプレート</a:t>
            </a:r>
            <a:endParaRPr kumimoji="1" lang="ja-JP" altLang="en-US" dirty="0"/>
          </a:p>
        </p:txBody>
      </p:sp>
    </p:spTree>
    <p:extLst>
      <p:ext uri="{BB962C8B-B14F-4D97-AF65-F5344CB8AC3E}">
        <p14:creationId xmlns:p14="http://schemas.microsoft.com/office/powerpoint/2010/main" val="32446813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8"/>
                                        </p:tgtEl>
                                        <p:attrNameLst>
                                          <p:attrName>style.visibility</p:attrName>
                                        </p:attrNameLst>
                                      </p:cBhvr>
                                      <p:to>
                                        <p:strVal val="visible"/>
                                      </p:to>
                                    </p:set>
                                    <p:animEffect transition="in" filter="fade">
                                      <p:cBhvr>
                                        <p:cTn id="7" dur="250"/>
                                        <p:tgtEl>
                                          <p:spTgt spid="21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39"/>
                                        </p:tgtEl>
                                        <p:attrNameLst>
                                          <p:attrName>style.visibility</p:attrName>
                                        </p:attrNameLst>
                                      </p:cBhvr>
                                      <p:to>
                                        <p:strVal val="visible"/>
                                      </p:to>
                                    </p:set>
                                    <p:animEffect transition="in" filter="fade">
                                      <p:cBhvr>
                                        <p:cTn id="11" dur="250"/>
                                        <p:tgtEl>
                                          <p:spTgt spid="239"/>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17"/>
                                        </p:tgtEl>
                                        <p:attrNameLst>
                                          <p:attrName>style.visibility</p:attrName>
                                        </p:attrNameLst>
                                      </p:cBhvr>
                                      <p:to>
                                        <p:strVal val="visible"/>
                                      </p:to>
                                    </p:set>
                                    <p:animEffect transition="in" filter="fade">
                                      <p:cBhvr>
                                        <p:cTn id="15" dur="250"/>
                                        <p:tgtEl>
                                          <p:spTgt spid="217"/>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19"/>
                                        </p:tgtEl>
                                        <p:attrNameLst>
                                          <p:attrName>style.visibility</p:attrName>
                                        </p:attrNameLst>
                                      </p:cBhvr>
                                      <p:to>
                                        <p:strVal val="visible"/>
                                      </p:to>
                                    </p:set>
                                    <p:animEffect transition="in" filter="fade">
                                      <p:cBhvr>
                                        <p:cTn id="19" dur="250"/>
                                        <p:tgtEl>
                                          <p:spTgt spid="219"/>
                                        </p:tgtEl>
                                      </p:cBhvr>
                                    </p:animEffect>
                                  </p:childTnLst>
                                </p:cTn>
                              </p:par>
                            </p:childTnLst>
                          </p:cTn>
                        </p:par>
                        <p:par>
                          <p:cTn id="20" fill="hold">
                            <p:stCondLst>
                              <p:cond delay="1000"/>
                            </p:stCondLst>
                            <p:childTnLst>
                              <p:par>
                                <p:cTn id="21" presetID="22" presetClass="entr" presetSubtype="4" fill="hold" nodeType="afterEffect">
                                  <p:stCondLst>
                                    <p:cond delay="250"/>
                                  </p:stCondLst>
                                  <p:childTnLst>
                                    <p:set>
                                      <p:cBhvr>
                                        <p:cTn id="22" dur="1" fill="hold">
                                          <p:stCondLst>
                                            <p:cond delay="0"/>
                                          </p:stCondLst>
                                        </p:cTn>
                                        <p:tgtEl>
                                          <p:spTgt spid="144"/>
                                        </p:tgtEl>
                                        <p:attrNameLst>
                                          <p:attrName>style.visibility</p:attrName>
                                        </p:attrNameLst>
                                      </p:cBhvr>
                                      <p:to>
                                        <p:strVal val="visible"/>
                                      </p:to>
                                    </p:set>
                                    <p:animEffect transition="in" filter="wipe(down)">
                                      <p:cBhvr>
                                        <p:cTn id="23" dur="500"/>
                                        <p:tgtEl>
                                          <p:spTgt spid="144"/>
                                        </p:tgtEl>
                                      </p:cBhvr>
                                    </p:animEffect>
                                  </p:childTnLst>
                                </p:cTn>
                              </p:par>
                            </p:childTnLst>
                          </p:cTn>
                        </p:par>
                        <p:par>
                          <p:cTn id="24" fill="hold">
                            <p:stCondLst>
                              <p:cond delay="1750"/>
                            </p:stCondLst>
                            <p:childTnLst>
                              <p:par>
                                <p:cTn id="25" presetID="22" presetClass="entr" presetSubtype="8" fill="hold" nodeType="afterEffect">
                                  <p:stCondLst>
                                    <p:cond delay="0"/>
                                  </p:stCondLst>
                                  <p:childTnLst>
                                    <p:set>
                                      <p:cBhvr>
                                        <p:cTn id="26" dur="1" fill="hold">
                                          <p:stCondLst>
                                            <p:cond delay="0"/>
                                          </p:stCondLst>
                                        </p:cTn>
                                        <p:tgtEl>
                                          <p:spTgt spid="145"/>
                                        </p:tgtEl>
                                        <p:attrNameLst>
                                          <p:attrName>style.visibility</p:attrName>
                                        </p:attrNameLst>
                                      </p:cBhvr>
                                      <p:to>
                                        <p:strVal val="visible"/>
                                      </p:to>
                                    </p:set>
                                    <p:animEffect transition="in" filter="wipe(left)">
                                      <p:cBhvr>
                                        <p:cTn id="27" dur="500"/>
                                        <p:tgtEl>
                                          <p:spTgt spid="145"/>
                                        </p:tgtEl>
                                      </p:cBhvr>
                                    </p:animEffect>
                                  </p:childTnLst>
                                </p:cTn>
                              </p:par>
                            </p:childTnLst>
                          </p:cTn>
                        </p:par>
                        <p:par>
                          <p:cTn id="28" fill="hold">
                            <p:stCondLst>
                              <p:cond delay="2250"/>
                            </p:stCondLst>
                            <p:childTnLst>
                              <p:par>
                                <p:cTn id="29" presetID="22" presetClass="entr" presetSubtype="8" fill="hold" grpId="0" nodeType="after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wipe(left)">
                                      <p:cBhvr>
                                        <p:cTn id="31" dur="500"/>
                                        <p:tgtEl>
                                          <p:spTgt spid="160"/>
                                        </p:tgtEl>
                                      </p:cBhvr>
                                    </p:animEffect>
                                  </p:childTnLst>
                                </p:cTn>
                              </p:par>
                            </p:childTnLst>
                          </p:cTn>
                        </p:par>
                        <p:par>
                          <p:cTn id="32" fill="hold">
                            <p:stCondLst>
                              <p:cond delay="2750"/>
                            </p:stCondLst>
                            <p:childTnLst>
                              <p:par>
                                <p:cTn id="33" presetID="22" presetClass="entr" presetSubtype="8" fill="hold" nodeType="afterEffect">
                                  <p:stCondLst>
                                    <p:cond delay="0"/>
                                  </p:stCondLst>
                                  <p:childTnLst>
                                    <p:set>
                                      <p:cBhvr>
                                        <p:cTn id="34" dur="1" fill="hold">
                                          <p:stCondLst>
                                            <p:cond delay="0"/>
                                          </p:stCondLst>
                                        </p:cTn>
                                        <p:tgtEl>
                                          <p:spTgt spid="146"/>
                                        </p:tgtEl>
                                        <p:attrNameLst>
                                          <p:attrName>style.visibility</p:attrName>
                                        </p:attrNameLst>
                                      </p:cBhvr>
                                      <p:to>
                                        <p:strVal val="visible"/>
                                      </p:to>
                                    </p:set>
                                    <p:animEffect transition="in" filter="wipe(left)">
                                      <p:cBhvr>
                                        <p:cTn id="35" dur="500"/>
                                        <p:tgtEl>
                                          <p:spTgt spid="146"/>
                                        </p:tgtEl>
                                      </p:cBhvr>
                                    </p:animEffect>
                                  </p:childTnLst>
                                </p:cTn>
                              </p:par>
                            </p:childTnLst>
                          </p:cTn>
                        </p:par>
                        <p:par>
                          <p:cTn id="36" fill="hold">
                            <p:stCondLst>
                              <p:cond delay="3250"/>
                            </p:stCondLst>
                            <p:childTnLst>
                              <p:par>
                                <p:cTn id="37" presetID="22" presetClass="entr" presetSubtype="1" fill="hold" nodeType="afterEffect">
                                  <p:stCondLst>
                                    <p:cond delay="0"/>
                                  </p:stCondLst>
                                  <p:childTnLst>
                                    <p:set>
                                      <p:cBhvr>
                                        <p:cTn id="38" dur="1" fill="hold">
                                          <p:stCondLst>
                                            <p:cond delay="0"/>
                                          </p:stCondLst>
                                        </p:cTn>
                                        <p:tgtEl>
                                          <p:spTgt spid="195"/>
                                        </p:tgtEl>
                                        <p:attrNameLst>
                                          <p:attrName>style.visibility</p:attrName>
                                        </p:attrNameLst>
                                      </p:cBhvr>
                                      <p:to>
                                        <p:strVal val="visible"/>
                                      </p:to>
                                    </p:set>
                                    <p:animEffect transition="in" filter="wipe(up)">
                                      <p:cBhvr>
                                        <p:cTn id="39" dur="500"/>
                                        <p:tgtEl>
                                          <p:spTgt spid="195"/>
                                        </p:tgtEl>
                                      </p:cBhvr>
                                    </p:animEffect>
                                  </p:childTnLst>
                                </p:cTn>
                              </p:par>
                              <p:par>
                                <p:cTn id="40" presetID="22" presetClass="entr" presetSubtype="4" fill="hold" nodeType="withEffect">
                                  <p:stCondLst>
                                    <p:cond delay="0"/>
                                  </p:stCondLst>
                                  <p:childTnLst>
                                    <p:set>
                                      <p:cBhvr>
                                        <p:cTn id="41" dur="1" fill="hold">
                                          <p:stCondLst>
                                            <p:cond delay="0"/>
                                          </p:stCondLst>
                                        </p:cTn>
                                        <p:tgtEl>
                                          <p:spTgt spid="194"/>
                                        </p:tgtEl>
                                        <p:attrNameLst>
                                          <p:attrName>style.visibility</p:attrName>
                                        </p:attrNameLst>
                                      </p:cBhvr>
                                      <p:to>
                                        <p:strVal val="visible"/>
                                      </p:to>
                                    </p:set>
                                    <p:animEffect transition="in" filter="wipe(down)">
                                      <p:cBhvr>
                                        <p:cTn id="42" dur="500"/>
                                        <p:tgtEl>
                                          <p:spTgt spid="194"/>
                                        </p:tgtEl>
                                      </p:cBhvr>
                                    </p:animEffect>
                                  </p:childTnLst>
                                </p:cTn>
                              </p:par>
                              <p:par>
                                <p:cTn id="43" presetID="22" presetClass="entr" presetSubtype="8" fill="hold" nodeType="withEffect">
                                  <p:stCondLst>
                                    <p:cond delay="350"/>
                                  </p:stCondLst>
                                  <p:childTnLst>
                                    <p:set>
                                      <p:cBhvr>
                                        <p:cTn id="44" dur="1" fill="hold">
                                          <p:stCondLst>
                                            <p:cond delay="0"/>
                                          </p:stCondLst>
                                        </p:cTn>
                                        <p:tgtEl>
                                          <p:spTgt spid="193"/>
                                        </p:tgtEl>
                                        <p:attrNameLst>
                                          <p:attrName>style.visibility</p:attrName>
                                        </p:attrNameLst>
                                      </p:cBhvr>
                                      <p:to>
                                        <p:strVal val="visible"/>
                                      </p:to>
                                    </p:set>
                                    <p:animEffect transition="in" filter="wipe(left)">
                                      <p:cBhvr>
                                        <p:cTn id="45" dur="500"/>
                                        <p:tgtEl>
                                          <p:spTgt spid="193"/>
                                        </p:tgtEl>
                                      </p:cBhvr>
                                    </p:animEffect>
                                  </p:childTnLst>
                                </p:cTn>
                              </p:par>
                              <p:par>
                                <p:cTn id="46" presetID="22" presetClass="entr" presetSubtype="8" fill="hold" nodeType="withEffect">
                                  <p:stCondLst>
                                    <p:cond delay="350"/>
                                  </p:stCondLst>
                                  <p:childTnLst>
                                    <p:set>
                                      <p:cBhvr>
                                        <p:cTn id="47" dur="1" fill="hold">
                                          <p:stCondLst>
                                            <p:cond delay="0"/>
                                          </p:stCondLst>
                                        </p:cTn>
                                        <p:tgtEl>
                                          <p:spTgt spid="200"/>
                                        </p:tgtEl>
                                        <p:attrNameLst>
                                          <p:attrName>style.visibility</p:attrName>
                                        </p:attrNameLst>
                                      </p:cBhvr>
                                      <p:to>
                                        <p:strVal val="visible"/>
                                      </p:to>
                                    </p:set>
                                    <p:animEffect transition="in" filter="wipe(left)">
                                      <p:cBhvr>
                                        <p:cTn id="48" dur="500"/>
                                        <p:tgtEl>
                                          <p:spTgt spid="200"/>
                                        </p:tgtEl>
                                      </p:cBhvr>
                                    </p:animEffect>
                                  </p:childTnLst>
                                </p:cTn>
                              </p:par>
                              <p:par>
                                <p:cTn id="49" presetID="22" presetClass="entr" presetSubtype="8" fill="hold" nodeType="withEffect">
                                  <p:stCondLst>
                                    <p:cond delay="500"/>
                                  </p:stCondLst>
                                  <p:childTnLst>
                                    <p:set>
                                      <p:cBhvr>
                                        <p:cTn id="50" dur="1" fill="hold">
                                          <p:stCondLst>
                                            <p:cond delay="0"/>
                                          </p:stCondLst>
                                        </p:cTn>
                                        <p:tgtEl>
                                          <p:spTgt spid="197"/>
                                        </p:tgtEl>
                                        <p:attrNameLst>
                                          <p:attrName>style.visibility</p:attrName>
                                        </p:attrNameLst>
                                      </p:cBhvr>
                                      <p:to>
                                        <p:strVal val="visible"/>
                                      </p:to>
                                    </p:set>
                                    <p:animEffect transition="in" filter="wipe(left)">
                                      <p:cBhvr>
                                        <p:cTn id="51" dur="500"/>
                                        <p:tgtEl>
                                          <p:spTgt spid="197"/>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124"/>
                                        </p:tgtEl>
                                        <p:attrNameLst>
                                          <p:attrName>style.visibility</p:attrName>
                                        </p:attrNameLst>
                                      </p:cBhvr>
                                      <p:to>
                                        <p:strVal val="visible"/>
                                      </p:to>
                                    </p:set>
                                    <p:animEffect transition="in" filter="fade">
                                      <p:cBhvr>
                                        <p:cTn id="56" dur="500"/>
                                        <p:tgtEl>
                                          <p:spTgt spid="124"/>
                                        </p:tgtEl>
                                      </p:cBhvr>
                                    </p:animEffect>
                                  </p:childTnLst>
                                </p:cTn>
                              </p:par>
                              <p:par>
                                <p:cTn id="57" presetID="10" presetClass="entr" presetSubtype="0"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animEffect transition="in" filter="fade">
                                      <p:cBhvr>
                                        <p:cTn id="59" dur="500"/>
                                        <p:tgtEl>
                                          <p:spTgt spid="98"/>
                                        </p:tgtEl>
                                      </p:cBhvr>
                                    </p:animEffect>
                                  </p:childTnLst>
                                </p:cTn>
                              </p:par>
                            </p:childTnLst>
                          </p:cTn>
                        </p:par>
                        <p:par>
                          <p:cTn id="60" fill="hold">
                            <p:stCondLst>
                              <p:cond delay="500"/>
                            </p:stCondLst>
                            <p:childTnLst>
                              <p:par>
                                <p:cTn id="61" presetID="22" presetClass="entr" presetSubtype="1" fill="hold" nodeType="afterEffect">
                                  <p:stCondLst>
                                    <p:cond delay="0"/>
                                  </p:stCondLst>
                                  <p:childTnLst>
                                    <p:set>
                                      <p:cBhvr>
                                        <p:cTn id="62" dur="1" fill="hold">
                                          <p:stCondLst>
                                            <p:cond delay="0"/>
                                          </p:stCondLst>
                                        </p:cTn>
                                        <p:tgtEl>
                                          <p:spTgt spid="204"/>
                                        </p:tgtEl>
                                        <p:attrNameLst>
                                          <p:attrName>style.visibility</p:attrName>
                                        </p:attrNameLst>
                                      </p:cBhvr>
                                      <p:to>
                                        <p:strVal val="visible"/>
                                      </p:to>
                                    </p:set>
                                    <p:animEffect transition="in" filter="wipe(up)">
                                      <p:cBhvr>
                                        <p:cTn id="63" dur="250"/>
                                        <p:tgtEl>
                                          <p:spTgt spid="204"/>
                                        </p:tgtEl>
                                      </p:cBhvr>
                                    </p:animEffect>
                                  </p:childTnLst>
                                </p:cTn>
                              </p:par>
                            </p:childTnLst>
                          </p:cTn>
                        </p:par>
                        <p:par>
                          <p:cTn id="64" fill="hold">
                            <p:stCondLst>
                              <p:cond delay="750"/>
                            </p:stCondLst>
                            <p:childTnLst>
                              <p:par>
                                <p:cTn id="65" presetID="22" presetClass="entr" presetSubtype="8" fill="hold" nodeType="afterEffect">
                                  <p:stCondLst>
                                    <p:cond delay="0"/>
                                  </p:stCondLst>
                                  <p:childTnLst>
                                    <p:set>
                                      <p:cBhvr>
                                        <p:cTn id="66" dur="1" fill="hold">
                                          <p:stCondLst>
                                            <p:cond delay="0"/>
                                          </p:stCondLst>
                                        </p:cTn>
                                        <p:tgtEl>
                                          <p:spTgt spid="148"/>
                                        </p:tgtEl>
                                        <p:attrNameLst>
                                          <p:attrName>style.visibility</p:attrName>
                                        </p:attrNameLst>
                                      </p:cBhvr>
                                      <p:to>
                                        <p:strVal val="visible"/>
                                      </p:to>
                                    </p:set>
                                    <p:animEffect transition="in" filter="wipe(left)">
                                      <p:cBhvr>
                                        <p:cTn id="67" dur="250"/>
                                        <p:tgtEl>
                                          <p:spTgt spid="148"/>
                                        </p:tgtEl>
                                      </p:cBhvr>
                                    </p:animEffect>
                                  </p:childTnLst>
                                </p:cTn>
                              </p:par>
                            </p:childTnLst>
                          </p:cTn>
                        </p:par>
                        <p:par>
                          <p:cTn id="68" fill="hold">
                            <p:stCondLst>
                              <p:cond delay="1000"/>
                            </p:stCondLst>
                            <p:childTnLst>
                              <p:par>
                                <p:cTn id="69" presetID="53" presetClass="entr" presetSubtype="16" repeatCount="indefinite" fill="hold" nodeType="afterEffect">
                                  <p:stCondLst>
                                    <p:cond delay="750"/>
                                  </p:stCondLst>
                                  <p:childTnLst>
                                    <p:set>
                                      <p:cBhvr>
                                        <p:cTn id="70" dur="1" fill="hold">
                                          <p:stCondLst>
                                            <p:cond delay="0"/>
                                          </p:stCondLst>
                                        </p:cTn>
                                        <p:tgtEl>
                                          <p:spTgt spid="230"/>
                                        </p:tgtEl>
                                        <p:attrNameLst>
                                          <p:attrName>style.visibility</p:attrName>
                                        </p:attrNameLst>
                                      </p:cBhvr>
                                      <p:to>
                                        <p:strVal val="visible"/>
                                      </p:to>
                                    </p:set>
                                    <p:anim calcmode="lin" valueType="num">
                                      <p:cBhvr>
                                        <p:cTn id="71" dur="1250" fill="hold"/>
                                        <p:tgtEl>
                                          <p:spTgt spid="230"/>
                                        </p:tgtEl>
                                        <p:attrNameLst>
                                          <p:attrName>ppt_w</p:attrName>
                                        </p:attrNameLst>
                                      </p:cBhvr>
                                      <p:tavLst>
                                        <p:tav tm="0">
                                          <p:val>
                                            <p:fltVal val="0"/>
                                          </p:val>
                                        </p:tav>
                                        <p:tav tm="100000">
                                          <p:val>
                                            <p:strVal val="#ppt_w"/>
                                          </p:val>
                                        </p:tav>
                                      </p:tavLst>
                                    </p:anim>
                                    <p:anim calcmode="lin" valueType="num">
                                      <p:cBhvr>
                                        <p:cTn id="72" dur="1250" fill="hold"/>
                                        <p:tgtEl>
                                          <p:spTgt spid="230"/>
                                        </p:tgtEl>
                                        <p:attrNameLst>
                                          <p:attrName>ppt_h</p:attrName>
                                        </p:attrNameLst>
                                      </p:cBhvr>
                                      <p:tavLst>
                                        <p:tav tm="0">
                                          <p:val>
                                            <p:fltVal val="0"/>
                                          </p:val>
                                        </p:tav>
                                        <p:tav tm="100000">
                                          <p:val>
                                            <p:strVal val="#ppt_h"/>
                                          </p:val>
                                        </p:tav>
                                      </p:tavLst>
                                    </p:anim>
                                    <p:animEffect transition="in" filter="fade">
                                      <p:cBhvr>
                                        <p:cTn id="73" dur="1250"/>
                                        <p:tgtEl>
                                          <p:spTgt spid="230"/>
                                        </p:tgtEl>
                                      </p:cBhvr>
                                    </p:animEffect>
                                  </p:childTnLst>
                                </p:cTn>
                              </p:par>
                            </p:childTnLst>
                          </p:cTn>
                        </p:par>
                        <p:par>
                          <p:cTn id="74" fill="hold">
                            <p:stCondLst>
                              <p:cond delay="3000"/>
                            </p:stCondLst>
                            <p:childTnLst>
                              <p:par>
                                <p:cTn id="75" presetID="26" presetClass="emph" presetSubtype="0" fill="hold" grpId="1" nodeType="afterEffect">
                                  <p:stCondLst>
                                    <p:cond delay="0"/>
                                  </p:stCondLst>
                                  <p:childTnLst>
                                    <p:animEffect transition="out" filter="fade">
                                      <p:cBhvr>
                                        <p:cTn id="76" dur="750" tmFilter="0, 0; .2, .5; .8, .5; 1, 0"/>
                                        <p:tgtEl>
                                          <p:spTgt spid="218"/>
                                        </p:tgtEl>
                                      </p:cBhvr>
                                    </p:animEffect>
                                    <p:animScale>
                                      <p:cBhvr>
                                        <p:cTn id="77" dur="375" autoRev="1" fill="hold"/>
                                        <p:tgtEl>
                                          <p:spTgt spid="218"/>
                                        </p:tgtEl>
                                      </p:cBhvr>
                                      <p:by x="105000" y="105000"/>
                                    </p:animScale>
                                  </p:childTnLst>
                                </p:cTn>
                              </p:par>
                              <p:par>
                                <p:cTn id="78" presetID="26" presetClass="emph" presetSubtype="0" fill="hold" grpId="1" nodeType="withEffect">
                                  <p:stCondLst>
                                    <p:cond delay="0"/>
                                  </p:stCondLst>
                                  <p:childTnLst>
                                    <p:animEffect transition="out" filter="fade">
                                      <p:cBhvr>
                                        <p:cTn id="79" dur="750" tmFilter="0, 0; .2, .5; .8, .5; 1, 0"/>
                                        <p:tgtEl>
                                          <p:spTgt spid="239"/>
                                        </p:tgtEl>
                                      </p:cBhvr>
                                    </p:animEffect>
                                    <p:animScale>
                                      <p:cBhvr>
                                        <p:cTn id="80" dur="375" autoRev="1" fill="hold"/>
                                        <p:tgtEl>
                                          <p:spTgt spid="239"/>
                                        </p:tgtEl>
                                      </p:cBhvr>
                                      <p:by x="105000" y="105000"/>
                                    </p:animScale>
                                  </p:childTnLst>
                                </p:cTn>
                              </p:par>
                              <p:par>
                                <p:cTn id="81" presetID="26" presetClass="emph" presetSubtype="0" fill="hold" grpId="1" nodeType="withEffect">
                                  <p:stCondLst>
                                    <p:cond delay="0"/>
                                  </p:stCondLst>
                                  <p:childTnLst>
                                    <p:animEffect transition="out" filter="fade">
                                      <p:cBhvr>
                                        <p:cTn id="82" dur="750" tmFilter="0, 0; .2, .5; .8, .5; 1, 0"/>
                                        <p:tgtEl>
                                          <p:spTgt spid="217"/>
                                        </p:tgtEl>
                                      </p:cBhvr>
                                    </p:animEffect>
                                    <p:animScale>
                                      <p:cBhvr>
                                        <p:cTn id="83" dur="375" autoRev="1" fill="hold"/>
                                        <p:tgtEl>
                                          <p:spTgt spid="217"/>
                                        </p:tgtEl>
                                      </p:cBhvr>
                                      <p:by x="105000" y="105000"/>
                                    </p:animScale>
                                  </p:childTnLst>
                                </p:cTn>
                              </p:par>
                              <p:par>
                                <p:cTn id="84" presetID="26" presetClass="emph" presetSubtype="0" fill="hold" grpId="1" nodeType="withEffect">
                                  <p:stCondLst>
                                    <p:cond delay="0"/>
                                  </p:stCondLst>
                                  <p:childTnLst>
                                    <p:animEffect transition="out" filter="fade">
                                      <p:cBhvr>
                                        <p:cTn id="85" dur="750" tmFilter="0, 0; .2, .5; .8, .5; 1, 0"/>
                                        <p:tgtEl>
                                          <p:spTgt spid="219"/>
                                        </p:tgtEl>
                                      </p:cBhvr>
                                    </p:animEffect>
                                    <p:animScale>
                                      <p:cBhvr>
                                        <p:cTn id="86" dur="375" autoRev="1" fill="hold"/>
                                        <p:tgtEl>
                                          <p:spTgt spid="219"/>
                                        </p:tgtEl>
                                      </p:cBhvr>
                                      <p:by x="105000" y="105000"/>
                                    </p:animScale>
                                  </p:childTnLst>
                                </p:cTn>
                              </p:par>
                              <p:par>
                                <p:cTn id="87" presetID="26" presetClass="emph" presetSubtype="0" fill="hold" nodeType="withEffect">
                                  <p:stCondLst>
                                    <p:cond delay="0"/>
                                  </p:stCondLst>
                                  <p:childTnLst>
                                    <p:animEffect transition="out" filter="fade">
                                      <p:cBhvr>
                                        <p:cTn id="88" dur="750" tmFilter="0, 0; .2, .5; .8, .5; 1, 0"/>
                                        <p:tgtEl>
                                          <p:spTgt spid="25"/>
                                        </p:tgtEl>
                                      </p:cBhvr>
                                    </p:animEffect>
                                    <p:animScale>
                                      <p:cBhvr>
                                        <p:cTn id="89" dur="375" autoRev="1" fill="hold"/>
                                        <p:tgtEl>
                                          <p:spTgt spid="25"/>
                                        </p:tgtEl>
                                      </p:cBhvr>
                                      <p:by x="105000" y="105000"/>
                                    </p:animScale>
                                  </p:childTnLst>
                                </p:cTn>
                              </p:par>
                              <p:par>
                                <p:cTn id="90" presetID="26" presetClass="emph" presetSubtype="0" fill="hold" grpId="0" nodeType="withEffect">
                                  <p:stCondLst>
                                    <p:cond delay="0"/>
                                  </p:stCondLst>
                                  <p:childTnLst>
                                    <p:animEffect transition="out" filter="fade">
                                      <p:cBhvr>
                                        <p:cTn id="91" dur="750" tmFilter="0, 0; .2, .5; .8, .5; 1, 0"/>
                                        <p:tgtEl>
                                          <p:spTgt spid="79"/>
                                        </p:tgtEl>
                                      </p:cBhvr>
                                    </p:animEffect>
                                    <p:animScale>
                                      <p:cBhvr>
                                        <p:cTn id="92" dur="375" autoRev="1" fill="hold"/>
                                        <p:tgtEl>
                                          <p:spTgt spid="79"/>
                                        </p:tgtEl>
                                      </p:cBhvr>
                                      <p:by x="105000" y="105000"/>
                                    </p:animScale>
                                  </p:childTnLst>
                                </p:cTn>
                              </p:par>
                              <p:par>
                                <p:cTn id="93" presetID="26" presetClass="emph" presetSubtype="0" fill="hold" grpId="0" nodeType="withEffect">
                                  <p:stCondLst>
                                    <p:cond delay="0"/>
                                  </p:stCondLst>
                                  <p:childTnLst>
                                    <p:animEffect transition="out" filter="fade">
                                      <p:cBhvr>
                                        <p:cTn id="94" dur="750" tmFilter="0, 0; .2, .5; .8, .5; 1, 0"/>
                                        <p:tgtEl>
                                          <p:spTgt spid="80"/>
                                        </p:tgtEl>
                                      </p:cBhvr>
                                    </p:animEffect>
                                    <p:animScale>
                                      <p:cBhvr>
                                        <p:cTn id="95" dur="375" autoRev="1" fill="hold"/>
                                        <p:tgtEl>
                                          <p:spTgt spid="80"/>
                                        </p:tgtEl>
                                      </p:cBhvr>
                                      <p:by x="105000" y="105000"/>
                                    </p:animScale>
                                  </p:childTnLst>
                                </p:cTn>
                              </p:par>
                              <p:par>
                                <p:cTn id="96" presetID="26" presetClass="emph" presetSubtype="0" fill="hold" grpId="0" nodeType="withEffect">
                                  <p:stCondLst>
                                    <p:cond delay="0"/>
                                  </p:stCondLst>
                                  <p:childTnLst>
                                    <p:animEffect transition="out" filter="fade">
                                      <p:cBhvr>
                                        <p:cTn id="97" dur="750" tmFilter="0, 0; .2, .5; .8, .5; 1, 0"/>
                                        <p:tgtEl>
                                          <p:spTgt spid="77"/>
                                        </p:tgtEl>
                                      </p:cBhvr>
                                    </p:animEffect>
                                    <p:animScale>
                                      <p:cBhvr>
                                        <p:cTn id="98" dur="375" autoRev="1" fill="hold"/>
                                        <p:tgtEl>
                                          <p:spTgt spid="77"/>
                                        </p:tgtEl>
                                      </p:cBhvr>
                                      <p:by x="105000" y="105000"/>
                                    </p:animScale>
                                  </p:childTnLst>
                                </p:cTn>
                              </p:par>
                              <p:par>
                                <p:cTn id="99" presetID="26" presetClass="emph" presetSubtype="0" fill="hold" grpId="0" nodeType="withEffect">
                                  <p:stCondLst>
                                    <p:cond delay="0"/>
                                  </p:stCondLst>
                                  <p:childTnLst>
                                    <p:animEffect transition="out" filter="fade">
                                      <p:cBhvr>
                                        <p:cTn id="100" dur="750" tmFilter="0, 0; .2, .5; .8, .5; 1, 0"/>
                                        <p:tgtEl>
                                          <p:spTgt spid="188"/>
                                        </p:tgtEl>
                                      </p:cBhvr>
                                    </p:animEffect>
                                    <p:animScale>
                                      <p:cBhvr>
                                        <p:cTn id="101" dur="375" autoRev="1" fill="hold"/>
                                        <p:tgtEl>
                                          <p:spTgt spid="188"/>
                                        </p:tgtEl>
                                      </p:cBhvr>
                                      <p:by x="105000" y="105000"/>
                                    </p:animScale>
                                  </p:childTnLst>
                                </p:cTn>
                              </p:par>
                              <p:par>
                                <p:cTn id="102" presetID="26" presetClass="emph" presetSubtype="0" fill="hold" grpId="0" nodeType="withEffect">
                                  <p:stCondLst>
                                    <p:cond delay="0"/>
                                  </p:stCondLst>
                                  <p:childTnLst>
                                    <p:animEffect transition="out" filter="fade">
                                      <p:cBhvr>
                                        <p:cTn id="103" dur="750" tmFilter="0, 0; .2, .5; .8, .5; 1, 0"/>
                                        <p:tgtEl>
                                          <p:spTgt spid="223"/>
                                        </p:tgtEl>
                                      </p:cBhvr>
                                    </p:animEffect>
                                    <p:animScale>
                                      <p:cBhvr>
                                        <p:cTn id="104" dur="375" autoRev="1" fill="hold"/>
                                        <p:tgtEl>
                                          <p:spTgt spid="223"/>
                                        </p:tgtEl>
                                      </p:cBhvr>
                                      <p:by x="105000" y="105000"/>
                                    </p:animScale>
                                  </p:childTnLst>
                                </p:cTn>
                              </p:par>
                              <p:par>
                                <p:cTn id="105" presetID="26" presetClass="emph" presetSubtype="0" fill="hold" grpId="0" nodeType="withEffect">
                                  <p:stCondLst>
                                    <p:cond delay="0"/>
                                  </p:stCondLst>
                                  <p:childTnLst>
                                    <p:animEffect transition="out" filter="fade">
                                      <p:cBhvr>
                                        <p:cTn id="106" dur="750" tmFilter="0, 0; .2, .5; .8, .5; 1, 0"/>
                                        <p:tgtEl>
                                          <p:spTgt spid="224"/>
                                        </p:tgtEl>
                                      </p:cBhvr>
                                    </p:animEffect>
                                    <p:animScale>
                                      <p:cBhvr>
                                        <p:cTn id="107" dur="375" autoRev="1" fill="hold"/>
                                        <p:tgtEl>
                                          <p:spTgt spid="224"/>
                                        </p:tgtEl>
                                      </p:cBhvr>
                                      <p:by x="105000" y="105000"/>
                                    </p:animScale>
                                  </p:childTnLst>
                                </p:cTn>
                              </p:par>
                              <p:par>
                                <p:cTn id="108" presetID="26" presetClass="emph" presetSubtype="0" fill="hold" grpId="0" nodeType="withEffect">
                                  <p:stCondLst>
                                    <p:cond delay="0"/>
                                  </p:stCondLst>
                                  <p:childTnLst>
                                    <p:animEffect transition="out" filter="fade">
                                      <p:cBhvr>
                                        <p:cTn id="109" dur="750" tmFilter="0, 0; .2, .5; .8, .5; 1, 0"/>
                                        <p:tgtEl>
                                          <p:spTgt spid="225"/>
                                        </p:tgtEl>
                                      </p:cBhvr>
                                    </p:animEffect>
                                    <p:animScale>
                                      <p:cBhvr>
                                        <p:cTn id="110" dur="375" autoRev="1" fill="hold"/>
                                        <p:tgtEl>
                                          <p:spTgt spid="225"/>
                                        </p:tgtEl>
                                      </p:cBhvr>
                                      <p:by x="105000" y="105000"/>
                                    </p:animScale>
                                  </p:childTnLst>
                                </p:cTn>
                              </p:par>
                              <p:par>
                                <p:cTn id="111" presetID="26" presetClass="emph" presetSubtype="0" fill="hold" grpId="0" nodeType="withEffect">
                                  <p:stCondLst>
                                    <p:cond delay="0"/>
                                  </p:stCondLst>
                                  <p:childTnLst>
                                    <p:animEffect transition="out" filter="fade">
                                      <p:cBhvr>
                                        <p:cTn id="112" dur="750" tmFilter="0, 0; .2, .5; .8, .5; 1, 0"/>
                                        <p:tgtEl>
                                          <p:spTgt spid="190"/>
                                        </p:tgtEl>
                                      </p:cBhvr>
                                    </p:animEffect>
                                    <p:animScale>
                                      <p:cBhvr>
                                        <p:cTn id="113" dur="375" autoRev="1" fill="hold"/>
                                        <p:tgtEl>
                                          <p:spTgt spid="190"/>
                                        </p:tgtEl>
                                      </p:cBhvr>
                                      <p:by x="105000" y="105000"/>
                                    </p:animScale>
                                  </p:childTnLst>
                                </p:cTn>
                              </p:par>
                              <p:par>
                                <p:cTn id="114" presetID="26" presetClass="emph" presetSubtype="0" fill="hold" grpId="0" nodeType="withEffect">
                                  <p:stCondLst>
                                    <p:cond delay="0"/>
                                  </p:stCondLst>
                                  <p:childTnLst>
                                    <p:animEffect transition="out" filter="fade">
                                      <p:cBhvr>
                                        <p:cTn id="115" dur="750" tmFilter="0, 0; .2, .5; .8, .5; 1, 0"/>
                                        <p:tgtEl>
                                          <p:spTgt spid="212"/>
                                        </p:tgtEl>
                                      </p:cBhvr>
                                    </p:animEffect>
                                    <p:animScale>
                                      <p:cBhvr>
                                        <p:cTn id="116" dur="375" autoRev="1" fill="hold"/>
                                        <p:tgtEl>
                                          <p:spTgt spid="212"/>
                                        </p:tgtEl>
                                      </p:cBhvr>
                                      <p:by x="105000" y="105000"/>
                                    </p:animScale>
                                  </p:childTnLst>
                                </p:cTn>
                              </p:par>
                              <p:par>
                                <p:cTn id="117" presetID="26" presetClass="emph" presetSubtype="0" fill="hold" grpId="0" nodeType="withEffect">
                                  <p:stCondLst>
                                    <p:cond delay="0"/>
                                  </p:stCondLst>
                                  <p:childTnLst>
                                    <p:animEffect transition="out" filter="fade">
                                      <p:cBhvr>
                                        <p:cTn id="118" dur="750" tmFilter="0, 0; .2, .5; .8, .5; 1, 0"/>
                                        <p:tgtEl>
                                          <p:spTgt spid="215"/>
                                        </p:tgtEl>
                                      </p:cBhvr>
                                    </p:animEffect>
                                    <p:animScale>
                                      <p:cBhvr>
                                        <p:cTn id="119" dur="375" autoRev="1" fill="hold"/>
                                        <p:tgtEl>
                                          <p:spTgt spid="215"/>
                                        </p:tgtEl>
                                      </p:cBhvr>
                                      <p:by x="105000" y="105000"/>
                                    </p:animScale>
                                  </p:childTnLst>
                                </p:cTn>
                              </p:par>
                              <p:par>
                                <p:cTn id="120" presetID="26" presetClass="emph" presetSubtype="0" fill="hold" grpId="0" nodeType="withEffect">
                                  <p:stCondLst>
                                    <p:cond delay="0"/>
                                  </p:stCondLst>
                                  <p:childTnLst>
                                    <p:animEffect transition="out" filter="fade">
                                      <p:cBhvr>
                                        <p:cTn id="121" dur="750" tmFilter="0, 0; .2, .5; .8, .5; 1, 0"/>
                                        <p:tgtEl>
                                          <p:spTgt spid="216"/>
                                        </p:tgtEl>
                                      </p:cBhvr>
                                    </p:animEffect>
                                    <p:animScale>
                                      <p:cBhvr>
                                        <p:cTn id="122" dur="375" autoRev="1" fill="hold"/>
                                        <p:tgtEl>
                                          <p:spTgt spid="216"/>
                                        </p:tgtEl>
                                      </p:cBhvr>
                                      <p:by x="105000" y="105000"/>
                                    </p:animScale>
                                  </p:childTnLst>
                                </p:cTn>
                              </p:par>
                            </p:childTnLst>
                          </p:cTn>
                        </p:par>
                        <p:par>
                          <p:cTn id="123" fill="hold">
                            <p:stCondLst>
                              <p:cond delay="3750"/>
                            </p:stCondLst>
                            <p:childTnLst>
                              <p:par>
                                <p:cTn id="124" presetID="10" presetClass="entr" presetSubtype="0" fill="hold" grpId="1" nodeType="afterEffect">
                                  <p:stCondLst>
                                    <p:cond delay="0"/>
                                  </p:stCondLst>
                                  <p:childTnLst>
                                    <p:set>
                                      <p:cBhvr>
                                        <p:cTn id="125" dur="1" fill="hold">
                                          <p:stCondLst>
                                            <p:cond delay="0"/>
                                          </p:stCondLst>
                                        </p:cTn>
                                        <p:tgtEl>
                                          <p:spTgt spid="6"/>
                                        </p:tgtEl>
                                        <p:attrNameLst>
                                          <p:attrName>style.visibility</p:attrName>
                                        </p:attrNameLst>
                                      </p:cBhvr>
                                      <p:to>
                                        <p:strVal val="visible"/>
                                      </p:to>
                                    </p:set>
                                    <p:animEffect transition="in" filter="fade">
                                      <p:cBhvr>
                                        <p:cTn id="126" dur="250"/>
                                        <p:tgtEl>
                                          <p:spTgt spid="6"/>
                                        </p:tgtEl>
                                      </p:cBhvr>
                                    </p:animEffect>
                                  </p:childTnLst>
                                </p:cTn>
                              </p:par>
                            </p:childTnLst>
                          </p:cTn>
                        </p:par>
                        <p:par>
                          <p:cTn id="127" fill="hold">
                            <p:stCondLst>
                              <p:cond delay="4000"/>
                            </p:stCondLst>
                            <p:childTnLst>
                              <p:par>
                                <p:cTn id="128" presetID="0" presetClass="path" presetSubtype="0" accel="50000" decel="50000" fill="hold" grpId="0" nodeType="afterEffect">
                                  <p:stCondLst>
                                    <p:cond delay="0"/>
                                  </p:stCondLst>
                                  <p:childTnLst>
                                    <p:animMotion origin="layout" path="M -1.66667E-6 -0.00023 L -1.66667E-6 0.00046 L -1.66667E-6 -0.13796 C 0.03008 -0.13519 0.153 -0.13796 0.18334 -0.13704 C 0.18685 -0.11065 0.18698 -0.0963 0.1961 -0.08287 C 0.20313 -0.07014 0.21159 -0.05995 0.23203 -0.0537 C 0.25755 -0.06366 0.25755 -0.07639 0.26263 -0.08102 C 0.2724 -0.0956 0.27682 -0.12384 0.27761 -0.1375 C 0.29258 -0.13681 0.30729 -0.1375 0.32266 -0.1375 C 0.32175 -0.10694 0.32292 -0.06366 0.32305 0.03032 " pathEditMode="relative" rAng="0" ptsTypes="AAAAAAAAAA">
                                      <p:cBhvr>
                                        <p:cTn id="129" dur="2000" fill="hold"/>
                                        <p:tgtEl>
                                          <p:spTgt spid="6"/>
                                        </p:tgtEl>
                                        <p:attrNameLst>
                                          <p:attrName>ppt_x</p:attrName>
                                          <p:attrName>ppt_y</p:attrName>
                                        </p:attrNameLst>
                                      </p:cBhvr>
                                      <p:rCtr x="16146" y="-5370"/>
                                    </p:animMotion>
                                  </p:childTnLst>
                                  <p:subTnLst>
                                    <p:set>
                                      <p:cBhvr override="childStyle">
                                        <p:cTn dur="1" fill="hold" display="0" masterRel="sameClick" afterEffect="1">
                                          <p:stCondLst>
                                            <p:cond evt="end" delay="0">
                                              <p:tn val="128"/>
                                            </p:cond>
                                          </p:stCondLst>
                                        </p:cTn>
                                        <p:tgtEl>
                                          <p:spTgt spid="6"/>
                                        </p:tgtEl>
                                        <p:attrNameLst>
                                          <p:attrName>style.visibility</p:attrName>
                                        </p:attrNameLst>
                                      </p:cBhvr>
                                      <p:to>
                                        <p:strVal val="hidden"/>
                                      </p:to>
                                    </p:set>
                                  </p:subTnLst>
                                </p:cTn>
                              </p:par>
                              <p:par>
                                <p:cTn id="130" presetID="22" presetClass="entr" presetSubtype="1" fill="hold" nodeType="withEffect">
                                  <p:stCondLst>
                                    <p:cond delay="1750"/>
                                  </p:stCondLst>
                                  <p:childTnLst>
                                    <p:set>
                                      <p:cBhvr>
                                        <p:cTn id="131" dur="1" fill="hold">
                                          <p:stCondLst>
                                            <p:cond delay="0"/>
                                          </p:stCondLst>
                                        </p:cTn>
                                        <p:tgtEl>
                                          <p:spTgt spid="205"/>
                                        </p:tgtEl>
                                        <p:attrNameLst>
                                          <p:attrName>style.visibility</p:attrName>
                                        </p:attrNameLst>
                                      </p:cBhvr>
                                      <p:to>
                                        <p:strVal val="visible"/>
                                      </p:to>
                                    </p:set>
                                    <p:animEffect transition="in" filter="wipe(up)">
                                      <p:cBhvr>
                                        <p:cTn id="132" dur="250"/>
                                        <p:tgtEl>
                                          <p:spTgt spid="205"/>
                                        </p:tgtEl>
                                      </p:cBhvr>
                                    </p:animEffect>
                                  </p:childTnLst>
                                </p:cTn>
                              </p:par>
                            </p:childTnLst>
                          </p:cTn>
                        </p:par>
                        <p:par>
                          <p:cTn id="133" fill="hold">
                            <p:stCondLst>
                              <p:cond delay="6000"/>
                            </p:stCondLst>
                            <p:childTnLst>
                              <p:par>
                                <p:cTn id="134" presetID="22" presetClass="entr" presetSubtype="8" fill="hold" nodeType="afterEffect">
                                  <p:stCondLst>
                                    <p:cond delay="0"/>
                                  </p:stCondLst>
                                  <p:childTnLst>
                                    <p:set>
                                      <p:cBhvr>
                                        <p:cTn id="135" dur="1" fill="hold">
                                          <p:stCondLst>
                                            <p:cond delay="0"/>
                                          </p:stCondLst>
                                        </p:cTn>
                                        <p:tgtEl>
                                          <p:spTgt spid="196"/>
                                        </p:tgtEl>
                                        <p:attrNameLst>
                                          <p:attrName>style.visibility</p:attrName>
                                        </p:attrNameLst>
                                      </p:cBhvr>
                                      <p:to>
                                        <p:strVal val="visible"/>
                                      </p:to>
                                    </p:set>
                                    <p:animEffect transition="in" filter="wipe(left)">
                                      <p:cBhvr>
                                        <p:cTn id="136" dur="25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 grpId="0" animBg="1"/>
      <p:bldP spid="79" grpId="0" animBg="1"/>
      <p:bldP spid="80" grpId="0" animBg="1"/>
      <p:bldP spid="77" grpId="0" animBg="1"/>
      <p:bldP spid="188" grpId="0" animBg="1"/>
      <p:bldP spid="223" grpId="0" animBg="1"/>
      <p:bldP spid="224" grpId="0" animBg="1"/>
      <p:bldP spid="225" grpId="0" animBg="1"/>
      <p:bldP spid="190" grpId="0" animBg="1"/>
      <p:bldP spid="212" grpId="0" animBg="1"/>
      <p:bldP spid="215" grpId="0" animBg="1"/>
      <p:bldP spid="216" grpId="0" animBg="1"/>
      <p:bldP spid="239" grpId="0"/>
      <p:bldP spid="239" grpId="1"/>
      <p:bldP spid="217" grpId="0"/>
      <p:bldP spid="217" grpId="1"/>
      <p:bldP spid="218" grpId="0"/>
      <p:bldP spid="218" grpId="1"/>
      <p:bldP spid="219" grpId="0"/>
      <p:bldP spid="219" grpId="1"/>
      <p:bldP spid="6" grpId="0" animBg="1"/>
      <p:bldP spid="6"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74476" y="85173"/>
            <a:ext cx="8277608" cy="443295"/>
          </a:xfrm>
        </p:spPr>
        <p:txBody>
          <a:bodyPr/>
          <a:lstStyle/>
          <a:p>
            <a:r>
              <a:rPr lang="ja-JP" altLang="en-US" dirty="0" smtClean="0"/>
              <a:t>レポート</a:t>
            </a:r>
            <a:r>
              <a:rPr lang="en-US" altLang="ja-JP" dirty="0" smtClean="0"/>
              <a:t> – </a:t>
            </a:r>
            <a:r>
              <a:rPr lang="ja-JP" altLang="en-US" dirty="0" smtClean="0"/>
              <a:t>ネットワークセキュリティ全体での可視化</a:t>
            </a:r>
            <a:endParaRPr kumimoji="1" lang="ja-JP" altLang="en-US" dirty="0"/>
          </a:p>
        </p:txBody>
      </p:sp>
      <p:sp>
        <p:nvSpPr>
          <p:cNvPr id="164" name="Rectangle 110"/>
          <p:cNvSpPr/>
          <p:nvPr/>
        </p:nvSpPr>
        <p:spPr>
          <a:xfrm>
            <a:off x="253148" y="666141"/>
            <a:ext cx="8058149" cy="4470400"/>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latin typeface="メイリオ"/>
              <a:ea typeface="メイリオ"/>
              <a:cs typeface="メイリオ"/>
            </a:endParaRPr>
          </a:p>
        </p:txBody>
      </p:sp>
      <p:sp>
        <p:nvSpPr>
          <p:cNvPr id="165" name="Rectangle 3"/>
          <p:cNvSpPr/>
          <p:nvPr/>
        </p:nvSpPr>
        <p:spPr>
          <a:xfrm>
            <a:off x="429027" y="1154412"/>
            <a:ext cx="7737105" cy="880547"/>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228600" indent="-228600">
              <a:spcBef>
                <a:spcPts val="600"/>
              </a:spcBef>
              <a:buFont typeface="Arial" panose="020B0604020202020204" pitchFamily="34" charset="0"/>
              <a:buChar char="•"/>
            </a:pPr>
            <a:r>
              <a:rPr lang="en-US" sz="1400" dirty="0" smtClean="0">
                <a:solidFill>
                  <a:schemeClr val="tx1"/>
                </a:solidFill>
                <a:latin typeface="メイリオ"/>
                <a:ea typeface="メイリオ"/>
                <a:cs typeface="メイリオ"/>
              </a:rPr>
              <a:t>Layer</a:t>
            </a:r>
            <a:r>
              <a:rPr lang="en-US" sz="1400" dirty="0">
                <a:solidFill>
                  <a:schemeClr val="tx1"/>
                </a:solidFill>
                <a:latin typeface="メイリオ"/>
                <a:ea typeface="メイリオ"/>
                <a:cs typeface="メイリオ"/>
              </a:rPr>
              <a:t>-</a:t>
            </a:r>
            <a:r>
              <a:rPr lang="en-US" sz="1400" dirty="0" smtClean="0">
                <a:solidFill>
                  <a:schemeClr val="tx1"/>
                </a:solidFill>
                <a:latin typeface="メイリオ"/>
                <a:ea typeface="メイリオ"/>
                <a:cs typeface="メイリオ"/>
              </a:rPr>
              <a:t>7</a:t>
            </a:r>
            <a:r>
              <a:rPr lang="ja-JP" altLang="en-US" sz="1400" dirty="0" smtClean="0">
                <a:solidFill>
                  <a:schemeClr val="tx1"/>
                </a:solidFill>
                <a:latin typeface="メイリオ"/>
                <a:ea typeface="メイリオ"/>
                <a:cs typeface="メイリオ"/>
              </a:rPr>
              <a:t>の可視化</a:t>
            </a:r>
            <a:endParaRPr lang="en-US" sz="1400" dirty="0">
              <a:solidFill>
                <a:schemeClr val="tx1"/>
              </a:solidFill>
              <a:latin typeface="メイリオ"/>
              <a:ea typeface="メイリオ"/>
              <a:cs typeface="メイリオ"/>
            </a:endParaRPr>
          </a:p>
          <a:p>
            <a:pPr marL="228600" indent="-228600">
              <a:spcBef>
                <a:spcPts val="600"/>
              </a:spcBef>
              <a:buFont typeface="Arial" panose="020B0604020202020204" pitchFamily="34" charset="0"/>
              <a:buChar char="•"/>
            </a:pPr>
            <a:r>
              <a:rPr lang="ja-JP" altLang="en-US" sz="1400" dirty="0" smtClean="0">
                <a:solidFill>
                  <a:schemeClr val="tx1"/>
                </a:solidFill>
                <a:latin typeface="メイリオ"/>
                <a:ea typeface="メイリオ"/>
                <a:cs typeface="メイリオ"/>
              </a:rPr>
              <a:t>ネットワークの傾向を、レポートの上位の宛先、アプリーケション、</a:t>
            </a:r>
            <a:r>
              <a:rPr lang="en-US" altLang="ja-JP" sz="1400" dirty="0" smtClean="0">
                <a:solidFill>
                  <a:schemeClr val="tx1"/>
                </a:solidFill>
                <a:latin typeface="メイリオ"/>
                <a:ea typeface="メイリオ"/>
                <a:cs typeface="メイリオ"/>
              </a:rPr>
              <a:t>URL</a:t>
            </a:r>
            <a:r>
              <a:rPr lang="ja-JP" altLang="en-US" sz="1400" dirty="0" smtClean="0">
                <a:solidFill>
                  <a:schemeClr val="tx1"/>
                </a:solidFill>
                <a:latin typeface="メイリオ"/>
                <a:ea typeface="メイリオ"/>
                <a:cs typeface="メイリオ"/>
              </a:rPr>
              <a:t> カテゴリから、簡単に可視化可能。</a:t>
            </a:r>
            <a:endParaRPr lang="en-US" sz="1600" dirty="0">
              <a:solidFill>
                <a:schemeClr val="tx1"/>
              </a:solidFill>
              <a:latin typeface="メイリオ"/>
              <a:ea typeface="メイリオ"/>
              <a:cs typeface="メイリオ"/>
            </a:endParaRPr>
          </a:p>
        </p:txBody>
      </p:sp>
      <p:sp>
        <p:nvSpPr>
          <p:cNvPr id="166" name="Rectangle 68"/>
          <p:cNvSpPr/>
          <p:nvPr/>
        </p:nvSpPr>
        <p:spPr>
          <a:xfrm>
            <a:off x="430799" y="756155"/>
            <a:ext cx="7735333" cy="39825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ja-JP" altLang="en-US" dirty="0" smtClean="0">
                <a:solidFill>
                  <a:schemeClr val="bg1"/>
                </a:solidFill>
                <a:latin typeface="メイリオ"/>
                <a:ea typeface="メイリオ"/>
                <a:cs typeface="メイリオ"/>
              </a:rPr>
              <a:t>全ネットワーク基盤のパフォーマンスを分析</a:t>
            </a:r>
            <a:endParaRPr lang="en-US" dirty="0">
              <a:solidFill>
                <a:schemeClr val="bg1"/>
              </a:solidFill>
              <a:latin typeface="メイリオ"/>
              <a:ea typeface="メイリオ"/>
              <a:cs typeface="メイリオ"/>
            </a:endParaRPr>
          </a:p>
        </p:txBody>
      </p:sp>
      <p:sp>
        <p:nvSpPr>
          <p:cNvPr id="167" name="Freeform 235"/>
          <p:cNvSpPr>
            <a:spLocks/>
          </p:cNvSpPr>
          <p:nvPr/>
        </p:nvSpPr>
        <p:spPr bwMode="auto">
          <a:xfrm>
            <a:off x="438553" y="2531548"/>
            <a:ext cx="7682245" cy="2005553"/>
          </a:xfrm>
          <a:custGeom>
            <a:avLst/>
            <a:gdLst>
              <a:gd name="connsiteX0" fmla="*/ 1381126 w 1919288"/>
              <a:gd name="connsiteY0" fmla="*/ 520700 h 642938"/>
              <a:gd name="connsiteX1" fmla="*/ 1808163 w 1919288"/>
              <a:gd name="connsiteY1" fmla="*/ 576263 h 642938"/>
              <a:gd name="connsiteX2" fmla="*/ 1697710 w 1919288"/>
              <a:gd name="connsiteY2" fmla="*/ 610165 h 642938"/>
              <a:gd name="connsiteX3" fmla="*/ 1808163 w 1919288"/>
              <a:gd name="connsiteY3" fmla="*/ 576263 h 642938"/>
              <a:gd name="connsiteX4" fmla="*/ 1809750 w 1919288"/>
              <a:gd name="connsiteY4" fmla="*/ 600076 h 642938"/>
              <a:gd name="connsiteX5" fmla="*/ 1649413 w 1919288"/>
              <a:gd name="connsiteY5" fmla="*/ 642938 h 642938"/>
              <a:gd name="connsiteX6" fmla="*/ 1649413 w 1919288"/>
              <a:gd name="connsiteY6" fmla="*/ 642938 h 642938"/>
              <a:gd name="connsiteX7" fmla="*/ 1223963 w 1919288"/>
              <a:gd name="connsiteY7" fmla="*/ 571500 h 642938"/>
              <a:gd name="connsiteX8" fmla="*/ 1223963 w 1919288"/>
              <a:gd name="connsiteY8" fmla="*/ 561975 h 642938"/>
              <a:gd name="connsiteX9" fmla="*/ 534987 w 1919288"/>
              <a:gd name="connsiteY9" fmla="*/ 520700 h 642938"/>
              <a:gd name="connsiteX10" fmla="*/ 695325 w 1919288"/>
              <a:gd name="connsiteY10" fmla="*/ 561975 h 642938"/>
              <a:gd name="connsiteX11" fmla="*/ 695325 w 1919288"/>
              <a:gd name="connsiteY11" fmla="*/ 571500 h 642938"/>
              <a:gd name="connsiteX12" fmla="*/ 269875 w 1919288"/>
              <a:gd name="connsiteY12" fmla="*/ 642938 h 642938"/>
              <a:gd name="connsiteX13" fmla="*/ 111125 w 1919288"/>
              <a:gd name="connsiteY13" fmla="*/ 600076 h 642938"/>
              <a:gd name="connsiteX14" fmla="*/ 111125 w 1919288"/>
              <a:gd name="connsiteY14" fmla="*/ 576263 h 642938"/>
              <a:gd name="connsiteX15" fmla="*/ 269875 w 1919288"/>
              <a:gd name="connsiteY15" fmla="*/ 625476 h 642938"/>
              <a:gd name="connsiteX16" fmla="*/ 111125 w 1919288"/>
              <a:gd name="connsiteY16" fmla="*/ 576263 h 642938"/>
              <a:gd name="connsiteX17" fmla="*/ 695325 w 1919288"/>
              <a:gd name="connsiteY17" fmla="*/ 500063 h 642938"/>
              <a:gd name="connsiteX18" fmla="*/ 1223963 w 1919288"/>
              <a:gd name="connsiteY18" fmla="*/ 500063 h 642938"/>
              <a:gd name="connsiteX19" fmla="*/ 1223963 w 1919288"/>
              <a:gd name="connsiteY19" fmla="*/ 527050 h 642938"/>
              <a:gd name="connsiteX20" fmla="*/ 1179513 w 1919288"/>
              <a:gd name="connsiteY20" fmla="*/ 569913 h 642938"/>
              <a:gd name="connsiteX21" fmla="*/ 739775 w 1919288"/>
              <a:gd name="connsiteY21" fmla="*/ 569913 h 642938"/>
              <a:gd name="connsiteX22" fmla="*/ 695325 w 1919288"/>
              <a:gd name="connsiteY22" fmla="*/ 527050 h 642938"/>
              <a:gd name="connsiteX23" fmla="*/ 681037 w 1919288"/>
              <a:gd name="connsiteY23" fmla="*/ 44450 h 642938"/>
              <a:gd name="connsiteX24" fmla="*/ 1236663 w 1919288"/>
              <a:gd name="connsiteY24" fmla="*/ 44450 h 642938"/>
              <a:gd name="connsiteX25" fmla="*/ 1247775 w 1919288"/>
              <a:gd name="connsiteY25" fmla="*/ 55589 h 642938"/>
              <a:gd name="connsiteX26" fmla="*/ 1247775 w 1919288"/>
              <a:gd name="connsiteY26" fmla="*/ 436536 h 642938"/>
              <a:gd name="connsiteX27" fmla="*/ 1236663 w 1919288"/>
              <a:gd name="connsiteY27" fmla="*/ 447675 h 642938"/>
              <a:gd name="connsiteX28" fmla="*/ 1081183 w 1919288"/>
              <a:gd name="connsiteY28" fmla="*/ 447675 h 642938"/>
              <a:gd name="connsiteX29" fmla="*/ 1049392 w 1919288"/>
              <a:gd name="connsiteY29" fmla="*/ 464048 h 642938"/>
              <a:gd name="connsiteX30" fmla="*/ 965201 w 1919288"/>
              <a:gd name="connsiteY30" fmla="*/ 471488 h 642938"/>
              <a:gd name="connsiteX31" fmla="*/ 881011 w 1919288"/>
              <a:gd name="connsiteY31" fmla="*/ 464048 h 642938"/>
              <a:gd name="connsiteX32" fmla="*/ 849220 w 1919288"/>
              <a:gd name="connsiteY32" fmla="*/ 447675 h 642938"/>
              <a:gd name="connsiteX33" fmla="*/ 681037 w 1919288"/>
              <a:gd name="connsiteY33" fmla="*/ 447675 h 642938"/>
              <a:gd name="connsiteX34" fmla="*/ 669925 w 1919288"/>
              <a:gd name="connsiteY34" fmla="*/ 436536 h 642938"/>
              <a:gd name="connsiteX35" fmla="*/ 669925 w 1919288"/>
              <a:gd name="connsiteY35" fmla="*/ 55589 h 642938"/>
              <a:gd name="connsiteX36" fmla="*/ 681037 w 1919288"/>
              <a:gd name="connsiteY36" fmla="*/ 44450 h 642938"/>
              <a:gd name="connsiteX37" fmla="*/ 1876425 w 1919288"/>
              <a:gd name="connsiteY37" fmla="*/ 0 h 642938"/>
              <a:gd name="connsiteX38" fmla="*/ 1876432 w 1919288"/>
              <a:gd name="connsiteY38" fmla="*/ 1 h 642938"/>
              <a:gd name="connsiteX39" fmla="*/ 1876443 w 1919288"/>
              <a:gd name="connsiteY39" fmla="*/ 0 h 642938"/>
              <a:gd name="connsiteX40" fmla="*/ 1876448 w 1919288"/>
              <a:gd name="connsiteY40" fmla="*/ 2 h 642938"/>
              <a:gd name="connsiteX41" fmla="*/ 1919288 w 1919288"/>
              <a:gd name="connsiteY41" fmla="*/ 4762 h 642938"/>
              <a:gd name="connsiteX42" fmla="*/ 1919288 w 1919288"/>
              <a:gd name="connsiteY42" fmla="*/ 509587 h 642938"/>
              <a:gd name="connsiteX43" fmla="*/ 1876448 w 1919288"/>
              <a:gd name="connsiteY43" fmla="*/ 514347 h 642938"/>
              <a:gd name="connsiteX44" fmla="*/ 1876443 w 1919288"/>
              <a:gd name="connsiteY44" fmla="*/ 514350 h 642938"/>
              <a:gd name="connsiteX45" fmla="*/ 1876434 w 1919288"/>
              <a:gd name="connsiteY45" fmla="*/ 514349 h 642938"/>
              <a:gd name="connsiteX46" fmla="*/ 1876425 w 1919288"/>
              <a:gd name="connsiteY46" fmla="*/ 514350 h 642938"/>
              <a:gd name="connsiteX47" fmla="*/ 1876425 w 1919288"/>
              <a:gd name="connsiteY47" fmla="*/ 514348 h 642938"/>
              <a:gd name="connsiteX48" fmla="*/ 1727988 w 1919288"/>
              <a:gd name="connsiteY48" fmla="*/ 498820 h 642938"/>
              <a:gd name="connsiteX49" fmla="*/ 1725124 w 1919288"/>
              <a:gd name="connsiteY49" fmla="*/ 501795 h 642938"/>
              <a:gd name="connsiteX50" fmla="*/ 1589088 w 1919288"/>
              <a:gd name="connsiteY50" fmla="*/ 520702 h 642938"/>
              <a:gd name="connsiteX51" fmla="*/ 1441450 w 1919288"/>
              <a:gd name="connsiteY51" fmla="*/ 489745 h 642938"/>
              <a:gd name="connsiteX52" fmla="*/ 1453052 w 1919288"/>
              <a:gd name="connsiteY52" fmla="*/ 477695 h 642938"/>
              <a:gd name="connsiteX53" fmla="*/ 1471423 w 1919288"/>
              <a:gd name="connsiteY53" fmla="*/ 471982 h 642938"/>
              <a:gd name="connsiteX54" fmla="*/ 1301733 w 1919288"/>
              <a:gd name="connsiteY54" fmla="*/ 454231 h 642938"/>
              <a:gd name="connsiteX55" fmla="*/ 1290638 w 1919288"/>
              <a:gd name="connsiteY55" fmla="*/ 443098 h 642938"/>
              <a:gd name="connsiteX56" fmla="*/ 1290638 w 1919288"/>
              <a:gd name="connsiteY56" fmla="*/ 48985 h 642938"/>
              <a:gd name="connsiteX57" fmla="*/ 1301733 w 1919288"/>
              <a:gd name="connsiteY57" fmla="*/ 37852 h 642938"/>
              <a:gd name="connsiteX58" fmla="*/ 1867463 w 1919288"/>
              <a:gd name="connsiteY58" fmla="*/ 591 h 642938"/>
              <a:gd name="connsiteX59" fmla="*/ 1876425 w 1919288"/>
              <a:gd name="connsiteY59" fmla="*/ 1 h 642938"/>
              <a:gd name="connsiteX60" fmla="*/ 41275 w 1919288"/>
              <a:gd name="connsiteY60" fmla="*/ 0 h 642938"/>
              <a:gd name="connsiteX61" fmla="*/ 41275 w 1919288"/>
              <a:gd name="connsiteY61" fmla="*/ 6 h 642938"/>
              <a:gd name="connsiteX62" fmla="*/ 41287 w 1919288"/>
              <a:gd name="connsiteY62" fmla="*/ 0 h 642938"/>
              <a:gd name="connsiteX63" fmla="*/ 617526 w 1919288"/>
              <a:gd name="connsiteY63" fmla="*/ 37852 h 642938"/>
              <a:gd name="connsiteX64" fmla="*/ 628651 w 1919288"/>
              <a:gd name="connsiteY64" fmla="*/ 48985 h 642938"/>
              <a:gd name="connsiteX65" fmla="*/ 628651 w 1919288"/>
              <a:gd name="connsiteY65" fmla="*/ 443098 h 642938"/>
              <a:gd name="connsiteX66" fmla="*/ 617526 w 1919288"/>
              <a:gd name="connsiteY66" fmla="*/ 454231 h 642938"/>
              <a:gd name="connsiteX67" fmla="*/ 437046 w 1919288"/>
              <a:gd name="connsiteY67" fmla="*/ 473060 h 642938"/>
              <a:gd name="connsiteX68" fmla="*/ 451949 w 1919288"/>
              <a:gd name="connsiteY68" fmla="*/ 477695 h 642938"/>
              <a:gd name="connsiteX69" fmla="*/ 463551 w 1919288"/>
              <a:gd name="connsiteY69" fmla="*/ 489745 h 642938"/>
              <a:gd name="connsiteX70" fmla="*/ 315913 w 1919288"/>
              <a:gd name="connsiteY70" fmla="*/ 520702 h 642938"/>
              <a:gd name="connsiteX71" fmla="*/ 179877 w 1919288"/>
              <a:gd name="connsiteY71" fmla="*/ 501795 h 642938"/>
              <a:gd name="connsiteX72" fmla="*/ 178211 w 1919288"/>
              <a:gd name="connsiteY72" fmla="*/ 500064 h 642938"/>
              <a:gd name="connsiteX73" fmla="*/ 41287 w 1919288"/>
              <a:gd name="connsiteY73" fmla="*/ 514350 h 642938"/>
              <a:gd name="connsiteX74" fmla="*/ 41275 w 1919288"/>
              <a:gd name="connsiteY74" fmla="*/ 514343 h 642938"/>
              <a:gd name="connsiteX75" fmla="*/ 41275 w 1919288"/>
              <a:gd name="connsiteY75" fmla="*/ 514350 h 642938"/>
              <a:gd name="connsiteX76" fmla="*/ 0 w 1919288"/>
              <a:gd name="connsiteY76" fmla="*/ 509587 h 642938"/>
              <a:gd name="connsiteX77" fmla="*/ 0 w 1919288"/>
              <a:gd name="connsiteY77" fmla="*/ 4762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19288" h="642938">
                <a:moveTo>
                  <a:pt x="1381126" y="520700"/>
                </a:moveTo>
                <a:lnTo>
                  <a:pt x="1808163" y="576263"/>
                </a:lnTo>
                <a:lnTo>
                  <a:pt x="1697710" y="610165"/>
                </a:lnTo>
                <a:lnTo>
                  <a:pt x="1808163" y="576263"/>
                </a:lnTo>
                <a:lnTo>
                  <a:pt x="1809750" y="600076"/>
                </a:lnTo>
                <a:lnTo>
                  <a:pt x="1649413" y="642938"/>
                </a:lnTo>
                <a:lnTo>
                  <a:pt x="1649413" y="642938"/>
                </a:lnTo>
                <a:lnTo>
                  <a:pt x="1223963" y="571500"/>
                </a:lnTo>
                <a:lnTo>
                  <a:pt x="1223963" y="561975"/>
                </a:lnTo>
                <a:close/>
                <a:moveTo>
                  <a:pt x="534987" y="520700"/>
                </a:moveTo>
                <a:lnTo>
                  <a:pt x="695325" y="561975"/>
                </a:lnTo>
                <a:lnTo>
                  <a:pt x="695325" y="571500"/>
                </a:lnTo>
                <a:lnTo>
                  <a:pt x="269875" y="642938"/>
                </a:lnTo>
                <a:lnTo>
                  <a:pt x="111125" y="600076"/>
                </a:lnTo>
                <a:lnTo>
                  <a:pt x="111125" y="576263"/>
                </a:lnTo>
                <a:lnTo>
                  <a:pt x="269875" y="625476"/>
                </a:lnTo>
                <a:lnTo>
                  <a:pt x="111125" y="576263"/>
                </a:lnTo>
                <a:close/>
                <a:moveTo>
                  <a:pt x="695325" y="500063"/>
                </a:moveTo>
                <a:lnTo>
                  <a:pt x="1223963" y="500063"/>
                </a:lnTo>
                <a:lnTo>
                  <a:pt x="1223963" y="527050"/>
                </a:lnTo>
                <a:lnTo>
                  <a:pt x="1179513" y="569913"/>
                </a:lnTo>
                <a:lnTo>
                  <a:pt x="739775" y="569913"/>
                </a:lnTo>
                <a:lnTo>
                  <a:pt x="695325" y="527050"/>
                </a:lnTo>
                <a:close/>
                <a:moveTo>
                  <a:pt x="681037" y="44450"/>
                </a:moveTo>
                <a:cubicBezTo>
                  <a:pt x="681037" y="44450"/>
                  <a:pt x="681037" y="44450"/>
                  <a:pt x="1236663" y="44450"/>
                </a:cubicBezTo>
                <a:cubicBezTo>
                  <a:pt x="1243330" y="44450"/>
                  <a:pt x="1247775" y="51133"/>
                  <a:pt x="1247775" y="55589"/>
                </a:cubicBezTo>
                <a:cubicBezTo>
                  <a:pt x="1247775" y="55589"/>
                  <a:pt x="1247775" y="55589"/>
                  <a:pt x="1247775" y="436536"/>
                </a:cubicBezTo>
                <a:cubicBezTo>
                  <a:pt x="1247775" y="440991"/>
                  <a:pt x="1243330" y="447675"/>
                  <a:pt x="1236663" y="447675"/>
                </a:cubicBezTo>
                <a:lnTo>
                  <a:pt x="1081183" y="447675"/>
                </a:lnTo>
                <a:lnTo>
                  <a:pt x="1049392" y="464048"/>
                </a:lnTo>
                <a:cubicBezTo>
                  <a:pt x="1027846" y="468645"/>
                  <a:pt x="998080" y="471488"/>
                  <a:pt x="965201" y="471488"/>
                </a:cubicBezTo>
                <a:cubicBezTo>
                  <a:pt x="932323" y="471488"/>
                  <a:pt x="902557" y="468645"/>
                  <a:pt x="881011" y="464048"/>
                </a:cubicBezTo>
                <a:lnTo>
                  <a:pt x="849220" y="447675"/>
                </a:lnTo>
                <a:lnTo>
                  <a:pt x="681037" y="447675"/>
                </a:lnTo>
                <a:cubicBezTo>
                  <a:pt x="674370" y="447675"/>
                  <a:pt x="669925" y="440991"/>
                  <a:pt x="669925" y="436536"/>
                </a:cubicBezTo>
                <a:cubicBezTo>
                  <a:pt x="669925" y="436536"/>
                  <a:pt x="669925" y="436536"/>
                  <a:pt x="669925" y="55589"/>
                </a:cubicBezTo>
                <a:cubicBezTo>
                  <a:pt x="669925" y="51133"/>
                  <a:pt x="674370" y="44450"/>
                  <a:pt x="681037" y="44450"/>
                </a:cubicBezTo>
                <a:close/>
                <a:moveTo>
                  <a:pt x="1876425" y="0"/>
                </a:moveTo>
                <a:lnTo>
                  <a:pt x="1876432" y="1"/>
                </a:lnTo>
                <a:lnTo>
                  <a:pt x="1876443" y="0"/>
                </a:lnTo>
                <a:lnTo>
                  <a:pt x="1876448" y="2"/>
                </a:lnTo>
                <a:lnTo>
                  <a:pt x="1919288" y="4762"/>
                </a:lnTo>
                <a:lnTo>
                  <a:pt x="1919288" y="509587"/>
                </a:lnTo>
                <a:lnTo>
                  <a:pt x="1876448" y="514347"/>
                </a:lnTo>
                <a:lnTo>
                  <a:pt x="1876443" y="514350"/>
                </a:lnTo>
                <a:lnTo>
                  <a:pt x="1876434" y="514349"/>
                </a:lnTo>
                <a:lnTo>
                  <a:pt x="1876425" y="514350"/>
                </a:lnTo>
                <a:lnTo>
                  <a:pt x="1876425" y="514348"/>
                </a:lnTo>
                <a:lnTo>
                  <a:pt x="1727988" y="498820"/>
                </a:lnTo>
                <a:lnTo>
                  <a:pt x="1725124" y="501795"/>
                </a:lnTo>
                <a:cubicBezTo>
                  <a:pt x="1702711" y="512906"/>
                  <a:pt x="1650242" y="520702"/>
                  <a:pt x="1589088" y="520702"/>
                </a:cubicBezTo>
                <a:cubicBezTo>
                  <a:pt x="1507550" y="520702"/>
                  <a:pt x="1441450" y="506842"/>
                  <a:pt x="1441450" y="489745"/>
                </a:cubicBezTo>
                <a:cubicBezTo>
                  <a:pt x="1441450" y="485471"/>
                  <a:pt x="1445581" y="481399"/>
                  <a:pt x="1453052" y="477695"/>
                </a:cubicBezTo>
                <a:lnTo>
                  <a:pt x="1471423" y="471982"/>
                </a:lnTo>
                <a:lnTo>
                  <a:pt x="1301733" y="454231"/>
                </a:lnTo>
                <a:cubicBezTo>
                  <a:pt x="1297295" y="454231"/>
                  <a:pt x="1290638" y="447551"/>
                  <a:pt x="1290638" y="443098"/>
                </a:cubicBezTo>
                <a:cubicBezTo>
                  <a:pt x="1290638" y="48985"/>
                  <a:pt x="1290638" y="48985"/>
                  <a:pt x="1290638" y="48985"/>
                </a:cubicBezTo>
                <a:cubicBezTo>
                  <a:pt x="1290638" y="44532"/>
                  <a:pt x="1297295" y="37852"/>
                  <a:pt x="1301733" y="37852"/>
                </a:cubicBezTo>
                <a:cubicBezTo>
                  <a:pt x="1732766" y="9463"/>
                  <a:pt x="1840524" y="2366"/>
                  <a:pt x="1867463" y="591"/>
                </a:cubicBezTo>
                <a:lnTo>
                  <a:pt x="1876425" y="1"/>
                </a:lnTo>
                <a:close/>
                <a:moveTo>
                  <a:pt x="41275" y="0"/>
                </a:moveTo>
                <a:lnTo>
                  <a:pt x="41275" y="6"/>
                </a:lnTo>
                <a:lnTo>
                  <a:pt x="41287" y="0"/>
                </a:lnTo>
                <a:cubicBezTo>
                  <a:pt x="41287" y="0"/>
                  <a:pt x="41287" y="0"/>
                  <a:pt x="617526" y="37852"/>
                </a:cubicBezTo>
                <a:cubicBezTo>
                  <a:pt x="624201" y="37852"/>
                  <a:pt x="628651" y="44532"/>
                  <a:pt x="628651" y="48985"/>
                </a:cubicBezTo>
                <a:cubicBezTo>
                  <a:pt x="628651" y="48985"/>
                  <a:pt x="628651" y="48985"/>
                  <a:pt x="628651" y="443098"/>
                </a:cubicBezTo>
                <a:cubicBezTo>
                  <a:pt x="628651" y="447551"/>
                  <a:pt x="624201" y="454231"/>
                  <a:pt x="617526" y="454231"/>
                </a:cubicBezTo>
                <a:lnTo>
                  <a:pt x="437046" y="473060"/>
                </a:lnTo>
                <a:lnTo>
                  <a:pt x="451949" y="477695"/>
                </a:lnTo>
                <a:cubicBezTo>
                  <a:pt x="459420" y="481399"/>
                  <a:pt x="463551" y="485471"/>
                  <a:pt x="463551" y="489745"/>
                </a:cubicBezTo>
                <a:cubicBezTo>
                  <a:pt x="463551" y="506842"/>
                  <a:pt x="397451" y="520702"/>
                  <a:pt x="315913" y="520702"/>
                </a:cubicBezTo>
                <a:cubicBezTo>
                  <a:pt x="254759" y="520702"/>
                  <a:pt x="202290" y="512906"/>
                  <a:pt x="179877" y="501795"/>
                </a:cubicBezTo>
                <a:lnTo>
                  <a:pt x="178211" y="500064"/>
                </a:lnTo>
                <a:lnTo>
                  <a:pt x="41287" y="514350"/>
                </a:lnTo>
                <a:lnTo>
                  <a:pt x="41275" y="514343"/>
                </a:lnTo>
                <a:lnTo>
                  <a:pt x="41275" y="514350"/>
                </a:lnTo>
                <a:lnTo>
                  <a:pt x="0" y="509587"/>
                </a:lnTo>
                <a:lnTo>
                  <a:pt x="0" y="4762"/>
                </a:lnTo>
                <a:close/>
              </a:path>
            </a:pathLst>
          </a:custGeom>
          <a:solidFill>
            <a:schemeClr val="tx1"/>
          </a:solidFill>
          <a:ln>
            <a:noFill/>
          </a:ln>
        </p:spPr>
        <p:txBody>
          <a:bodyPr vert="horz" wrap="square" lIns="74613" tIns="37307" rIns="74613" bIns="37307" numCol="1" anchor="t" anchorCtr="0" compatLnSpc="1">
            <a:prstTxWarp prst="textNoShape">
              <a:avLst/>
            </a:prstTxWarp>
            <a:noAutofit/>
          </a:bodyPr>
          <a:lstStyle/>
          <a:p>
            <a:pPr defTabSz="373075" fontAlgn="base">
              <a:spcBef>
                <a:spcPct val="0"/>
              </a:spcBef>
              <a:spcAft>
                <a:spcPct val="0"/>
              </a:spcAft>
              <a:defRPr/>
            </a:pPr>
            <a:endParaRPr lang="en-US" sz="1469" kern="0">
              <a:solidFill>
                <a:srgbClr val="676767"/>
              </a:solidFill>
              <a:latin typeface="メイリオ"/>
              <a:ea typeface="メイリオ"/>
              <a:cs typeface="メイリオ"/>
            </a:endParaRPr>
          </a:p>
        </p:txBody>
      </p:sp>
      <p:sp>
        <p:nvSpPr>
          <p:cNvPr id="168" name="Freeform 12"/>
          <p:cNvSpPr/>
          <p:nvPr/>
        </p:nvSpPr>
        <p:spPr>
          <a:xfrm>
            <a:off x="634148" y="2594001"/>
            <a:ext cx="2251710" cy="1486852"/>
          </a:xfrm>
          <a:custGeom>
            <a:avLst/>
            <a:gdLst>
              <a:gd name="connsiteX0" fmla="*/ 0 w 2255520"/>
              <a:gd name="connsiteY0" fmla="*/ 0 h 1417320"/>
              <a:gd name="connsiteX1" fmla="*/ 2255520 w 2255520"/>
              <a:gd name="connsiteY1" fmla="*/ 121920 h 1417320"/>
              <a:gd name="connsiteX2" fmla="*/ 2247900 w 2255520"/>
              <a:gd name="connsiteY2" fmla="*/ 1272540 h 1417320"/>
              <a:gd name="connsiteX3" fmla="*/ 0 w 2255520"/>
              <a:gd name="connsiteY3" fmla="*/ 1417320 h 1417320"/>
              <a:gd name="connsiteX4" fmla="*/ 0 w 2255520"/>
              <a:gd name="connsiteY4" fmla="*/ 0 h 1417320"/>
              <a:gd name="connsiteX0" fmla="*/ 0 w 2278380"/>
              <a:gd name="connsiteY0" fmla="*/ 0 h 1424940"/>
              <a:gd name="connsiteX1" fmla="*/ 2278380 w 2278380"/>
              <a:gd name="connsiteY1" fmla="*/ 129540 h 1424940"/>
              <a:gd name="connsiteX2" fmla="*/ 2270760 w 2278380"/>
              <a:gd name="connsiteY2" fmla="*/ 1280160 h 1424940"/>
              <a:gd name="connsiteX3" fmla="*/ 22860 w 2278380"/>
              <a:gd name="connsiteY3" fmla="*/ 1424940 h 1424940"/>
              <a:gd name="connsiteX4" fmla="*/ 0 w 2278380"/>
              <a:gd name="connsiteY4" fmla="*/ 0 h 1424940"/>
              <a:gd name="connsiteX0" fmla="*/ 0 w 2278380"/>
              <a:gd name="connsiteY0" fmla="*/ 0 h 1424940"/>
              <a:gd name="connsiteX1" fmla="*/ 2278380 w 2278380"/>
              <a:gd name="connsiteY1" fmla="*/ 129540 h 1424940"/>
              <a:gd name="connsiteX2" fmla="*/ 2270760 w 2278380"/>
              <a:gd name="connsiteY2" fmla="*/ 1280160 h 1424940"/>
              <a:gd name="connsiteX3" fmla="*/ 22860 w 2278380"/>
              <a:gd name="connsiteY3" fmla="*/ 1424940 h 1424940"/>
              <a:gd name="connsiteX4" fmla="*/ 0 w 2278380"/>
              <a:gd name="connsiteY4" fmla="*/ 0 h 1424940"/>
              <a:gd name="connsiteX0" fmla="*/ 0 w 2278380"/>
              <a:gd name="connsiteY0" fmla="*/ 0 h 1424940"/>
              <a:gd name="connsiteX1" fmla="*/ 2278380 w 2278380"/>
              <a:gd name="connsiteY1" fmla="*/ 129540 h 1424940"/>
              <a:gd name="connsiteX2" fmla="*/ 2270760 w 2278380"/>
              <a:gd name="connsiteY2" fmla="*/ 1280160 h 1424940"/>
              <a:gd name="connsiteX3" fmla="*/ 3810 w 2278380"/>
              <a:gd name="connsiteY3" fmla="*/ 1424940 h 1424940"/>
              <a:gd name="connsiteX4" fmla="*/ 0 w 2278380"/>
              <a:gd name="connsiteY4" fmla="*/ 0 h 1424940"/>
              <a:gd name="connsiteX0" fmla="*/ 0 w 2278380"/>
              <a:gd name="connsiteY0" fmla="*/ 0 h 1445950"/>
              <a:gd name="connsiteX1" fmla="*/ 2278380 w 2278380"/>
              <a:gd name="connsiteY1" fmla="*/ 129540 h 1445950"/>
              <a:gd name="connsiteX2" fmla="*/ 2270760 w 2278380"/>
              <a:gd name="connsiteY2" fmla="*/ 1280160 h 1445950"/>
              <a:gd name="connsiteX3" fmla="*/ 3810 w 2278380"/>
              <a:gd name="connsiteY3" fmla="*/ 1445950 h 1445950"/>
              <a:gd name="connsiteX4" fmla="*/ 0 w 2278380"/>
              <a:gd name="connsiteY4" fmla="*/ 0 h 1445950"/>
              <a:gd name="connsiteX0" fmla="*/ 0 w 2278380"/>
              <a:gd name="connsiteY0" fmla="*/ 0 h 1457622"/>
              <a:gd name="connsiteX1" fmla="*/ 2278380 w 2278380"/>
              <a:gd name="connsiteY1" fmla="*/ 129540 h 1457622"/>
              <a:gd name="connsiteX2" fmla="*/ 2270760 w 2278380"/>
              <a:gd name="connsiteY2" fmla="*/ 1280160 h 1457622"/>
              <a:gd name="connsiteX3" fmla="*/ 3810 w 2278380"/>
              <a:gd name="connsiteY3" fmla="*/ 1457622 h 1457622"/>
              <a:gd name="connsiteX4" fmla="*/ 0 w 2278380"/>
              <a:gd name="connsiteY4" fmla="*/ 0 h 1457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380" h="1457622">
                <a:moveTo>
                  <a:pt x="0" y="0"/>
                </a:moveTo>
                <a:lnTo>
                  <a:pt x="2278380" y="129540"/>
                </a:lnTo>
                <a:lnTo>
                  <a:pt x="2270760" y="1280160"/>
                </a:lnTo>
                <a:lnTo>
                  <a:pt x="3810" y="1457622"/>
                </a:lnTo>
                <a:lnTo>
                  <a:pt x="0" y="0"/>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169" name="Rectangle 13"/>
          <p:cNvSpPr/>
          <p:nvPr/>
        </p:nvSpPr>
        <p:spPr>
          <a:xfrm>
            <a:off x="3190406" y="2717128"/>
            <a:ext cx="2182430" cy="1154176"/>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pic>
        <p:nvPicPr>
          <p:cNvPr id="170" name="Picture 113"/>
          <p:cNvPicPr>
            <a:picLocks noChangeAspect="1"/>
          </p:cNvPicPr>
          <p:nvPr/>
        </p:nvPicPr>
        <p:blipFill rotWithShape="1">
          <a:blip r:embed="rId3"/>
          <a:srcRect l="-1" r="842"/>
          <a:stretch/>
        </p:blipFill>
        <p:spPr>
          <a:xfrm>
            <a:off x="3234689" y="2747893"/>
            <a:ext cx="2093682" cy="1092647"/>
          </a:xfrm>
          <a:prstGeom prst="rect">
            <a:avLst/>
          </a:prstGeom>
        </p:spPr>
      </p:pic>
      <p:grpSp>
        <p:nvGrpSpPr>
          <p:cNvPr id="171" name="Group 122"/>
          <p:cNvGrpSpPr/>
          <p:nvPr/>
        </p:nvGrpSpPr>
        <p:grpSpPr>
          <a:xfrm>
            <a:off x="3387104" y="3199600"/>
            <a:ext cx="1823806" cy="1936941"/>
            <a:chOff x="-25400" y="2052038"/>
            <a:chExt cx="2952750" cy="3135912"/>
          </a:xfrm>
        </p:grpSpPr>
        <p:sp>
          <p:nvSpPr>
            <p:cNvPr id="172" name="Rounded Rectangle 123"/>
            <p:cNvSpPr/>
            <p:nvPr/>
          </p:nvSpPr>
          <p:spPr>
            <a:xfrm>
              <a:off x="1168400" y="3581399"/>
              <a:ext cx="615950" cy="241585"/>
            </a:xfrm>
            <a:prstGeom prst="round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173" name="Freeform 124"/>
            <p:cNvSpPr/>
            <p:nvPr/>
          </p:nvSpPr>
          <p:spPr>
            <a:xfrm>
              <a:off x="794482" y="2052038"/>
              <a:ext cx="1312122" cy="1586512"/>
            </a:xfrm>
            <a:custGeom>
              <a:avLst/>
              <a:gdLst>
                <a:gd name="connsiteX0" fmla="*/ 933450 w 1282700"/>
                <a:gd name="connsiteY0" fmla="*/ 1568450 h 1581150"/>
                <a:gd name="connsiteX1" fmla="*/ 393700 w 1282700"/>
                <a:gd name="connsiteY1" fmla="*/ 1581150 h 1581150"/>
                <a:gd name="connsiteX2" fmla="*/ 209550 w 1282700"/>
                <a:gd name="connsiteY2" fmla="*/ 1377950 h 1581150"/>
                <a:gd name="connsiteX3" fmla="*/ 152400 w 1282700"/>
                <a:gd name="connsiteY3" fmla="*/ 1212850 h 1581150"/>
                <a:gd name="connsiteX4" fmla="*/ 88900 w 1282700"/>
                <a:gd name="connsiteY4" fmla="*/ 850900 h 1581150"/>
                <a:gd name="connsiteX5" fmla="*/ 0 w 1282700"/>
                <a:gd name="connsiteY5" fmla="*/ 520700 h 1581150"/>
                <a:gd name="connsiteX6" fmla="*/ 50800 w 1282700"/>
                <a:gd name="connsiteY6" fmla="*/ 209550 h 1581150"/>
                <a:gd name="connsiteX7" fmla="*/ 666750 w 1282700"/>
                <a:gd name="connsiteY7" fmla="*/ 0 h 1581150"/>
                <a:gd name="connsiteX8" fmla="*/ 952500 w 1282700"/>
                <a:gd name="connsiteY8" fmla="*/ 152400 h 1581150"/>
                <a:gd name="connsiteX9" fmla="*/ 1035050 w 1282700"/>
                <a:gd name="connsiteY9" fmla="*/ 184150 h 1581150"/>
                <a:gd name="connsiteX10" fmla="*/ 1174750 w 1282700"/>
                <a:gd name="connsiteY10" fmla="*/ 279400 h 1581150"/>
                <a:gd name="connsiteX11" fmla="*/ 1282700 w 1282700"/>
                <a:gd name="connsiteY11" fmla="*/ 825500 h 1581150"/>
                <a:gd name="connsiteX12" fmla="*/ 1168400 w 1282700"/>
                <a:gd name="connsiteY12" fmla="*/ 1073150 h 1581150"/>
                <a:gd name="connsiteX13" fmla="*/ 1123950 w 1282700"/>
                <a:gd name="connsiteY13" fmla="*/ 1301750 h 1581150"/>
                <a:gd name="connsiteX14" fmla="*/ 933450 w 1282700"/>
                <a:gd name="connsiteY14" fmla="*/ 1568450 h 1581150"/>
                <a:gd name="connsiteX0" fmla="*/ 942501 w 1291751"/>
                <a:gd name="connsiteY0" fmla="*/ 1568450 h 1581150"/>
                <a:gd name="connsiteX1" fmla="*/ 402751 w 1291751"/>
                <a:gd name="connsiteY1" fmla="*/ 1581150 h 1581150"/>
                <a:gd name="connsiteX2" fmla="*/ 218601 w 1291751"/>
                <a:gd name="connsiteY2" fmla="*/ 1377950 h 1581150"/>
                <a:gd name="connsiteX3" fmla="*/ 161451 w 1291751"/>
                <a:gd name="connsiteY3" fmla="*/ 1212850 h 1581150"/>
                <a:gd name="connsiteX4" fmla="*/ 97951 w 1291751"/>
                <a:gd name="connsiteY4" fmla="*/ 850900 h 1581150"/>
                <a:gd name="connsiteX5" fmla="*/ 9051 w 1291751"/>
                <a:gd name="connsiteY5" fmla="*/ 520700 h 1581150"/>
                <a:gd name="connsiteX6" fmla="*/ 59851 w 1291751"/>
                <a:gd name="connsiteY6" fmla="*/ 209550 h 1581150"/>
                <a:gd name="connsiteX7" fmla="*/ 675801 w 1291751"/>
                <a:gd name="connsiteY7" fmla="*/ 0 h 1581150"/>
                <a:gd name="connsiteX8" fmla="*/ 961551 w 1291751"/>
                <a:gd name="connsiteY8" fmla="*/ 152400 h 1581150"/>
                <a:gd name="connsiteX9" fmla="*/ 1044101 w 1291751"/>
                <a:gd name="connsiteY9" fmla="*/ 184150 h 1581150"/>
                <a:gd name="connsiteX10" fmla="*/ 1183801 w 1291751"/>
                <a:gd name="connsiteY10" fmla="*/ 279400 h 1581150"/>
                <a:gd name="connsiteX11" fmla="*/ 1291751 w 1291751"/>
                <a:gd name="connsiteY11" fmla="*/ 825500 h 1581150"/>
                <a:gd name="connsiteX12" fmla="*/ 1177451 w 1291751"/>
                <a:gd name="connsiteY12" fmla="*/ 1073150 h 1581150"/>
                <a:gd name="connsiteX13" fmla="*/ 1133001 w 1291751"/>
                <a:gd name="connsiteY13" fmla="*/ 1301750 h 1581150"/>
                <a:gd name="connsiteX14" fmla="*/ 942501 w 1291751"/>
                <a:gd name="connsiteY14" fmla="*/ 1568450 h 1581150"/>
                <a:gd name="connsiteX0" fmla="*/ 941656 w 1290906"/>
                <a:gd name="connsiteY0" fmla="*/ 1568450 h 1581150"/>
                <a:gd name="connsiteX1" fmla="*/ 401906 w 1290906"/>
                <a:gd name="connsiteY1" fmla="*/ 1581150 h 1581150"/>
                <a:gd name="connsiteX2" fmla="*/ 217756 w 1290906"/>
                <a:gd name="connsiteY2" fmla="*/ 1377950 h 1581150"/>
                <a:gd name="connsiteX3" fmla="*/ 160606 w 1290906"/>
                <a:gd name="connsiteY3" fmla="*/ 1212850 h 1581150"/>
                <a:gd name="connsiteX4" fmla="*/ 97106 w 1290906"/>
                <a:gd name="connsiteY4" fmla="*/ 850900 h 1581150"/>
                <a:gd name="connsiteX5" fmla="*/ 8206 w 1290906"/>
                <a:gd name="connsiteY5" fmla="*/ 520700 h 1581150"/>
                <a:gd name="connsiteX6" fmla="*/ 68531 w 1290906"/>
                <a:gd name="connsiteY6" fmla="*/ 219075 h 1581150"/>
                <a:gd name="connsiteX7" fmla="*/ 674956 w 1290906"/>
                <a:gd name="connsiteY7" fmla="*/ 0 h 1581150"/>
                <a:gd name="connsiteX8" fmla="*/ 960706 w 1290906"/>
                <a:gd name="connsiteY8" fmla="*/ 152400 h 1581150"/>
                <a:gd name="connsiteX9" fmla="*/ 1043256 w 1290906"/>
                <a:gd name="connsiteY9" fmla="*/ 184150 h 1581150"/>
                <a:gd name="connsiteX10" fmla="*/ 1182956 w 1290906"/>
                <a:gd name="connsiteY10" fmla="*/ 279400 h 1581150"/>
                <a:gd name="connsiteX11" fmla="*/ 1290906 w 1290906"/>
                <a:gd name="connsiteY11" fmla="*/ 825500 h 1581150"/>
                <a:gd name="connsiteX12" fmla="*/ 1176606 w 1290906"/>
                <a:gd name="connsiteY12" fmla="*/ 1073150 h 1581150"/>
                <a:gd name="connsiteX13" fmla="*/ 1132156 w 1290906"/>
                <a:gd name="connsiteY13" fmla="*/ 1301750 h 1581150"/>
                <a:gd name="connsiteX14" fmla="*/ 941656 w 1290906"/>
                <a:gd name="connsiteY14" fmla="*/ 1568450 h 1581150"/>
                <a:gd name="connsiteX0" fmla="*/ 944147 w 1293397"/>
                <a:gd name="connsiteY0" fmla="*/ 1568450 h 1581150"/>
                <a:gd name="connsiteX1" fmla="*/ 404397 w 1293397"/>
                <a:gd name="connsiteY1" fmla="*/ 1581150 h 1581150"/>
                <a:gd name="connsiteX2" fmla="*/ 220247 w 1293397"/>
                <a:gd name="connsiteY2" fmla="*/ 1377950 h 1581150"/>
                <a:gd name="connsiteX3" fmla="*/ 163097 w 1293397"/>
                <a:gd name="connsiteY3" fmla="*/ 1212850 h 1581150"/>
                <a:gd name="connsiteX4" fmla="*/ 99597 w 1293397"/>
                <a:gd name="connsiteY4" fmla="*/ 850900 h 1581150"/>
                <a:gd name="connsiteX5" fmla="*/ 10697 w 1293397"/>
                <a:gd name="connsiteY5" fmla="*/ 520700 h 1581150"/>
                <a:gd name="connsiteX6" fmla="*/ 71022 w 1293397"/>
                <a:gd name="connsiteY6" fmla="*/ 219075 h 1581150"/>
                <a:gd name="connsiteX7" fmla="*/ 677447 w 1293397"/>
                <a:gd name="connsiteY7" fmla="*/ 0 h 1581150"/>
                <a:gd name="connsiteX8" fmla="*/ 963197 w 1293397"/>
                <a:gd name="connsiteY8" fmla="*/ 152400 h 1581150"/>
                <a:gd name="connsiteX9" fmla="*/ 1045747 w 1293397"/>
                <a:gd name="connsiteY9" fmla="*/ 184150 h 1581150"/>
                <a:gd name="connsiteX10" fmla="*/ 1185447 w 1293397"/>
                <a:gd name="connsiteY10" fmla="*/ 279400 h 1581150"/>
                <a:gd name="connsiteX11" fmla="*/ 1293397 w 1293397"/>
                <a:gd name="connsiteY11" fmla="*/ 825500 h 1581150"/>
                <a:gd name="connsiteX12" fmla="*/ 1179097 w 1293397"/>
                <a:gd name="connsiteY12" fmla="*/ 1073150 h 1581150"/>
                <a:gd name="connsiteX13" fmla="*/ 1134647 w 1293397"/>
                <a:gd name="connsiteY13" fmla="*/ 1301750 h 1581150"/>
                <a:gd name="connsiteX14" fmla="*/ 944147 w 1293397"/>
                <a:gd name="connsiteY14" fmla="*/ 1568450 h 1581150"/>
                <a:gd name="connsiteX0" fmla="*/ 944147 w 1293397"/>
                <a:gd name="connsiteY0" fmla="*/ 1568450 h 1581150"/>
                <a:gd name="connsiteX1" fmla="*/ 404397 w 1293397"/>
                <a:gd name="connsiteY1" fmla="*/ 1581150 h 1581150"/>
                <a:gd name="connsiteX2" fmla="*/ 220247 w 1293397"/>
                <a:gd name="connsiteY2" fmla="*/ 1377950 h 1581150"/>
                <a:gd name="connsiteX3" fmla="*/ 163097 w 1293397"/>
                <a:gd name="connsiteY3" fmla="*/ 1212850 h 1581150"/>
                <a:gd name="connsiteX4" fmla="*/ 99597 w 1293397"/>
                <a:gd name="connsiteY4" fmla="*/ 850900 h 1581150"/>
                <a:gd name="connsiteX5" fmla="*/ 10697 w 1293397"/>
                <a:gd name="connsiteY5" fmla="*/ 520700 h 1581150"/>
                <a:gd name="connsiteX6" fmla="*/ 71022 w 1293397"/>
                <a:gd name="connsiteY6" fmla="*/ 219075 h 1581150"/>
                <a:gd name="connsiteX7" fmla="*/ 677447 w 1293397"/>
                <a:gd name="connsiteY7" fmla="*/ 0 h 1581150"/>
                <a:gd name="connsiteX8" fmla="*/ 963197 w 1293397"/>
                <a:gd name="connsiteY8" fmla="*/ 152400 h 1581150"/>
                <a:gd name="connsiteX9" fmla="*/ 1045747 w 1293397"/>
                <a:gd name="connsiteY9" fmla="*/ 184150 h 1581150"/>
                <a:gd name="connsiteX10" fmla="*/ 1185447 w 1293397"/>
                <a:gd name="connsiteY10" fmla="*/ 279400 h 1581150"/>
                <a:gd name="connsiteX11" fmla="*/ 1293397 w 1293397"/>
                <a:gd name="connsiteY11" fmla="*/ 825500 h 1581150"/>
                <a:gd name="connsiteX12" fmla="*/ 1179097 w 1293397"/>
                <a:gd name="connsiteY12" fmla="*/ 1073150 h 1581150"/>
                <a:gd name="connsiteX13" fmla="*/ 1134647 w 1293397"/>
                <a:gd name="connsiteY13" fmla="*/ 1301750 h 1581150"/>
                <a:gd name="connsiteX14" fmla="*/ 944147 w 1293397"/>
                <a:gd name="connsiteY14" fmla="*/ 1568450 h 1581150"/>
                <a:gd name="connsiteX0" fmla="*/ 944147 w 1293397"/>
                <a:gd name="connsiteY0" fmla="*/ 1547019 h 1559719"/>
                <a:gd name="connsiteX1" fmla="*/ 404397 w 1293397"/>
                <a:gd name="connsiteY1" fmla="*/ 1559719 h 1559719"/>
                <a:gd name="connsiteX2" fmla="*/ 220247 w 1293397"/>
                <a:gd name="connsiteY2" fmla="*/ 1356519 h 1559719"/>
                <a:gd name="connsiteX3" fmla="*/ 163097 w 1293397"/>
                <a:gd name="connsiteY3" fmla="*/ 1191419 h 1559719"/>
                <a:gd name="connsiteX4" fmla="*/ 99597 w 1293397"/>
                <a:gd name="connsiteY4" fmla="*/ 829469 h 1559719"/>
                <a:gd name="connsiteX5" fmla="*/ 10697 w 1293397"/>
                <a:gd name="connsiteY5" fmla="*/ 499269 h 1559719"/>
                <a:gd name="connsiteX6" fmla="*/ 71022 w 1293397"/>
                <a:gd name="connsiteY6" fmla="*/ 197644 h 1559719"/>
                <a:gd name="connsiteX7" fmla="*/ 679828 w 1293397"/>
                <a:gd name="connsiteY7" fmla="*/ 0 h 1559719"/>
                <a:gd name="connsiteX8" fmla="*/ 963197 w 1293397"/>
                <a:gd name="connsiteY8" fmla="*/ 130969 h 1559719"/>
                <a:gd name="connsiteX9" fmla="*/ 1045747 w 1293397"/>
                <a:gd name="connsiteY9" fmla="*/ 162719 h 1559719"/>
                <a:gd name="connsiteX10" fmla="*/ 1185447 w 1293397"/>
                <a:gd name="connsiteY10" fmla="*/ 257969 h 1559719"/>
                <a:gd name="connsiteX11" fmla="*/ 1293397 w 1293397"/>
                <a:gd name="connsiteY11" fmla="*/ 804069 h 1559719"/>
                <a:gd name="connsiteX12" fmla="*/ 1179097 w 1293397"/>
                <a:gd name="connsiteY12" fmla="*/ 1051719 h 1559719"/>
                <a:gd name="connsiteX13" fmla="*/ 1134647 w 1293397"/>
                <a:gd name="connsiteY13" fmla="*/ 1280319 h 1559719"/>
                <a:gd name="connsiteX14" fmla="*/ 944147 w 1293397"/>
                <a:gd name="connsiteY14" fmla="*/ 1547019 h 1559719"/>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63197 w 1293397"/>
                <a:gd name="connsiteY8" fmla="*/ 157762 h 1586512"/>
                <a:gd name="connsiteX9" fmla="*/ 1045747 w 1293397"/>
                <a:gd name="connsiteY9" fmla="*/ 189512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45747 w 1293397"/>
                <a:gd name="connsiteY9" fmla="*/ 189512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45747 w 1293397"/>
                <a:gd name="connsiteY9" fmla="*/ 189512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45747 w 1293397"/>
                <a:gd name="connsiteY9" fmla="*/ 189512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43366 w 1293397"/>
                <a:gd name="connsiteY9" fmla="*/ 175224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43366 w 1293397"/>
                <a:gd name="connsiteY9" fmla="*/ 175224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60035 w 1293397"/>
                <a:gd name="connsiteY9" fmla="*/ 187130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93397"/>
                <a:gd name="connsiteY0" fmla="*/ 1573812 h 1586512"/>
                <a:gd name="connsiteX1" fmla="*/ 404397 w 1293397"/>
                <a:gd name="connsiteY1" fmla="*/ 1586512 h 1586512"/>
                <a:gd name="connsiteX2" fmla="*/ 220247 w 1293397"/>
                <a:gd name="connsiteY2" fmla="*/ 1383312 h 1586512"/>
                <a:gd name="connsiteX3" fmla="*/ 163097 w 1293397"/>
                <a:gd name="connsiteY3" fmla="*/ 1218212 h 1586512"/>
                <a:gd name="connsiteX4" fmla="*/ 99597 w 1293397"/>
                <a:gd name="connsiteY4" fmla="*/ 856262 h 1586512"/>
                <a:gd name="connsiteX5" fmla="*/ 10697 w 1293397"/>
                <a:gd name="connsiteY5" fmla="*/ 526062 h 1586512"/>
                <a:gd name="connsiteX6" fmla="*/ 71022 w 1293397"/>
                <a:gd name="connsiteY6" fmla="*/ 224437 h 1586512"/>
                <a:gd name="connsiteX7" fmla="*/ 679828 w 1293397"/>
                <a:gd name="connsiteY7" fmla="*/ 26793 h 1586512"/>
                <a:gd name="connsiteX8" fmla="*/ 948910 w 1293397"/>
                <a:gd name="connsiteY8" fmla="*/ 155381 h 1586512"/>
                <a:gd name="connsiteX9" fmla="*/ 1060035 w 1293397"/>
                <a:gd name="connsiteY9" fmla="*/ 187130 h 1586512"/>
                <a:gd name="connsiteX10" fmla="*/ 1185447 w 1293397"/>
                <a:gd name="connsiteY10" fmla="*/ 284762 h 1586512"/>
                <a:gd name="connsiteX11" fmla="*/ 1293397 w 1293397"/>
                <a:gd name="connsiteY11" fmla="*/ 830862 h 1586512"/>
                <a:gd name="connsiteX12" fmla="*/ 1179097 w 1293397"/>
                <a:gd name="connsiteY12" fmla="*/ 1078512 h 1586512"/>
                <a:gd name="connsiteX13" fmla="*/ 1134647 w 1293397"/>
                <a:gd name="connsiteY13" fmla="*/ 1307112 h 1586512"/>
                <a:gd name="connsiteX14" fmla="*/ 944147 w 1293397"/>
                <a:gd name="connsiteY14" fmla="*/ 1573812 h 1586512"/>
                <a:gd name="connsiteX0" fmla="*/ 944147 w 1283872"/>
                <a:gd name="connsiteY0" fmla="*/ 1573812 h 1586512"/>
                <a:gd name="connsiteX1" fmla="*/ 404397 w 1283872"/>
                <a:gd name="connsiteY1" fmla="*/ 1586512 h 1586512"/>
                <a:gd name="connsiteX2" fmla="*/ 220247 w 1283872"/>
                <a:gd name="connsiteY2" fmla="*/ 1383312 h 1586512"/>
                <a:gd name="connsiteX3" fmla="*/ 163097 w 1283872"/>
                <a:gd name="connsiteY3" fmla="*/ 1218212 h 1586512"/>
                <a:gd name="connsiteX4" fmla="*/ 99597 w 1283872"/>
                <a:gd name="connsiteY4" fmla="*/ 856262 h 1586512"/>
                <a:gd name="connsiteX5" fmla="*/ 10697 w 1283872"/>
                <a:gd name="connsiteY5" fmla="*/ 526062 h 1586512"/>
                <a:gd name="connsiteX6" fmla="*/ 71022 w 1283872"/>
                <a:gd name="connsiteY6" fmla="*/ 224437 h 1586512"/>
                <a:gd name="connsiteX7" fmla="*/ 679828 w 1283872"/>
                <a:gd name="connsiteY7" fmla="*/ 26793 h 1586512"/>
                <a:gd name="connsiteX8" fmla="*/ 948910 w 1283872"/>
                <a:gd name="connsiteY8" fmla="*/ 155381 h 1586512"/>
                <a:gd name="connsiteX9" fmla="*/ 1060035 w 1283872"/>
                <a:gd name="connsiteY9" fmla="*/ 187130 h 1586512"/>
                <a:gd name="connsiteX10" fmla="*/ 1185447 w 1283872"/>
                <a:gd name="connsiteY10" fmla="*/ 284762 h 1586512"/>
                <a:gd name="connsiteX11" fmla="*/ 1283872 w 1283872"/>
                <a:gd name="connsiteY11" fmla="*/ 830862 h 1586512"/>
                <a:gd name="connsiteX12" fmla="*/ 1179097 w 1283872"/>
                <a:gd name="connsiteY12" fmla="*/ 1078512 h 1586512"/>
                <a:gd name="connsiteX13" fmla="*/ 1134647 w 1283872"/>
                <a:gd name="connsiteY13" fmla="*/ 1307112 h 1586512"/>
                <a:gd name="connsiteX14" fmla="*/ 944147 w 128387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20247 w 1312122"/>
                <a:gd name="connsiteY2" fmla="*/ 1383312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44059 w 1312122"/>
                <a:gd name="connsiteY2" fmla="*/ 1385694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44059 w 1312122"/>
                <a:gd name="connsiteY2" fmla="*/ 1385694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44059 w 1312122"/>
                <a:gd name="connsiteY2" fmla="*/ 1385694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 name="connsiteX0" fmla="*/ 944147 w 1312122"/>
                <a:gd name="connsiteY0" fmla="*/ 1573812 h 1586512"/>
                <a:gd name="connsiteX1" fmla="*/ 404397 w 1312122"/>
                <a:gd name="connsiteY1" fmla="*/ 1586512 h 1586512"/>
                <a:gd name="connsiteX2" fmla="*/ 244059 w 1312122"/>
                <a:gd name="connsiteY2" fmla="*/ 1385694 h 1586512"/>
                <a:gd name="connsiteX3" fmla="*/ 163097 w 1312122"/>
                <a:gd name="connsiteY3" fmla="*/ 1218212 h 1586512"/>
                <a:gd name="connsiteX4" fmla="*/ 99597 w 1312122"/>
                <a:gd name="connsiteY4" fmla="*/ 856262 h 1586512"/>
                <a:gd name="connsiteX5" fmla="*/ 10697 w 1312122"/>
                <a:gd name="connsiteY5" fmla="*/ 526062 h 1586512"/>
                <a:gd name="connsiteX6" fmla="*/ 71022 w 1312122"/>
                <a:gd name="connsiteY6" fmla="*/ 224437 h 1586512"/>
                <a:gd name="connsiteX7" fmla="*/ 679828 w 1312122"/>
                <a:gd name="connsiteY7" fmla="*/ 26793 h 1586512"/>
                <a:gd name="connsiteX8" fmla="*/ 948910 w 1312122"/>
                <a:gd name="connsiteY8" fmla="*/ 155381 h 1586512"/>
                <a:gd name="connsiteX9" fmla="*/ 1060035 w 1312122"/>
                <a:gd name="connsiteY9" fmla="*/ 187130 h 1586512"/>
                <a:gd name="connsiteX10" fmla="*/ 1185447 w 1312122"/>
                <a:gd name="connsiteY10" fmla="*/ 284762 h 1586512"/>
                <a:gd name="connsiteX11" fmla="*/ 1283872 w 1312122"/>
                <a:gd name="connsiteY11" fmla="*/ 830862 h 1586512"/>
                <a:gd name="connsiteX12" fmla="*/ 1179097 w 1312122"/>
                <a:gd name="connsiteY12" fmla="*/ 1078512 h 1586512"/>
                <a:gd name="connsiteX13" fmla="*/ 1134647 w 1312122"/>
                <a:gd name="connsiteY13" fmla="*/ 1307112 h 1586512"/>
                <a:gd name="connsiteX14" fmla="*/ 944147 w 1312122"/>
                <a:gd name="connsiteY14" fmla="*/ 1573812 h 158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2122" h="1586512">
                  <a:moveTo>
                    <a:pt x="944147" y="1573812"/>
                  </a:moveTo>
                  <a:lnTo>
                    <a:pt x="404397" y="1586512"/>
                  </a:lnTo>
                  <a:cubicBezTo>
                    <a:pt x="314439" y="1518779"/>
                    <a:pt x="298298" y="1472477"/>
                    <a:pt x="244059" y="1385694"/>
                  </a:cubicBezTo>
                  <a:cubicBezTo>
                    <a:pt x="207547" y="1325105"/>
                    <a:pt x="190084" y="1274039"/>
                    <a:pt x="163097" y="1218212"/>
                  </a:cubicBezTo>
                  <a:lnTo>
                    <a:pt x="99597" y="856262"/>
                  </a:lnTo>
                  <a:lnTo>
                    <a:pt x="10697" y="526062"/>
                  </a:lnTo>
                  <a:cubicBezTo>
                    <a:pt x="-22376" y="389007"/>
                    <a:pt x="27895" y="335298"/>
                    <a:pt x="71022" y="224437"/>
                  </a:cubicBezTo>
                  <a:cubicBezTo>
                    <a:pt x="199345" y="-48613"/>
                    <a:pt x="522930" y="-12100"/>
                    <a:pt x="679828" y="26793"/>
                  </a:cubicBezTo>
                  <a:cubicBezTo>
                    <a:pt x="807622" y="72037"/>
                    <a:pt x="856834" y="81561"/>
                    <a:pt x="948910" y="155381"/>
                  </a:cubicBezTo>
                  <a:cubicBezTo>
                    <a:pt x="980395" y="161995"/>
                    <a:pt x="1023788" y="163847"/>
                    <a:pt x="1060035" y="187130"/>
                  </a:cubicBezTo>
                  <a:lnTo>
                    <a:pt x="1185447" y="284762"/>
                  </a:lnTo>
                  <a:cubicBezTo>
                    <a:pt x="1335730" y="426314"/>
                    <a:pt x="1328852" y="675023"/>
                    <a:pt x="1283872" y="830862"/>
                  </a:cubicBezTo>
                  <a:cubicBezTo>
                    <a:pt x="1237040" y="915793"/>
                    <a:pt x="1214022" y="995962"/>
                    <a:pt x="1179097" y="1078512"/>
                  </a:cubicBezTo>
                  <a:cubicBezTo>
                    <a:pt x="1149992" y="1178524"/>
                    <a:pt x="1178039" y="1238056"/>
                    <a:pt x="1134647" y="1307112"/>
                  </a:cubicBezTo>
                  <a:cubicBezTo>
                    <a:pt x="1030666" y="1550793"/>
                    <a:pt x="995741" y="1539681"/>
                    <a:pt x="944147" y="1573812"/>
                  </a:cubicBezTo>
                  <a:close/>
                </a:path>
              </a:pathLst>
            </a:cu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174" name="Freeform 125"/>
            <p:cNvSpPr/>
            <p:nvPr/>
          </p:nvSpPr>
          <p:spPr>
            <a:xfrm>
              <a:off x="-25400" y="3803650"/>
              <a:ext cx="2952750" cy="1384300"/>
            </a:xfrm>
            <a:custGeom>
              <a:avLst/>
              <a:gdLst>
                <a:gd name="connsiteX0" fmla="*/ 450850 w 2952750"/>
                <a:gd name="connsiteY0" fmla="*/ 120650 h 1384300"/>
                <a:gd name="connsiteX1" fmla="*/ 1187450 w 2952750"/>
                <a:gd name="connsiteY1" fmla="*/ 0 h 1384300"/>
                <a:gd name="connsiteX2" fmla="*/ 1822450 w 2952750"/>
                <a:gd name="connsiteY2" fmla="*/ 0 h 1384300"/>
                <a:gd name="connsiteX3" fmla="*/ 2476500 w 2952750"/>
                <a:gd name="connsiteY3" fmla="*/ 133350 h 1384300"/>
                <a:gd name="connsiteX4" fmla="*/ 2952750 w 2952750"/>
                <a:gd name="connsiteY4" fmla="*/ 1384300 h 1384300"/>
                <a:gd name="connsiteX5" fmla="*/ 0 w 2952750"/>
                <a:gd name="connsiteY5" fmla="*/ 1384300 h 1384300"/>
                <a:gd name="connsiteX6" fmla="*/ 450850 w 2952750"/>
                <a:gd name="connsiteY6" fmla="*/ 120650 h 1384300"/>
                <a:gd name="connsiteX0" fmla="*/ 450850 w 2952750"/>
                <a:gd name="connsiteY0" fmla="*/ 120650 h 1384300"/>
                <a:gd name="connsiteX1" fmla="*/ 1187450 w 2952750"/>
                <a:gd name="connsiteY1" fmla="*/ 0 h 1384300"/>
                <a:gd name="connsiteX2" fmla="*/ 1822450 w 2952750"/>
                <a:gd name="connsiteY2" fmla="*/ 0 h 1384300"/>
                <a:gd name="connsiteX3" fmla="*/ 2501900 w 2952750"/>
                <a:gd name="connsiteY3" fmla="*/ 139700 h 1384300"/>
                <a:gd name="connsiteX4" fmla="*/ 2952750 w 2952750"/>
                <a:gd name="connsiteY4" fmla="*/ 1384300 h 1384300"/>
                <a:gd name="connsiteX5" fmla="*/ 0 w 2952750"/>
                <a:gd name="connsiteY5" fmla="*/ 1384300 h 1384300"/>
                <a:gd name="connsiteX6" fmla="*/ 450850 w 2952750"/>
                <a:gd name="connsiteY6" fmla="*/ 120650 h 1384300"/>
                <a:gd name="connsiteX0" fmla="*/ 450850 w 2952750"/>
                <a:gd name="connsiteY0" fmla="*/ 120650 h 1384300"/>
                <a:gd name="connsiteX1" fmla="*/ 1187450 w 2952750"/>
                <a:gd name="connsiteY1" fmla="*/ 0 h 1384300"/>
                <a:gd name="connsiteX2" fmla="*/ 1822450 w 2952750"/>
                <a:gd name="connsiteY2" fmla="*/ 0 h 1384300"/>
                <a:gd name="connsiteX3" fmla="*/ 2501900 w 2952750"/>
                <a:gd name="connsiteY3" fmla="*/ 139700 h 1384300"/>
                <a:gd name="connsiteX4" fmla="*/ 2952750 w 2952750"/>
                <a:gd name="connsiteY4" fmla="*/ 1384300 h 1384300"/>
                <a:gd name="connsiteX5" fmla="*/ 0 w 2952750"/>
                <a:gd name="connsiteY5" fmla="*/ 1384300 h 1384300"/>
                <a:gd name="connsiteX6" fmla="*/ 450850 w 2952750"/>
                <a:gd name="connsiteY6" fmla="*/ 120650 h 1384300"/>
                <a:gd name="connsiteX0" fmla="*/ 450850 w 2952750"/>
                <a:gd name="connsiteY0" fmla="*/ 120650 h 1384300"/>
                <a:gd name="connsiteX1" fmla="*/ 1187450 w 2952750"/>
                <a:gd name="connsiteY1" fmla="*/ 0 h 1384300"/>
                <a:gd name="connsiteX2" fmla="*/ 1822450 w 2952750"/>
                <a:gd name="connsiteY2" fmla="*/ 0 h 1384300"/>
                <a:gd name="connsiteX3" fmla="*/ 2501900 w 2952750"/>
                <a:gd name="connsiteY3" fmla="*/ 139700 h 1384300"/>
                <a:gd name="connsiteX4" fmla="*/ 2952750 w 2952750"/>
                <a:gd name="connsiteY4" fmla="*/ 1384300 h 1384300"/>
                <a:gd name="connsiteX5" fmla="*/ 0 w 2952750"/>
                <a:gd name="connsiteY5" fmla="*/ 1384300 h 1384300"/>
                <a:gd name="connsiteX6" fmla="*/ 450850 w 2952750"/>
                <a:gd name="connsiteY6" fmla="*/ 120650 h 1384300"/>
                <a:gd name="connsiteX0" fmla="*/ 450850 w 2952750"/>
                <a:gd name="connsiteY0" fmla="*/ 120650 h 1384300"/>
                <a:gd name="connsiteX1" fmla="*/ 1187450 w 2952750"/>
                <a:gd name="connsiteY1" fmla="*/ 0 h 1384300"/>
                <a:gd name="connsiteX2" fmla="*/ 1822450 w 2952750"/>
                <a:gd name="connsiteY2" fmla="*/ 0 h 1384300"/>
                <a:gd name="connsiteX3" fmla="*/ 2501900 w 2952750"/>
                <a:gd name="connsiteY3" fmla="*/ 139700 h 1384300"/>
                <a:gd name="connsiteX4" fmla="*/ 2952750 w 2952750"/>
                <a:gd name="connsiteY4" fmla="*/ 1384300 h 1384300"/>
                <a:gd name="connsiteX5" fmla="*/ 0 w 2952750"/>
                <a:gd name="connsiteY5" fmla="*/ 1384300 h 1384300"/>
                <a:gd name="connsiteX6" fmla="*/ 450850 w 2952750"/>
                <a:gd name="connsiteY6" fmla="*/ 120650 h 138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2750" h="1384300">
                  <a:moveTo>
                    <a:pt x="450850" y="120650"/>
                  </a:moveTo>
                  <a:lnTo>
                    <a:pt x="1187450" y="0"/>
                  </a:lnTo>
                  <a:lnTo>
                    <a:pt x="1822450" y="0"/>
                  </a:lnTo>
                  <a:lnTo>
                    <a:pt x="2501900" y="139700"/>
                  </a:lnTo>
                  <a:cubicBezTo>
                    <a:pt x="2722033" y="599017"/>
                    <a:pt x="2802467" y="969433"/>
                    <a:pt x="2952750" y="1384300"/>
                  </a:cubicBezTo>
                  <a:lnTo>
                    <a:pt x="0" y="1384300"/>
                  </a:lnTo>
                  <a:cubicBezTo>
                    <a:pt x="131233" y="956733"/>
                    <a:pt x="237067" y="592667"/>
                    <a:pt x="450850" y="120650"/>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sp>
          <p:nvSpPr>
            <p:cNvPr id="175" name="Freeform 126"/>
            <p:cNvSpPr/>
            <p:nvPr/>
          </p:nvSpPr>
          <p:spPr>
            <a:xfrm>
              <a:off x="241300" y="4673600"/>
              <a:ext cx="2438400" cy="514350"/>
            </a:xfrm>
            <a:custGeom>
              <a:avLst/>
              <a:gdLst>
                <a:gd name="connsiteX0" fmla="*/ 369362 w 2438400"/>
                <a:gd name="connsiteY0" fmla="*/ 0 h 514350"/>
                <a:gd name="connsiteX1" fmla="*/ 2069038 w 2438400"/>
                <a:gd name="connsiteY1" fmla="*/ 0 h 514350"/>
                <a:gd name="connsiteX2" fmla="*/ 2438400 w 2438400"/>
                <a:gd name="connsiteY2" fmla="*/ 369362 h 514350"/>
                <a:gd name="connsiteX3" fmla="*/ 2438400 w 2438400"/>
                <a:gd name="connsiteY3" fmla="*/ 437088 h 514350"/>
                <a:gd name="connsiteX4" fmla="*/ 2422802 w 2438400"/>
                <a:gd name="connsiteY4" fmla="*/ 514350 h 514350"/>
                <a:gd name="connsiteX5" fmla="*/ 15599 w 2438400"/>
                <a:gd name="connsiteY5" fmla="*/ 514350 h 514350"/>
                <a:gd name="connsiteX6" fmla="*/ 0 w 2438400"/>
                <a:gd name="connsiteY6" fmla="*/ 437088 h 514350"/>
                <a:gd name="connsiteX7" fmla="*/ 0 w 2438400"/>
                <a:gd name="connsiteY7" fmla="*/ 369362 h 514350"/>
                <a:gd name="connsiteX8" fmla="*/ 369362 w 2438400"/>
                <a:gd name="connsiteY8"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8400" h="514350">
                  <a:moveTo>
                    <a:pt x="369362" y="0"/>
                  </a:moveTo>
                  <a:lnTo>
                    <a:pt x="2069038" y="0"/>
                  </a:lnTo>
                  <a:cubicBezTo>
                    <a:pt x="2273031" y="0"/>
                    <a:pt x="2438400" y="165369"/>
                    <a:pt x="2438400" y="369362"/>
                  </a:cubicBezTo>
                  <a:lnTo>
                    <a:pt x="2438400" y="437088"/>
                  </a:lnTo>
                  <a:lnTo>
                    <a:pt x="2422802" y="514350"/>
                  </a:lnTo>
                  <a:lnTo>
                    <a:pt x="15599" y="514350"/>
                  </a:lnTo>
                  <a:lnTo>
                    <a:pt x="0" y="437088"/>
                  </a:lnTo>
                  <a:lnTo>
                    <a:pt x="0" y="369362"/>
                  </a:lnTo>
                  <a:cubicBezTo>
                    <a:pt x="0" y="165369"/>
                    <a:pt x="165369" y="0"/>
                    <a:pt x="369362" y="0"/>
                  </a:cubicBezTo>
                  <a:close/>
                </a:path>
              </a:pathLst>
            </a:cu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grpSp>
      <p:sp>
        <p:nvSpPr>
          <p:cNvPr id="176" name="Freeform 127"/>
          <p:cNvSpPr/>
          <p:nvPr/>
        </p:nvSpPr>
        <p:spPr>
          <a:xfrm flipH="1">
            <a:off x="5653823" y="2594001"/>
            <a:ext cx="2251710" cy="1486852"/>
          </a:xfrm>
          <a:custGeom>
            <a:avLst/>
            <a:gdLst>
              <a:gd name="connsiteX0" fmla="*/ 0 w 2255520"/>
              <a:gd name="connsiteY0" fmla="*/ 0 h 1417320"/>
              <a:gd name="connsiteX1" fmla="*/ 2255520 w 2255520"/>
              <a:gd name="connsiteY1" fmla="*/ 121920 h 1417320"/>
              <a:gd name="connsiteX2" fmla="*/ 2247900 w 2255520"/>
              <a:gd name="connsiteY2" fmla="*/ 1272540 h 1417320"/>
              <a:gd name="connsiteX3" fmla="*/ 0 w 2255520"/>
              <a:gd name="connsiteY3" fmla="*/ 1417320 h 1417320"/>
              <a:gd name="connsiteX4" fmla="*/ 0 w 2255520"/>
              <a:gd name="connsiteY4" fmla="*/ 0 h 1417320"/>
              <a:gd name="connsiteX0" fmla="*/ 0 w 2278380"/>
              <a:gd name="connsiteY0" fmla="*/ 0 h 1424940"/>
              <a:gd name="connsiteX1" fmla="*/ 2278380 w 2278380"/>
              <a:gd name="connsiteY1" fmla="*/ 129540 h 1424940"/>
              <a:gd name="connsiteX2" fmla="*/ 2270760 w 2278380"/>
              <a:gd name="connsiteY2" fmla="*/ 1280160 h 1424940"/>
              <a:gd name="connsiteX3" fmla="*/ 22860 w 2278380"/>
              <a:gd name="connsiteY3" fmla="*/ 1424940 h 1424940"/>
              <a:gd name="connsiteX4" fmla="*/ 0 w 2278380"/>
              <a:gd name="connsiteY4" fmla="*/ 0 h 1424940"/>
              <a:gd name="connsiteX0" fmla="*/ 0 w 2278380"/>
              <a:gd name="connsiteY0" fmla="*/ 0 h 1424940"/>
              <a:gd name="connsiteX1" fmla="*/ 2278380 w 2278380"/>
              <a:gd name="connsiteY1" fmla="*/ 129540 h 1424940"/>
              <a:gd name="connsiteX2" fmla="*/ 2270760 w 2278380"/>
              <a:gd name="connsiteY2" fmla="*/ 1280160 h 1424940"/>
              <a:gd name="connsiteX3" fmla="*/ 22860 w 2278380"/>
              <a:gd name="connsiteY3" fmla="*/ 1424940 h 1424940"/>
              <a:gd name="connsiteX4" fmla="*/ 0 w 2278380"/>
              <a:gd name="connsiteY4" fmla="*/ 0 h 1424940"/>
              <a:gd name="connsiteX0" fmla="*/ 0 w 2278380"/>
              <a:gd name="connsiteY0" fmla="*/ 0 h 1424940"/>
              <a:gd name="connsiteX1" fmla="*/ 2278380 w 2278380"/>
              <a:gd name="connsiteY1" fmla="*/ 129540 h 1424940"/>
              <a:gd name="connsiteX2" fmla="*/ 2270760 w 2278380"/>
              <a:gd name="connsiteY2" fmla="*/ 1280160 h 1424940"/>
              <a:gd name="connsiteX3" fmla="*/ 3810 w 2278380"/>
              <a:gd name="connsiteY3" fmla="*/ 1424940 h 1424940"/>
              <a:gd name="connsiteX4" fmla="*/ 0 w 2278380"/>
              <a:gd name="connsiteY4" fmla="*/ 0 h 1424940"/>
              <a:gd name="connsiteX0" fmla="*/ 0 w 2278380"/>
              <a:gd name="connsiteY0" fmla="*/ 0 h 1445950"/>
              <a:gd name="connsiteX1" fmla="*/ 2278380 w 2278380"/>
              <a:gd name="connsiteY1" fmla="*/ 129540 h 1445950"/>
              <a:gd name="connsiteX2" fmla="*/ 2270760 w 2278380"/>
              <a:gd name="connsiteY2" fmla="*/ 1280160 h 1445950"/>
              <a:gd name="connsiteX3" fmla="*/ 3810 w 2278380"/>
              <a:gd name="connsiteY3" fmla="*/ 1445950 h 1445950"/>
              <a:gd name="connsiteX4" fmla="*/ 0 w 2278380"/>
              <a:gd name="connsiteY4" fmla="*/ 0 h 1445950"/>
              <a:gd name="connsiteX0" fmla="*/ 0 w 2278380"/>
              <a:gd name="connsiteY0" fmla="*/ 0 h 1457622"/>
              <a:gd name="connsiteX1" fmla="*/ 2278380 w 2278380"/>
              <a:gd name="connsiteY1" fmla="*/ 129540 h 1457622"/>
              <a:gd name="connsiteX2" fmla="*/ 2270760 w 2278380"/>
              <a:gd name="connsiteY2" fmla="*/ 1280160 h 1457622"/>
              <a:gd name="connsiteX3" fmla="*/ 3810 w 2278380"/>
              <a:gd name="connsiteY3" fmla="*/ 1457622 h 1457622"/>
              <a:gd name="connsiteX4" fmla="*/ 0 w 2278380"/>
              <a:gd name="connsiteY4" fmla="*/ 0 h 1457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8380" h="1457622">
                <a:moveTo>
                  <a:pt x="0" y="0"/>
                </a:moveTo>
                <a:lnTo>
                  <a:pt x="2278380" y="129540"/>
                </a:lnTo>
                <a:lnTo>
                  <a:pt x="2270760" y="1280160"/>
                </a:lnTo>
                <a:lnTo>
                  <a:pt x="3810" y="1457622"/>
                </a:lnTo>
                <a:lnTo>
                  <a:pt x="0" y="0"/>
                </a:ln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メイリオ"/>
              <a:ea typeface="メイリオ"/>
              <a:cs typeface="メイリオ"/>
            </a:endParaRPr>
          </a:p>
        </p:txBody>
      </p:sp>
      <p:pic>
        <p:nvPicPr>
          <p:cNvPr id="17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41478" y="2622108"/>
            <a:ext cx="2679320" cy="1418404"/>
          </a:xfrm>
          <a:prstGeom prst="rect">
            <a:avLst/>
          </a:prstGeom>
        </p:spPr>
      </p:pic>
      <p:pic>
        <p:nvPicPr>
          <p:cNvPr id="178" name="Picture 1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027" y="2610862"/>
            <a:ext cx="2805445" cy="1465997"/>
          </a:xfrm>
          <a:prstGeom prst="rect">
            <a:avLst/>
          </a:prstGeom>
        </p:spPr>
      </p:pic>
    </p:spTree>
    <p:extLst>
      <p:ext uri="{BB962C8B-B14F-4D97-AF65-F5344CB8AC3E}">
        <p14:creationId xmlns:p14="http://schemas.microsoft.com/office/powerpoint/2010/main" val="306021927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96844" y="1118135"/>
            <a:ext cx="7347156" cy="3516164"/>
          </a:xfrm>
        </p:spPr>
        <p:txBody>
          <a:bodyPr>
            <a:normAutofit fontScale="85000" lnSpcReduction="20000"/>
          </a:bodyPr>
          <a:lstStyle/>
          <a:p>
            <a:pPr marL="65073" indent="0">
              <a:buNone/>
            </a:pPr>
            <a:r>
              <a:rPr lang="en-US" dirty="0" smtClean="0"/>
              <a:t>FW (ASA) </a:t>
            </a:r>
            <a:r>
              <a:rPr lang="ja-JP" altLang="en-US" dirty="0" smtClean="0"/>
              <a:t>では</a:t>
            </a:r>
            <a:endParaRPr lang="en-US" dirty="0" smtClean="0"/>
          </a:p>
          <a:p>
            <a:pPr lvl="1"/>
            <a:r>
              <a:rPr lang="ja-JP" altLang="en-US" dirty="0" smtClean="0"/>
              <a:t>ポリシー監査</a:t>
            </a:r>
            <a:r>
              <a:rPr lang="en-US" dirty="0" smtClean="0"/>
              <a:t>: </a:t>
            </a:r>
            <a:r>
              <a:rPr lang="ja-JP" altLang="en-US" dirty="0" smtClean="0"/>
              <a:t>既存環境の設定やマイグレーションの際の問題を監査</a:t>
            </a:r>
            <a:endParaRPr lang="en-US" dirty="0"/>
          </a:p>
          <a:p>
            <a:pPr lvl="1"/>
            <a:r>
              <a:rPr lang="ja-JP" altLang="en-US" dirty="0" smtClean="0"/>
              <a:t>ポリシー最適化</a:t>
            </a:r>
            <a:r>
              <a:rPr lang="en-US" dirty="0" smtClean="0"/>
              <a:t>: </a:t>
            </a:r>
            <a:r>
              <a:rPr lang="ja-JP" altLang="en-US" dirty="0" smtClean="0"/>
              <a:t>ルールの分析し不必要なものをクリーンナップ</a:t>
            </a:r>
            <a:endParaRPr lang="en-US" dirty="0"/>
          </a:p>
          <a:p>
            <a:pPr lvl="1"/>
            <a:r>
              <a:rPr lang="ja-JP" altLang="en-US" dirty="0" smtClean="0"/>
              <a:t>ポリシー変更管理</a:t>
            </a:r>
            <a:r>
              <a:rPr lang="en-US" dirty="0" smtClean="0"/>
              <a:t>: </a:t>
            </a:r>
            <a:r>
              <a:rPr lang="ja-JP" altLang="en-US" dirty="0" smtClean="0"/>
              <a:t>ポリシーを統合的に管理、他から変更がある場合も検知</a:t>
            </a:r>
            <a:endParaRPr lang="en-US" dirty="0"/>
          </a:p>
          <a:p>
            <a:pPr lvl="1"/>
            <a:endParaRPr lang="en-US" dirty="0" smtClean="0"/>
          </a:p>
          <a:p>
            <a:pPr marL="57136" indent="0">
              <a:buNone/>
            </a:pPr>
            <a:r>
              <a:rPr lang="en-US" altLang="ja-JP" dirty="0" smtClean="0"/>
              <a:t>Firepower</a:t>
            </a:r>
            <a:r>
              <a:rPr lang="ja-JP" altLang="en-US" dirty="0" smtClean="0"/>
              <a:t> </a:t>
            </a:r>
            <a:r>
              <a:rPr lang="en-US" altLang="ja-JP" dirty="0" smtClean="0"/>
              <a:t>Services </a:t>
            </a:r>
            <a:r>
              <a:rPr lang="ja-JP" altLang="en-US" dirty="0" smtClean="0"/>
              <a:t>による</a:t>
            </a:r>
            <a:r>
              <a:rPr lang="en-US" altLang="ja-JP" dirty="0"/>
              <a:t> </a:t>
            </a:r>
            <a:r>
              <a:rPr lang="en-US" altLang="ja-JP" dirty="0" smtClean="0"/>
              <a:t>Layer 7 </a:t>
            </a:r>
            <a:r>
              <a:rPr lang="ja-JP" altLang="en-US" dirty="0" smtClean="0"/>
              <a:t>セキュリティをシンプルに</a:t>
            </a:r>
            <a:endParaRPr lang="en-US" dirty="0" smtClean="0"/>
          </a:p>
          <a:p>
            <a:pPr lvl="1"/>
            <a:r>
              <a:rPr lang="en-US" dirty="0" smtClean="0"/>
              <a:t>IPS </a:t>
            </a:r>
            <a:r>
              <a:rPr lang="ja-JP" altLang="en-US" dirty="0" smtClean="0"/>
              <a:t>ルール</a:t>
            </a:r>
            <a:endParaRPr lang="en-US" dirty="0" smtClean="0"/>
          </a:p>
          <a:p>
            <a:pPr lvl="1"/>
            <a:r>
              <a:rPr lang="ja-JP" altLang="en-US" dirty="0" smtClean="0"/>
              <a:t>より高度な脅威の防御</a:t>
            </a:r>
            <a:endParaRPr lang="en-US" dirty="0"/>
          </a:p>
          <a:p>
            <a:pPr lvl="1"/>
            <a:r>
              <a:rPr lang="ja-JP" altLang="en-US" dirty="0" smtClean="0"/>
              <a:t>アプリケーションルール</a:t>
            </a:r>
            <a:endParaRPr lang="en-US" dirty="0"/>
          </a:p>
          <a:p>
            <a:pPr lvl="1"/>
            <a:endParaRPr lang="en-US" dirty="0" smtClean="0"/>
          </a:p>
          <a:p>
            <a:pPr marL="57136" indent="0">
              <a:buNone/>
            </a:pPr>
            <a:r>
              <a:rPr lang="ja-JP" altLang="en-US" dirty="0" smtClean="0"/>
              <a:t>整合性を保ち、ネットワーク全体のセキュリティを強化</a:t>
            </a:r>
            <a:endParaRPr lang="en-US" dirty="0" smtClean="0"/>
          </a:p>
          <a:p>
            <a:pPr lvl="1"/>
            <a:r>
              <a:rPr lang="en-US" altLang="ja-JP" sz="1600" dirty="0" smtClean="0"/>
              <a:t>Cisco </a:t>
            </a:r>
            <a:r>
              <a:rPr lang="ja-JP" altLang="en-US" sz="1600" dirty="0" smtClean="0"/>
              <a:t>セキュリティ製品のポリシーを集中管理</a:t>
            </a:r>
            <a:endParaRPr lang="en-US" altLang="ja-JP" sz="1600" dirty="0" smtClean="0"/>
          </a:p>
          <a:p>
            <a:pPr lvl="1"/>
            <a:r>
              <a:rPr lang="ja-JP" altLang="en-US" sz="1600" dirty="0" smtClean="0"/>
              <a:t>本社、支社など場所に関係なく同等のセキュリティポリシーを管理</a:t>
            </a:r>
            <a:endParaRPr lang="en-US" sz="1600" dirty="0" smtClean="0"/>
          </a:p>
        </p:txBody>
      </p:sp>
      <p:sp>
        <p:nvSpPr>
          <p:cNvPr id="3" name="Title 2"/>
          <p:cNvSpPr>
            <a:spLocks noGrp="1"/>
          </p:cNvSpPr>
          <p:nvPr>
            <p:ph type="title"/>
          </p:nvPr>
        </p:nvSpPr>
        <p:spPr/>
        <p:txBody>
          <a:bodyPr/>
          <a:lstStyle/>
          <a:p>
            <a:pPr algn="ctr"/>
            <a:r>
              <a:rPr lang="en-US" altLang="ja-JP" sz="2800" dirty="0" smtClean="0"/>
              <a:t>CDO</a:t>
            </a:r>
            <a:r>
              <a:rPr lang="ja-JP" altLang="en-US" sz="2800" dirty="0" smtClean="0"/>
              <a:t> でお客様の課題を解決</a:t>
            </a:r>
            <a:endParaRPr lang="en-US" sz="2800" dirty="0"/>
          </a:p>
        </p:txBody>
      </p:sp>
      <p:grpSp>
        <p:nvGrpSpPr>
          <p:cNvPr id="4" name="Group 3"/>
          <p:cNvGrpSpPr/>
          <p:nvPr/>
        </p:nvGrpSpPr>
        <p:grpSpPr>
          <a:xfrm>
            <a:off x="644822" y="1324615"/>
            <a:ext cx="1028840" cy="669869"/>
            <a:chOff x="3364774" y="3154511"/>
            <a:chExt cx="648267" cy="477107"/>
          </a:xfrm>
          <a:solidFill>
            <a:schemeClr val="tx2">
              <a:lumMod val="75000"/>
            </a:schemeClr>
          </a:solidFill>
        </p:grpSpPr>
        <p:sp>
          <p:nvSpPr>
            <p:cNvPr id="5" name="Rectangle 49"/>
            <p:cNvSpPr>
              <a:spLocks noChangeArrowheads="1"/>
            </p:cNvSpPr>
            <p:nvPr/>
          </p:nvSpPr>
          <p:spPr bwMode="auto">
            <a:xfrm>
              <a:off x="3364774" y="3481854"/>
              <a:ext cx="432178" cy="1497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Rectangle 50"/>
            <p:cNvSpPr>
              <a:spLocks noChangeArrowheads="1"/>
            </p:cNvSpPr>
            <p:nvPr/>
          </p:nvSpPr>
          <p:spPr bwMode="auto">
            <a:xfrm>
              <a:off x="3580863" y="3317112"/>
              <a:ext cx="432178" cy="1497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51"/>
            <p:cNvSpPr>
              <a:spLocks noChangeArrowheads="1"/>
            </p:cNvSpPr>
            <p:nvPr/>
          </p:nvSpPr>
          <p:spPr bwMode="auto">
            <a:xfrm>
              <a:off x="3816208" y="3481854"/>
              <a:ext cx="196833" cy="1497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52"/>
            <p:cNvSpPr>
              <a:spLocks noChangeArrowheads="1"/>
            </p:cNvSpPr>
            <p:nvPr/>
          </p:nvSpPr>
          <p:spPr bwMode="auto">
            <a:xfrm>
              <a:off x="3816208" y="3154511"/>
              <a:ext cx="196833" cy="1476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53"/>
            <p:cNvSpPr>
              <a:spLocks noChangeArrowheads="1"/>
            </p:cNvSpPr>
            <p:nvPr/>
          </p:nvSpPr>
          <p:spPr bwMode="auto">
            <a:xfrm>
              <a:off x="3364774" y="3317112"/>
              <a:ext cx="194695" cy="1497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54"/>
            <p:cNvSpPr>
              <a:spLocks noChangeArrowheads="1"/>
            </p:cNvSpPr>
            <p:nvPr/>
          </p:nvSpPr>
          <p:spPr bwMode="auto">
            <a:xfrm>
              <a:off x="3364774" y="3154511"/>
              <a:ext cx="432178" cy="1476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p:cNvGrpSpPr/>
          <p:nvPr/>
        </p:nvGrpSpPr>
        <p:grpSpPr>
          <a:xfrm>
            <a:off x="766536" y="2527564"/>
            <a:ext cx="716142" cy="868934"/>
            <a:chOff x="3705225" y="4746625"/>
            <a:chExt cx="401638" cy="550863"/>
          </a:xfrm>
          <a:solidFill>
            <a:schemeClr val="tx2">
              <a:lumMod val="75000"/>
            </a:schemeClr>
          </a:solidFill>
        </p:grpSpPr>
        <p:sp>
          <p:nvSpPr>
            <p:cNvPr id="40" name="Freeform 188"/>
            <p:cNvSpPr>
              <a:spLocks noEditPoints="1"/>
            </p:cNvSpPr>
            <p:nvPr/>
          </p:nvSpPr>
          <p:spPr bwMode="auto">
            <a:xfrm>
              <a:off x="3705225" y="4746625"/>
              <a:ext cx="401638" cy="279400"/>
            </a:xfrm>
            <a:custGeom>
              <a:avLst/>
              <a:gdLst>
                <a:gd name="T0" fmla="*/ 437 w 506"/>
                <a:gd name="T1" fmla="*/ 236 h 352"/>
                <a:gd name="T2" fmla="*/ 437 w 506"/>
                <a:gd name="T3" fmla="*/ 185 h 352"/>
                <a:gd name="T4" fmla="*/ 429 w 506"/>
                <a:gd name="T5" fmla="*/ 129 h 352"/>
                <a:gd name="T6" fmla="*/ 406 w 506"/>
                <a:gd name="T7" fmla="*/ 81 h 352"/>
                <a:gd name="T8" fmla="*/ 370 w 506"/>
                <a:gd name="T9" fmla="*/ 42 h 352"/>
                <a:gd name="T10" fmla="*/ 324 w 506"/>
                <a:gd name="T11" fmla="*/ 13 h 352"/>
                <a:gd name="T12" fmla="*/ 271 w 506"/>
                <a:gd name="T13" fmla="*/ 0 h 352"/>
                <a:gd name="T14" fmla="*/ 234 w 506"/>
                <a:gd name="T15" fmla="*/ 0 h 352"/>
                <a:gd name="T16" fmla="*/ 181 w 506"/>
                <a:gd name="T17" fmla="*/ 13 h 352"/>
                <a:gd name="T18" fmla="*/ 135 w 506"/>
                <a:gd name="T19" fmla="*/ 42 h 352"/>
                <a:gd name="T20" fmla="*/ 100 w 506"/>
                <a:gd name="T21" fmla="*/ 81 h 352"/>
                <a:gd name="T22" fmla="*/ 76 w 506"/>
                <a:gd name="T23" fmla="*/ 129 h 352"/>
                <a:gd name="T24" fmla="*/ 68 w 506"/>
                <a:gd name="T25" fmla="*/ 185 h 352"/>
                <a:gd name="T26" fmla="*/ 69 w 506"/>
                <a:gd name="T27" fmla="*/ 236 h 352"/>
                <a:gd name="T28" fmla="*/ 34 w 506"/>
                <a:gd name="T29" fmla="*/ 237 h 352"/>
                <a:gd name="T30" fmla="*/ 12 w 506"/>
                <a:gd name="T31" fmla="*/ 249 h 352"/>
                <a:gd name="T32" fmla="*/ 0 w 506"/>
                <a:gd name="T33" fmla="*/ 271 h 352"/>
                <a:gd name="T34" fmla="*/ 58 w 506"/>
                <a:gd name="T35" fmla="*/ 283 h 352"/>
                <a:gd name="T36" fmla="*/ 66 w 506"/>
                <a:gd name="T37" fmla="*/ 286 h 352"/>
                <a:gd name="T38" fmla="*/ 69 w 506"/>
                <a:gd name="T39" fmla="*/ 294 h 352"/>
                <a:gd name="T40" fmla="*/ 62 w 506"/>
                <a:gd name="T41" fmla="*/ 305 h 352"/>
                <a:gd name="T42" fmla="*/ 0 w 506"/>
                <a:gd name="T43" fmla="*/ 309 h 352"/>
                <a:gd name="T44" fmla="*/ 3 w 506"/>
                <a:gd name="T45" fmla="*/ 326 h 352"/>
                <a:gd name="T46" fmla="*/ 19 w 506"/>
                <a:gd name="T47" fmla="*/ 345 h 352"/>
                <a:gd name="T48" fmla="*/ 42 w 506"/>
                <a:gd name="T49" fmla="*/ 352 h 352"/>
                <a:gd name="T50" fmla="*/ 471 w 506"/>
                <a:gd name="T51" fmla="*/ 351 h 352"/>
                <a:gd name="T52" fmla="*/ 492 w 506"/>
                <a:gd name="T53" fmla="*/ 340 h 352"/>
                <a:gd name="T54" fmla="*/ 505 w 506"/>
                <a:gd name="T55" fmla="*/ 318 h 352"/>
                <a:gd name="T56" fmla="*/ 506 w 506"/>
                <a:gd name="T57" fmla="*/ 279 h 352"/>
                <a:gd name="T58" fmla="*/ 498 w 506"/>
                <a:gd name="T59" fmla="*/ 255 h 352"/>
                <a:gd name="T60" fmla="*/ 479 w 506"/>
                <a:gd name="T61" fmla="*/ 240 h 352"/>
                <a:gd name="T62" fmla="*/ 463 w 506"/>
                <a:gd name="T63" fmla="*/ 236 h 352"/>
                <a:gd name="T64" fmla="*/ 103 w 506"/>
                <a:gd name="T65" fmla="*/ 142 h 352"/>
                <a:gd name="T66" fmla="*/ 100 w 506"/>
                <a:gd name="T67" fmla="*/ 131 h 352"/>
                <a:gd name="T68" fmla="*/ 116 w 506"/>
                <a:gd name="T69" fmla="*/ 97 h 352"/>
                <a:gd name="T70" fmla="*/ 154 w 506"/>
                <a:gd name="T71" fmla="*/ 57 h 352"/>
                <a:gd name="T72" fmla="*/ 203 w 506"/>
                <a:gd name="T73" fmla="*/ 31 h 352"/>
                <a:gd name="T74" fmla="*/ 211 w 506"/>
                <a:gd name="T75" fmla="*/ 31 h 352"/>
                <a:gd name="T76" fmla="*/ 216 w 506"/>
                <a:gd name="T77" fmla="*/ 38 h 352"/>
                <a:gd name="T78" fmla="*/ 213 w 506"/>
                <a:gd name="T79" fmla="*/ 49 h 352"/>
                <a:gd name="T80" fmla="*/ 194 w 506"/>
                <a:gd name="T81" fmla="*/ 57 h 352"/>
                <a:gd name="T82" fmla="*/ 155 w 506"/>
                <a:gd name="T83" fmla="*/ 84 h 352"/>
                <a:gd name="T84" fmla="*/ 127 w 506"/>
                <a:gd name="T85" fmla="*/ 123 h 352"/>
                <a:gd name="T86" fmla="*/ 118 w 506"/>
                <a:gd name="T87" fmla="*/ 140 h 352"/>
                <a:gd name="T88" fmla="*/ 107 w 506"/>
                <a:gd name="T89" fmla="*/ 144 h 352"/>
                <a:gd name="T90" fmla="*/ 135 w 506"/>
                <a:gd name="T91" fmla="*/ 236 h 352"/>
                <a:gd name="T92" fmla="*/ 135 w 506"/>
                <a:gd name="T93" fmla="*/ 185 h 352"/>
                <a:gd name="T94" fmla="*/ 141 w 506"/>
                <a:gd name="T95" fmla="*/ 150 h 352"/>
                <a:gd name="T96" fmla="*/ 155 w 506"/>
                <a:gd name="T97" fmla="*/ 119 h 352"/>
                <a:gd name="T98" fmla="*/ 178 w 506"/>
                <a:gd name="T99" fmla="*/ 93 h 352"/>
                <a:gd name="T100" fmla="*/ 207 w 506"/>
                <a:gd name="T101" fmla="*/ 75 h 352"/>
                <a:gd name="T102" fmla="*/ 240 w 506"/>
                <a:gd name="T103" fmla="*/ 67 h 352"/>
                <a:gd name="T104" fmla="*/ 265 w 506"/>
                <a:gd name="T105" fmla="*/ 67 h 352"/>
                <a:gd name="T106" fmla="*/ 298 w 506"/>
                <a:gd name="T107" fmla="*/ 75 h 352"/>
                <a:gd name="T108" fmla="*/ 328 w 506"/>
                <a:gd name="T109" fmla="*/ 93 h 352"/>
                <a:gd name="T110" fmla="*/ 350 w 506"/>
                <a:gd name="T111" fmla="*/ 119 h 352"/>
                <a:gd name="T112" fmla="*/ 364 w 506"/>
                <a:gd name="T113" fmla="*/ 150 h 352"/>
                <a:gd name="T114" fmla="*/ 370 w 506"/>
                <a:gd name="T115" fmla="*/ 185 h 352"/>
                <a:gd name="T116" fmla="*/ 371 w 506"/>
                <a:gd name="T117" fmla="*/ 23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6" h="352">
                  <a:moveTo>
                    <a:pt x="463" y="236"/>
                  </a:moveTo>
                  <a:lnTo>
                    <a:pt x="437" y="236"/>
                  </a:lnTo>
                  <a:lnTo>
                    <a:pt x="437" y="236"/>
                  </a:lnTo>
                  <a:lnTo>
                    <a:pt x="437" y="232"/>
                  </a:lnTo>
                  <a:lnTo>
                    <a:pt x="437" y="185"/>
                  </a:lnTo>
                  <a:lnTo>
                    <a:pt x="437" y="185"/>
                  </a:lnTo>
                  <a:lnTo>
                    <a:pt x="436" y="166"/>
                  </a:lnTo>
                  <a:lnTo>
                    <a:pt x="433" y="147"/>
                  </a:lnTo>
                  <a:lnTo>
                    <a:pt x="429" y="129"/>
                  </a:lnTo>
                  <a:lnTo>
                    <a:pt x="422" y="112"/>
                  </a:lnTo>
                  <a:lnTo>
                    <a:pt x="414" y="96"/>
                  </a:lnTo>
                  <a:lnTo>
                    <a:pt x="406" y="81"/>
                  </a:lnTo>
                  <a:lnTo>
                    <a:pt x="395" y="67"/>
                  </a:lnTo>
                  <a:lnTo>
                    <a:pt x="383" y="54"/>
                  </a:lnTo>
                  <a:lnTo>
                    <a:pt x="370" y="42"/>
                  </a:lnTo>
                  <a:lnTo>
                    <a:pt x="356" y="31"/>
                  </a:lnTo>
                  <a:lnTo>
                    <a:pt x="340" y="22"/>
                  </a:lnTo>
                  <a:lnTo>
                    <a:pt x="324" y="13"/>
                  </a:lnTo>
                  <a:lnTo>
                    <a:pt x="308" y="8"/>
                  </a:lnTo>
                  <a:lnTo>
                    <a:pt x="290" y="3"/>
                  </a:lnTo>
                  <a:lnTo>
                    <a:pt x="271" y="0"/>
                  </a:lnTo>
                  <a:lnTo>
                    <a:pt x="252" y="0"/>
                  </a:lnTo>
                  <a:lnTo>
                    <a:pt x="252" y="0"/>
                  </a:lnTo>
                  <a:lnTo>
                    <a:pt x="234" y="0"/>
                  </a:lnTo>
                  <a:lnTo>
                    <a:pt x="216" y="3"/>
                  </a:lnTo>
                  <a:lnTo>
                    <a:pt x="198" y="8"/>
                  </a:lnTo>
                  <a:lnTo>
                    <a:pt x="181" y="13"/>
                  </a:lnTo>
                  <a:lnTo>
                    <a:pt x="165" y="22"/>
                  </a:lnTo>
                  <a:lnTo>
                    <a:pt x="150" y="31"/>
                  </a:lnTo>
                  <a:lnTo>
                    <a:pt x="135" y="42"/>
                  </a:lnTo>
                  <a:lnTo>
                    <a:pt x="122" y="54"/>
                  </a:lnTo>
                  <a:lnTo>
                    <a:pt x="111" y="67"/>
                  </a:lnTo>
                  <a:lnTo>
                    <a:pt x="100" y="81"/>
                  </a:lnTo>
                  <a:lnTo>
                    <a:pt x="91" y="96"/>
                  </a:lnTo>
                  <a:lnTo>
                    <a:pt x="83" y="112"/>
                  </a:lnTo>
                  <a:lnTo>
                    <a:pt x="76" y="129"/>
                  </a:lnTo>
                  <a:lnTo>
                    <a:pt x="72" y="147"/>
                  </a:lnTo>
                  <a:lnTo>
                    <a:pt x="69" y="166"/>
                  </a:lnTo>
                  <a:lnTo>
                    <a:pt x="68" y="185"/>
                  </a:lnTo>
                  <a:lnTo>
                    <a:pt x="68" y="232"/>
                  </a:lnTo>
                  <a:lnTo>
                    <a:pt x="68" y="232"/>
                  </a:lnTo>
                  <a:lnTo>
                    <a:pt x="69" y="236"/>
                  </a:lnTo>
                  <a:lnTo>
                    <a:pt x="42" y="236"/>
                  </a:lnTo>
                  <a:lnTo>
                    <a:pt x="42" y="236"/>
                  </a:lnTo>
                  <a:lnTo>
                    <a:pt x="34" y="237"/>
                  </a:lnTo>
                  <a:lnTo>
                    <a:pt x="26" y="240"/>
                  </a:lnTo>
                  <a:lnTo>
                    <a:pt x="19" y="244"/>
                  </a:lnTo>
                  <a:lnTo>
                    <a:pt x="12" y="249"/>
                  </a:lnTo>
                  <a:lnTo>
                    <a:pt x="7" y="255"/>
                  </a:lnTo>
                  <a:lnTo>
                    <a:pt x="3" y="263"/>
                  </a:lnTo>
                  <a:lnTo>
                    <a:pt x="0" y="271"/>
                  </a:lnTo>
                  <a:lnTo>
                    <a:pt x="0" y="279"/>
                  </a:lnTo>
                  <a:lnTo>
                    <a:pt x="0" y="283"/>
                  </a:lnTo>
                  <a:lnTo>
                    <a:pt x="58" y="283"/>
                  </a:lnTo>
                  <a:lnTo>
                    <a:pt x="58" y="283"/>
                  </a:lnTo>
                  <a:lnTo>
                    <a:pt x="62" y="284"/>
                  </a:lnTo>
                  <a:lnTo>
                    <a:pt x="66" y="286"/>
                  </a:lnTo>
                  <a:lnTo>
                    <a:pt x="69" y="290"/>
                  </a:lnTo>
                  <a:lnTo>
                    <a:pt x="69" y="294"/>
                  </a:lnTo>
                  <a:lnTo>
                    <a:pt x="69" y="294"/>
                  </a:lnTo>
                  <a:lnTo>
                    <a:pt x="69" y="298"/>
                  </a:lnTo>
                  <a:lnTo>
                    <a:pt x="66" y="302"/>
                  </a:lnTo>
                  <a:lnTo>
                    <a:pt x="62" y="305"/>
                  </a:lnTo>
                  <a:lnTo>
                    <a:pt x="58" y="305"/>
                  </a:lnTo>
                  <a:lnTo>
                    <a:pt x="0" y="305"/>
                  </a:lnTo>
                  <a:lnTo>
                    <a:pt x="0" y="309"/>
                  </a:lnTo>
                  <a:lnTo>
                    <a:pt x="0" y="309"/>
                  </a:lnTo>
                  <a:lnTo>
                    <a:pt x="0" y="318"/>
                  </a:lnTo>
                  <a:lnTo>
                    <a:pt x="3" y="326"/>
                  </a:lnTo>
                  <a:lnTo>
                    <a:pt x="7" y="333"/>
                  </a:lnTo>
                  <a:lnTo>
                    <a:pt x="12" y="340"/>
                  </a:lnTo>
                  <a:lnTo>
                    <a:pt x="19" y="345"/>
                  </a:lnTo>
                  <a:lnTo>
                    <a:pt x="26" y="349"/>
                  </a:lnTo>
                  <a:lnTo>
                    <a:pt x="34" y="351"/>
                  </a:lnTo>
                  <a:lnTo>
                    <a:pt x="42" y="352"/>
                  </a:lnTo>
                  <a:lnTo>
                    <a:pt x="463" y="352"/>
                  </a:lnTo>
                  <a:lnTo>
                    <a:pt x="463" y="352"/>
                  </a:lnTo>
                  <a:lnTo>
                    <a:pt x="471" y="351"/>
                  </a:lnTo>
                  <a:lnTo>
                    <a:pt x="479" y="349"/>
                  </a:lnTo>
                  <a:lnTo>
                    <a:pt x="487" y="345"/>
                  </a:lnTo>
                  <a:lnTo>
                    <a:pt x="492" y="340"/>
                  </a:lnTo>
                  <a:lnTo>
                    <a:pt x="498" y="333"/>
                  </a:lnTo>
                  <a:lnTo>
                    <a:pt x="502" y="326"/>
                  </a:lnTo>
                  <a:lnTo>
                    <a:pt x="505" y="318"/>
                  </a:lnTo>
                  <a:lnTo>
                    <a:pt x="506" y="309"/>
                  </a:lnTo>
                  <a:lnTo>
                    <a:pt x="506" y="279"/>
                  </a:lnTo>
                  <a:lnTo>
                    <a:pt x="506" y="279"/>
                  </a:lnTo>
                  <a:lnTo>
                    <a:pt x="505" y="271"/>
                  </a:lnTo>
                  <a:lnTo>
                    <a:pt x="502" y="263"/>
                  </a:lnTo>
                  <a:lnTo>
                    <a:pt x="498" y="255"/>
                  </a:lnTo>
                  <a:lnTo>
                    <a:pt x="492" y="249"/>
                  </a:lnTo>
                  <a:lnTo>
                    <a:pt x="487" y="244"/>
                  </a:lnTo>
                  <a:lnTo>
                    <a:pt x="479" y="240"/>
                  </a:lnTo>
                  <a:lnTo>
                    <a:pt x="471" y="237"/>
                  </a:lnTo>
                  <a:lnTo>
                    <a:pt x="463" y="236"/>
                  </a:lnTo>
                  <a:lnTo>
                    <a:pt x="463" y="236"/>
                  </a:lnTo>
                  <a:close/>
                  <a:moveTo>
                    <a:pt x="107" y="144"/>
                  </a:moveTo>
                  <a:lnTo>
                    <a:pt x="107" y="144"/>
                  </a:lnTo>
                  <a:lnTo>
                    <a:pt x="103" y="142"/>
                  </a:lnTo>
                  <a:lnTo>
                    <a:pt x="101" y="139"/>
                  </a:lnTo>
                  <a:lnTo>
                    <a:pt x="100" y="135"/>
                  </a:lnTo>
                  <a:lnTo>
                    <a:pt x="100" y="131"/>
                  </a:lnTo>
                  <a:lnTo>
                    <a:pt x="100" y="131"/>
                  </a:lnTo>
                  <a:lnTo>
                    <a:pt x="108" y="113"/>
                  </a:lnTo>
                  <a:lnTo>
                    <a:pt x="116" y="97"/>
                  </a:lnTo>
                  <a:lnTo>
                    <a:pt x="127" y="82"/>
                  </a:lnTo>
                  <a:lnTo>
                    <a:pt x="141" y="69"/>
                  </a:lnTo>
                  <a:lnTo>
                    <a:pt x="154" y="57"/>
                  </a:lnTo>
                  <a:lnTo>
                    <a:pt x="169" y="46"/>
                  </a:lnTo>
                  <a:lnTo>
                    <a:pt x="185" y="38"/>
                  </a:lnTo>
                  <a:lnTo>
                    <a:pt x="203" y="31"/>
                  </a:lnTo>
                  <a:lnTo>
                    <a:pt x="203" y="31"/>
                  </a:lnTo>
                  <a:lnTo>
                    <a:pt x="207" y="30"/>
                  </a:lnTo>
                  <a:lnTo>
                    <a:pt x="211" y="31"/>
                  </a:lnTo>
                  <a:lnTo>
                    <a:pt x="215" y="34"/>
                  </a:lnTo>
                  <a:lnTo>
                    <a:pt x="216" y="38"/>
                  </a:lnTo>
                  <a:lnTo>
                    <a:pt x="216" y="38"/>
                  </a:lnTo>
                  <a:lnTo>
                    <a:pt x="216" y="42"/>
                  </a:lnTo>
                  <a:lnTo>
                    <a:pt x="216" y="46"/>
                  </a:lnTo>
                  <a:lnTo>
                    <a:pt x="213" y="49"/>
                  </a:lnTo>
                  <a:lnTo>
                    <a:pt x="209" y="51"/>
                  </a:lnTo>
                  <a:lnTo>
                    <a:pt x="209" y="51"/>
                  </a:lnTo>
                  <a:lnTo>
                    <a:pt x="194" y="57"/>
                  </a:lnTo>
                  <a:lnTo>
                    <a:pt x="180" y="63"/>
                  </a:lnTo>
                  <a:lnTo>
                    <a:pt x="167" y="73"/>
                  </a:lnTo>
                  <a:lnTo>
                    <a:pt x="155" y="84"/>
                  </a:lnTo>
                  <a:lnTo>
                    <a:pt x="145" y="96"/>
                  </a:lnTo>
                  <a:lnTo>
                    <a:pt x="135" y="108"/>
                  </a:lnTo>
                  <a:lnTo>
                    <a:pt x="127" y="123"/>
                  </a:lnTo>
                  <a:lnTo>
                    <a:pt x="120" y="138"/>
                  </a:lnTo>
                  <a:lnTo>
                    <a:pt x="120" y="138"/>
                  </a:lnTo>
                  <a:lnTo>
                    <a:pt x="118" y="140"/>
                  </a:lnTo>
                  <a:lnTo>
                    <a:pt x="115" y="143"/>
                  </a:lnTo>
                  <a:lnTo>
                    <a:pt x="111" y="144"/>
                  </a:lnTo>
                  <a:lnTo>
                    <a:pt x="107" y="144"/>
                  </a:lnTo>
                  <a:lnTo>
                    <a:pt x="107" y="144"/>
                  </a:lnTo>
                  <a:close/>
                  <a:moveTo>
                    <a:pt x="135" y="236"/>
                  </a:moveTo>
                  <a:lnTo>
                    <a:pt x="135" y="236"/>
                  </a:lnTo>
                  <a:lnTo>
                    <a:pt x="135" y="232"/>
                  </a:lnTo>
                  <a:lnTo>
                    <a:pt x="135" y="185"/>
                  </a:lnTo>
                  <a:lnTo>
                    <a:pt x="135" y="185"/>
                  </a:lnTo>
                  <a:lnTo>
                    <a:pt x="136" y="173"/>
                  </a:lnTo>
                  <a:lnTo>
                    <a:pt x="138" y="160"/>
                  </a:lnTo>
                  <a:lnTo>
                    <a:pt x="141" y="150"/>
                  </a:lnTo>
                  <a:lnTo>
                    <a:pt x="145" y="139"/>
                  </a:lnTo>
                  <a:lnTo>
                    <a:pt x="150" y="128"/>
                  </a:lnTo>
                  <a:lnTo>
                    <a:pt x="155" y="119"/>
                  </a:lnTo>
                  <a:lnTo>
                    <a:pt x="162" y="109"/>
                  </a:lnTo>
                  <a:lnTo>
                    <a:pt x="170" y="101"/>
                  </a:lnTo>
                  <a:lnTo>
                    <a:pt x="178" y="93"/>
                  </a:lnTo>
                  <a:lnTo>
                    <a:pt x="188" y="86"/>
                  </a:lnTo>
                  <a:lnTo>
                    <a:pt x="197" y="81"/>
                  </a:lnTo>
                  <a:lnTo>
                    <a:pt x="207" y="75"/>
                  </a:lnTo>
                  <a:lnTo>
                    <a:pt x="217" y="71"/>
                  </a:lnTo>
                  <a:lnTo>
                    <a:pt x="230" y="69"/>
                  </a:lnTo>
                  <a:lnTo>
                    <a:pt x="240" y="67"/>
                  </a:lnTo>
                  <a:lnTo>
                    <a:pt x="252" y="66"/>
                  </a:lnTo>
                  <a:lnTo>
                    <a:pt x="252" y="66"/>
                  </a:lnTo>
                  <a:lnTo>
                    <a:pt x="265" y="67"/>
                  </a:lnTo>
                  <a:lnTo>
                    <a:pt x="277" y="69"/>
                  </a:lnTo>
                  <a:lnTo>
                    <a:pt x="287" y="71"/>
                  </a:lnTo>
                  <a:lnTo>
                    <a:pt x="298" y="75"/>
                  </a:lnTo>
                  <a:lnTo>
                    <a:pt x="309" y="81"/>
                  </a:lnTo>
                  <a:lnTo>
                    <a:pt x="318" y="86"/>
                  </a:lnTo>
                  <a:lnTo>
                    <a:pt x="328" y="93"/>
                  </a:lnTo>
                  <a:lnTo>
                    <a:pt x="336" y="101"/>
                  </a:lnTo>
                  <a:lnTo>
                    <a:pt x="343" y="109"/>
                  </a:lnTo>
                  <a:lnTo>
                    <a:pt x="350" y="119"/>
                  </a:lnTo>
                  <a:lnTo>
                    <a:pt x="356" y="128"/>
                  </a:lnTo>
                  <a:lnTo>
                    <a:pt x="360" y="139"/>
                  </a:lnTo>
                  <a:lnTo>
                    <a:pt x="364" y="150"/>
                  </a:lnTo>
                  <a:lnTo>
                    <a:pt x="367" y="160"/>
                  </a:lnTo>
                  <a:lnTo>
                    <a:pt x="370" y="173"/>
                  </a:lnTo>
                  <a:lnTo>
                    <a:pt x="370" y="185"/>
                  </a:lnTo>
                  <a:lnTo>
                    <a:pt x="370" y="232"/>
                  </a:lnTo>
                  <a:lnTo>
                    <a:pt x="370" y="232"/>
                  </a:lnTo>
                  <a:lnTo>
                    <a:pt x="371" y="236"/>
                  </a:lnTo>
                  <a:lnTo>
                    <a:pt x="135"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89"/>
            <p:cNvSpPr>
              <a:spLocks/>
            </p:cNvSpPr>
            <p:nvPr/>
          </p:nvSpPr>
          <p:spPr bwMode="auto">
            <a:xfrm>
              <a:off x="3705225" y="5040313"/>
              <a:ext cx="287338" cy="125413"/>
            </a:xfrm>
            <a:custGeom>
              <a:avLst/>
              <a:gdLst>
                <a:gd name="T0" fmla="*/ 177 w 362"/>
                <a:gd name="T1" fmla="*/ 116 h 156"/>
                <a:gd name="T2" fmla="*/ 181 w 362"/>
                <a:gd name="T3" fmla="*/ 112 h 156"/>
                <a:gd name="T4" fmla="*/ 182 w 362"/>
                <a:gd name="T5" fmla="*/ 112 h 156"/>
                <a:gd name="T6" fmla="*/ 194 w 362"/>
                <a:gd name="T7" fmla="*/ 102 h 156"/>
                <a:gd name="T8" fmla="*/ 209 w 362"/>
                <a:gd name="T9" fmla="*/ 100 h 156"/>
                <a:gd name="T10" fmla="*/ 217 w 362"/>
                <a:gd name="T11" fmla="*/ 101 h 156"/>
                <a:gd name="T12" fmla="*/ 232 w 362"/>
                <a:gd name="T13" fmla="*/ 106 h 156"/>
                <a:gd name="T14" fmla="*/ 242 w 362"/>
                <a:gd name="T15" fmla="*/ 116 h 156"/>
                <a:gd name="T16" fmla="*/ 283 w 362"/>
                <a:gd name="T17" fmla="*/ 156 h 156"/>
                <a:gd name="T18" fmla="*/ 324 w 362"/>
                <a:gd name="T19" fmla="*/ 116 h 156"/>
                <a:gd name="T20" fmla="*/ 341 w 362"/>
                <a:gd name="T21" fmla="*/ 56 h 156"/>
                <a:gd name="T22" fmla="*/ 335 w 362"/>
                <a:gd name="T23" fmla="*/ 47 h 156"/>
                <a:gd name="T24" fmla="*/ 329 w 362"/>
                <a:gd name="T25" fmla="*/ 27 h 156"/>
                <a:gd name="T26" fmla="*/ 332 w 362"/>
                <a:gd name="T27" fmla="*/ 17 h 156"/>
                <a:gd name="T28" fmla="*/ 335 w 362"/>
                <a:gd name="T29" fmla="*/ 12 h 156"/>
                <a:gd name="T30" fmla="*/ 343 w 362"/>
                <a:gd name="T31" fmla="*/ 4 h 156"/>
                <a:gd name="T32" fmla="*/ 42 w 362"/>
                <a:gd name="T33" fmla="*/ 0 h 156"/>
                <a:gd name="T34" fmla="*/ 34 w 362"/>
                <a:gd name="T35" fmla="*/ 1 h 156"/>
                <a:gd name="T36" fmla="*/ 19 w 362"/>
                <a:gd name="T37" fmla="*/ 8 h 156"/>
                <a:gd name="T38" fmla="*/ 7 w 362"/>
                <a:gd name="T39" fmla="*/ 19 h 156"/>
                <a:gd name="T40" fmla="*/ 0 w 362"/>
                <a:gd name="T41" fmla="*/ 35 h 156"/>
                <a:gd name="T42" fmla="*/ 0 w 362"/>
                <a:gd name="T43" fmla="*/ 47 h 156"/>
                <a:gd name="T44" fmla="*/ 58 w 362"/>
                <a:gd name="T45" fmla="*/ 47 h 156"/>
                <a:gd name="T46" fmla="*/ 66 w 362"/>
                <a:gd name="T47" fmla="*/ 50 h 156"/>
                <a:gd name="T48" fmla="*/ 69 w 362"/>
                <a:gd name="T49" fmla="*/ 58 h 156"/>
                <a:gd name="T50" fmla="*/ 69 w 362"/>
                <a:gd name="T51" fmla="*/ 62 h 156"/>
                <a:gd name="T52" fmla="*/ 62 w 362"/>
                <a:gd name="T53" fmla="*/ 69 h 156"/>
                <a:gd name="T54" fmla="*/ 0 w 362"/>
                <a:gd name="T55" fmla="*/ 69 h 156"/>
                <a:gd name="T56" fmla="*/ 0 w 362"/>
                <a:gd name="T57" fmla="*/ 73 h 156"/>
                <a:gd name="T58" fmla="*/ 3 w 362"/>
                <a:gd name="T59" fmla="*/ 90 h 156"/>
                <a:gd name="T60" fmla="*/ 12 w 362"/>
                <a:gd name="T61" fmla="*/ 104 h 156"/>
                <a:gd name="T62" fmla="*/ 26 w 362"/>
                <a:gd name="T63" fmla="*/ 112 h 156"/>
                <a:gd name="T64" fmla="*/ 42 w 362"/>
                <a:gd name="T65" fmla="*/ 11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156">
                  <a:moveTo>
                    <a:pt x="42" y="116"/>
                  </a:moveTo>
                  <a:lnTo>
                    <a:pt x="177" y="116"/>
                  </a:lnTo>
                  <a:lnTo>
                    <a:pt x="181" y="112"/>
                  </a:lnTo>
                  <a:lnTo>
                    <a:pt x="181" y="112"/>
                  </a:lnTo>
                  <a:lnTo>
                    <a:pt x="182" y="112"/>
                  </a:lnTo>
                  <a:lnTo>
                    <a:pt x="182" y="112"/>
                  </a:lnTo>
                  <a:lnTo>
                    <a:pt x="188" y="106"/>
                  </a:lnTo>
                  <a:lnTo>
                    <a:pt x="194" y="102"/>
                  </a:lnTo>
                  <a:lnTo>
                    <a:pt x="201" y="101"/>
                  </a:lnTo>
                  <a:lnTo>
                    <a:pt x="209" y="100"/>
                  </a:lnTo>
                  <a:lnTo>
                    <a:pt x="209" y="100"/>
                  </a:lnTo>
                  <a:lnTo>
                    <a:pt x="217" y="101"/>
                  </a:lnTo>
                  <a:lnTo>
                    <a:pt x="225" y="102"/>
                  </a:lnTo>
                  <a:lnTo>
                    <a:pt x="232" y="106"/>
                  </a:lnTo>
                  <a:lnTo>
                    <a:pt x="238" y="112"/>
                  </a:lnTo>
                  <a:lnTo>
                    <a:pt x="242" y="116"/>
                  </a:lnTo>
                  <a:lnTo>
                    <a:pt x="262" y="135"/>
                  </a:lnTo>
                  <a:lnTo>
                    <a:pt x="283" y="156"/>
                  </a:lnTo>
                  <a:lnTo>
                    <a:pt x="305" y="135"/>
                  </a:lnTo>
                  <a:lnTo>
                    <a:pt x="324" y="116"/>
                  </a:lnTo>
                  <a:lnTo>
                    <a:pt x="362" y="77"/>
                  </a:lnTo>
                  <a:lnTo>
                    <a:pt x="341" y="56"/>
                  </a:lnTo>
                  <a:lnTo>
                    <a:pt x="341" y="56"/>
                  </a:lnTo>
                  <a:lnTo>
                    <a:pt x="335" y="47"/>
                  </a:lnTo>
                  <a:lnTo>
                    <a:pt x="331" y="38"/>
                  </a:lnTo>
                  <a:lnTo>
                    <a:pt x="329" y="27"/>
                  </a:lnTo>
                  <a:lnTo>
                    <a:pt x="331" y="21"/>
                  </a:lnTo>
                  <a:lnTo>
                    <a:pt x="332" y="17"/>
                  </a:lnTo>
                  <a:lnTo>
                    <a:pt x="332" y="17"/>
                  </a:lnTo>
                  <a:lnTo>
                    <a:pt x="335" y="12"/>
                  </a:lnTo>
                  <a:lnTo>
                    <a:pt x="339" y="8"/>
                  </a:lnTo>
                  <a:lnTo>
                    <a:pt x="343" y="4"/>
                  </a:lnTo>
                  <a:lnTo>
                    <a:pt x="347" y="0"/>
                  </a:lnTo>
                  <a:lnTo>
                    <a:pt x="42" y="0"/>
                  </a:lnTo>
                  <a:lnTo>
                    <a:pt x="42" y="0"/>
                  </a:lnTo>
                  <a:lnTo>
                    <a:pt x="34" y="1"/>
                  </a:lnTo>
                  <a:lnTo>
                    <a:pt x="26" y="4"/>
                  </a:lnTo>
                  <a:lnTo>
                    <a:pt x="19" y="8"/>
                  </a:lnTo>
                  <a:lnTo>
                    <a:pt x="12" y="13"/>
                  </a:lnTo>
                  <a:lnTo>
                    <a:pt x="7" y="19"/>
                  </a:lnTo>
                  <a:lnTo>
                    <a:pt x="3" y="27"/>
                  </a:lnTo>
                  <a:lnTo>
                    <a:pt x="0" y="35"/>
                  </a:lnTo>
                  <a:lnTo>
                    <a:pt x="0" y="43"/>
                  </a:lnTo>
                  <a:lnTo>
                    <a:pt x="0" y="47"/>
                  </a:lnTo>
                  <a:lnTo>
                    <a:pt x="58" y="47"/>
                  </a:lnTo>
                  <a:lnTo>
                    <a:pt x="58" y="47"/>
                  </a:lnTo>
                  <a:lnTo>
                    <a:pt x="62" y="48"/>
                  </a:lnTo>
                  <a:lnTo>
                    <a:pt x="66" y="50"/>
                  </a:lnTo>
                  <a:lnTo>
                    <a:pt x="69" y="54"/>
                  </a:lnTo>
                  <a:lnTo>
                    <a:pt x="69" y="58"/>
                  </a:lnTo>
                  <a:lnTo>
                    <a:pt x="69" y="58"/>
                  </a:lnTo>
                  <a:lnTo>
                    <a:pt x="69" y="62"/>
                  </a:lnTo>
                  <a:lnTo>
                    <a:pt x="66" y="66"/>
                  </a:lnTo>
                  <a:lnTo>
                    <a:pt x="62" y="69"/>
                  </a:lnTo>
                  <a:lnTo>
                    <a:pt x="58" y="69"/>
                  </a:lnTo>
                  <a:lnTo>
                    <a:pt x="0" y="69"/>
                  </a:lnTo>
                  <a:lnTo>
                    <a:pt x="0" y="73"/>
                  </a:lnTo>
                  <a:lnTo>
                    <a:pt x="0" y="73"/>
                  </a:lnTo>
                  <a:lnTo>
                    <a:pt x="0" y="82"/>
                  </a:lnTo>
                  <a:lnTo>
                    <a:pt x="3" y="90"/>
                  </a:lnTo>
                  <a:lnTo>
                    <a:pt x="7" y="97"/>
                  </a:lnTo>
                  <a:lnTo>
                    <a:pt x="12" y="104"/>
                  </a:lnTo>
                  <a:lnTo>
                    <a:pt x="19" y="109"/>
                  </a:lnTo>
                  <a:lnTo>
                    <a:pt x="26" y="112"/>
                  </a:lnTo>
                  <a:lnTo>
                    <a:pt x="34" y="114"/>
                  </a:lnTo>
                  <a:lnTo>
                    <a:pt x="42" y="116"/>
                  </a:lnTo>
                  <a:lnTo>
                    <a:pt x="4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90"/>
            <p:cNvSpPr>
              <a:spLocks/>
            </p:cNvSpPr>
            <p:nvPr/>
          </p:nvSpPr>
          <p:spPr bwMode="auto">
            <a:xfrm>
              <a:off x="3705225" y="5148263"/>
              <a:ext cx="125413" cy="92075"/>
            </a:xfrm>
            <a:custGeom>
              <a:avLst/>
              <a:gdLst>
                <a:gd name="T0" fmla="*/ 42 w 158"/>
                <a:gd name="T1" fmla="*/ 116 h 116"/>
                <a:gd name="T2" fmla="*/ 158 w 158"/>
                <a:gd name="T3" fmla="*/ 0 h 116"/>
                <a:gd name="T4" fmla="*/ 42 w 158"/>
                <a:gd name="T5" fmla="*/ 0 h 116"/>
                <a:gd name="T6" fmla="*/ 42 w 158"/>
                <a:gd name="T7" fmla="*/ 0 h 116"/>
                <a:gd name="T8" fmla="*/ 34 w 158"/>
                <a:gd name="T9" fmla="*/ 1 h 116"/>
                <a:gd name="T10" fmla="*/ 26 w 158"/>
                <a:gd name="T11" fmla="*/ 4 h 116"/>
                <a:gd name="T12" fmla="*/ 19 w 158"/>
                <a:gd name="T13" fmla="*/ 8 h 116"/>
                <a:gd name="T14" fmla="*/ 12 w 158"/>
                <a:gd name="T15" fmla="*/ 12 h 116"/>
                <a:gd name="T16" fmla="*/ 7 w 158"/>
                <a:gd name="T17" fmla="*/ 18 h 116"/>
                <a:gd name="T18" fmla="*/ 3 w 158"/>
                <a:gd name="T19" fmla="*/ 27 h 116"/>
                <a:gd name="T20" fmla="*/ 0 w 158"/>
                <a:gd name="T21" fmla="*/ 33 h 116"/>
                <a:gd name="T22" fmla="*/ 0 w 158"/>
                <a:gd name="T23" fmla="*/ 43 h 116"/>
                <a:gd name="T24" fmla="*/ 0 w 158"/>
                <a:gd name="T25" fmla="*/ 47 h 116"/>
                <a:gd name="T26" fmla="*/ 58 w 158"/>
                <a:gd name="T27" fmla="*/ 47 h 116"/>
                <a:gd name="T28" fmla="*/ 58 w 158"/>
                <a:gd name="T29" fmla="*/ 47 h 116"/>
                <a:gd name="T30" fmla="*/ 62 w 158"/>
                <a:gd name="T31" fmla="*/ 47 h 116"/>
                <a:gd name="T32" fmla="*/ 66 w 158"/>
                <a:gd name="T33" fmla="*/ 49 h 116"/>
                <a:gd name="T34" fmla="*/ 69 w 158"/>
                <a:gd name="T35" fmla="*/ 54 h 116"/>
                <a:gd name="T36" fmla="*/ 69 w 158"/>
                <a:gd name="T37" fmla="*/ 58 h 116"/>
                <a:gd name="T38" fmla="*/ 69 w 158"/>
                <a:gd name="T39" fmla="*/ 58 h 116"/>
                <a:gd name="T40" fmla="*/ 69 w 158"/>
                <a:gd name="T41" fmla="*/ 62 h 116"/>
                <a:gd name="T42" fmla="*/ 66 w 158"/>
                <a:gd name="T43" fmla="*/ 66 h 116"/>
                <a:gd name="T44" fmla="*/ 62 w 158"/>
                <a:gd name="T45" fmla="*/ 68 h 116"/>
                <a:gd name="T46" fmla="*/ 58 w 158"/>
                <a:gd name="T47" fmla="*/ 68 h 116"/>
                <a:gd name="T48" fmla="*/ 0 w 158"/>
                <a:gd name="T49" fmla="*/ 68 h 116"/>
                <a:gd name="T50" fmla="*/ 0 w 158"/>
                <a:gd name="T51" fmla="*/ 72 h 116"/>
                <a:gd name="T52" fmla="*/ 0 w 158"/>
                <a:gd name="T53" fmla="*/ 72 h 116"/>
                <a:gd name="T54" fmla="*/ 0 w 158"/>
                <a:gd name="T55" fmla="*/ 82 h 116"/>
                <a:gd name="T56" fmla="*/ 3 w 158"/>
                <a:gd name="T57" fmla="*/ 90 h 116"/>
                <a:gd name="T58" fmla="*/ 7 w 158"/>
                <a:gd name="T59" fmla="*/ 97 h 116"/>
                <a:gd name="T60" fmla="*/ 12 w 158"/>
                <a:gd name="T61" fmla="*/ 103 h 116"/>
                <a:gd name="T62" fmla="*/ 19 w 158"/>
                <a:gd name="T63" fmla="*/ 107 h 116"/>
                <a:gd name="T64" fmla="*/ 26 w 158"/>
                <a:gd name="T65" fmla="*/ 112 h 116"/>
                <a:gd name="T66" fmla="*/ 34 w 158"/>
                <a:gd name="T67" fmla="*/ 114 h 116"/>
                <a:gd name="T68" fmla="*/ 42 w 158"/>
                <a:gd name="T69" fmla="*/ 116 h 116"/>
                <a:gd name="T70" fmla="*/ 42 w 158"/>
                <a:gd name="T7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16">
                  <a:moveTo>
                    <a:pt x="42" y="116"/>
                  </a:moveTo>
                  <a:lnTo>
                    <a:pt x="158" y="0"/>
                  </a:lnTo>
                  <a:lnTo>
                    <a:pt x="42" y="0"/>
                  </a:lnTo>
                  <a:lnTo>
                    <a:pt x="42" y="0"/>
                  </a:lnTo>
                  <a:lnTo>
                    <a:pt x="34" y="1"/>
                  </a:lnTo>
                  <a:lnTo>
                    <a:pt x="26" y="4"/>
                  </a:lnTo>
                  <a:lnTo>
                    <a:pt x="19" y="8"/>
                  </a:lnTo>
                  <a:lnTo>
                    <a:pt x="12" y="12"/>
                  </a:lnTo>
                  <a:lnTo>
                    <a:pt x="7" y="18"/>
                  </a:lnTo>
                  <a:lnTo>
                    <a:pt x="3" y="27"/>
                  </a:lnTo>
                  <a:lnTo>
                    <a:pt x="0" y="33"/>
                  </a:lnTo>
                  <a:lnTo>
                    <a:pt x="0" y="43"/>
                  </a:lnTo>
                  <a:lnTo>
                    <a:pt x="0" y="47"/>
                  </a:lnTo>
                  <a:lnTo>
                    <a:pt x="58" y="47"/>
                  </a:lnTo>
                  <a:lnTo>
                    <a:pt x="58" y="47"/>
                  </a:lnTo>
                  <a:lnTo>
                    <a:pt x="62" y="47"/>
                  </a:lnTo>
                  <a:lnTo>
                    <a:pt x="66" y="49"/>
                  </a:lnTo>
                  <a:lnTo>
                    <a:pt x="69" y="54"/>
                  </a:lnTo>
                  <a:lnTo>
                    <a:pt x="69" y="58"/>
                  </a:lnTo>
                  <a:lnTo>
                    <a:pt x="69" y="58"/>
                  </a:lnTo>
                  <a:lnTo>
                    <a:pt x="69" y="62"/>
                  </a:lnTo>
                  <a:lnTo>
                    <a:pt x="66" y="66"/>
                  </a:lnTo>
                  <a:lnTo>
                    <a:pt x="62" y="68"/>
                  </a:lnTo>
                  <a:lnTo>
                    <a:pt x="58" y="68"/>
                  </a:lnTo>
                  <a:lnTo>
                    <a:pt x="0" y="68"/>
                  </a:lnTo>
                  <a:lnTo>
                    <a:pt x="0" y="72"/>
                  </a:lnTo>
                  <a:lnTo>
                    <a:pt x="0" y="72"/>
                  </a:lnTo>
                  <a:lnTo>
                    <a:pt x="0" y="82"/>
                  </a:lnTo>
                  <a:lnTo>
                    <a:pt x="3" y="90"/>
                  </a:lnTo>
                  <a:lnTo>
                    <a:pt x="7" y="97"/>
                  </a:lnTo>
                  <a:lnTo>
                    <a:pt x="12" y="103"/>
                  </a:lnTo>
                  <a:lnTo>
                    <a:pt x="19" y="107"/>
                  </a:lnTo>
                  <a:lnTo>
                    <a:pt x="26" y="112"/>
                  </a:lnTo>
                  <a:lnTo>
                    <a:pt x="34" y="114"/>
                  </a:lnTo>
                  <a:lnTo>
                    <a:pt x="42" y="116"/>
                  </a:lnTo>
                  <a:lnTo>
                    <a:pt x="4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91"/>
            <p:cNvSpPr>
              <a:spLocks/>
            </p:cNvSpPr>
            <p:nvPr/>
          </p:nvSpPr>
          <p:spPr bwMode="auto">
            <a:xfrm>
              <a:off x="4000500" y="5175250"/>
              <a:ext cx="106363" cy="65088"/>
            </a:xfrm>
            <a:custGeom>
              <a:avLst/>
              <a:gdLst>
                <a:gd name="T0" fmla="*/ 101 w 135"/>
                <a:gd name="T1" fmla="*/ 19 h 83"/>
                <a:gd name="T2" fmla="*/ 82 w 135"/>
                <a:gd name="T3" fmla="*/ 0 h 83"/>
                <a:gd name="T4" fmla="*/ 0 w 135"/>
                <a:gd name="T5" fmla="*/ 83 h 83"/>
                <a:gd name="T6" fmla="*/ 92 w 135"/>
                <a:gd name="T7" fmla="*/ 83 h 83"/>
                <a:gd name="T8" fmla="*/ 92 w 135"/>
                <a:gd name="T9" fmla="*/ 83 h 83"/>
                <a:gd name="T10" fmla="*/ 100 w 135"/>
                <a:gd name="T11" fmla="*/ 81 h 83"/>
                <a:gd name="T12" fmla="*/ 108 w 135"/>
                <a:gd name="T13" fmla="*/ 79 h 83"/>
                <a:gd name="T14" fmla="*/ 116 w 135"/>
                <a:gd name="T15" fmla="*/ 74 h 83"/>
                <a:gd name="T16" fmla="*/ 121 w 135"/>
                <a:gd name="T17" fmla="*/ 70 h 83"/>
                <a:gd name="T18" fmla="*/ 127 w 135"/>
                <a:gd name="T19" fmla="*/ 64 h 83"/>
                <a:gd name="T20" fmla="*/ 131 w 135"/>
                <a:gd name="T21" fmla="*/ 57 h 83"/>
                <a:gd name="T22" fmla="*/ 134 w 135"/>
                <a:gd name="T23" fmla="*/ 49 h 83"/>
                <a:gd name="T24" fmla="*/ 135 w 135"/>
                <a:gd name="T25" fmla="*/ 39 h 83"/>
                <a:gd name="T26" fmla="*/ 135 w 135"/>
                <a:gd name="T27" fmla="*/ 29 h 83"/>
                <a:gd name="T28" fmla="*/ 135 w 135"/>
                <a:gd name="T29" fmla="*/ 29 h 83"/>
                <a:gd name="T30" fmla="*/ 127 w 135"/>
                <a:gd name="T31" fmla="*/ 30 h 83"/>
                <a:gd name="T32" fmla="*/ 127 w 135"/>
                <a:gd name="T33" fmla="*/ 30 h 83"/>
                <a:gd name="T34" fmla="*/ 120 w 135"/>
                <a:gd name="T35" fmla="*/ 29 h 83"/>
                <a:gd name="T36" fmla="*/ 113 w 135"/>
                <a:gd name="T37" fmla="*/ 27 h 83"/>
                <a:gd name="T38" fmla="*/ 107 w 135"/>
                <a:gd name="T39" fmla="*/ 23 h 83"/>
                <a:gd name="T40" fmla="*/ 101 w 135"/>
                <a:gd name="T41" fmla="*/ 19 h 83"/>
                <a:gd name="T42" fmla="*/ 101 w 135"/>
                <a:gd name="T43" fmla="*/ 1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5" h="83">
                  <a:moveTo>
                    <a:pt x="101" y="19"/>
                  </a:moveTo>
                  <a:lnTo>
                    <a:pt x="82" y="0"/>
                  </a:lnTo>
                  <a:lnTo>
                    <a:pt x="0" y="83"/>
                  </a:lnTo>
                  <a:lnTo>
                    <a:pt x="92" y="83"/>
                  </a:lnTo>
                  <a:lnTo>
                    <a:pt x="92" y="83"/>
                  </a:lnTo>
                  <a:lnTo>
                    <a:pt x="100" y="81"/>
                  </a:lnTo>
                  <a:lnTo>
                    <a:pt x="108" y="79"/>
                  </a:lnTo>
                  <a:lnTo>
                    <a:pt x="116" y="74"/>
                  </a:lnTo>
                  <a:lnTo>
                    <a:pt x="121" y="70"/>
                  </a:lnTo>
                  <a:lnTo>
                    <a:pt x="127" y="64"/>
                  </a:lnTo>
                  <a:lnTo>
                    <a:pt x="131" y="57"/>
                  </a:lnTo>
                  <a:lnTo>
                    <a:pt x="134" y="49"/>
                  </a:lnTo>
                  <a:lnTo>
                    <a:pt x="135" y="39"/>
                  </a:lnTo>
                  <a:lnTo>
                    <a:pt x="135" y="29"/>
                  </a:lnTo>
                  <a:lnTo>
                    <a:pt x="135" y="29"/>
                  </a:lnTo>
                  <a:lnTo>
                    <a:pt x="127" y="30"/>
                  </a:lnTo>
                  <a:lnTo>
                    <a:pt x="127" y="30"/>
                  </a:lnTo>
                  <a:lnTo>
                    <a:pt x="120" y="29"/>
                  </a:lnTo>
                  <a:lnTo>
                    <a:pt x="113" y="27"/>
                  </a:lnTo>
                  <a:lnTo>
                    <a:pt x="107" y="23"/>
                  </a:lnTo>
                  <a:lnTo>
                    <a:pt x="101" y="19"/>
                  </a:lnTo>
                  <a:lnTo>
                    <a:pt x="10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2"/>
            <p:cNvSpPr>
              <a:spLocks/>
            </p:cNvSpPr>
            <p:nvPr/>
          </p:nvSpPr>
          <p:spPr bwMode="auto">
            <a:xfrm>
              <a:off x="3717925" y="5064125"/>
              <a:ext cx="384175" cy="233363"/>
            </a:xfrm>
            <a:custGeom>
              <a:avLst/>
              <a:gdLst>
                <a:gd name="T0" fmla="*/ 432 w 483"/>
                <a:gd name="T1" fmla="*/ 99 h 295"/>
                <a:gd name="T2" fmla="*/ 437 w 483"/>
                <a:gd name="T3" fmla="*/ 97 h 295"/>
                <a:gd name="T4" fmla="*/ 440 w 483"/>
                <a:gd name="T5" fmla="*/ 97 h 295"/>
                <a:gd name="T6" fmla="*/ 451 w 483"/>
                <a:gd name="T7" fmla="*/ 107 h 295"/>
                <a:gd name="T8" fmla="*/ 479 w 483"/>
                <a:gd name="T9" fmla="*/ 135 h 295"/>
                <a:gd name="T10" fmla="*/ 482 w 483"/>
                <a:gd name="T11" fmla="*/ 138 h 295"/>
                <a:gd name="T12" fmla="*/ 483 w 483"/>
                <a:gd name="T13" fmla="*/ 134 h 295"/>
                <a:gd name="T14" fmla="*/ 483 w 483"/>
                <a:gd name="T15" fmla="*/ 66 h 295"/>
                <a:gd name="T16" fmla="*/ 483 w 483"/>
                <a:gd name="T17" fmla="*/ 7 h 295"/>
                <a:gd name="T18" fmla="*/ 482 w 483"/>
                <a:gd name="T19" fmla="*/ 1 h 295"/>
                <a:gd name="T20" fmla="*/ 476 w 483"/>
                <a:gd name="T21" fmla="*/ 0 h 295"/>
                <a:gd name="T22" fmla="*/ 350 w 483"/>
                <a:gd name="T23" fmla="*/ 0 h 295"/>
                <a:gd name="T24" fmla="*/ 347 w 483"/>
                <a:gd name="T25" fmla="*/ 1 h 295"/>
                <a:gd name="T26" fmla="*/ 348 w 483"/>
                <a:gd name="T27" fmla="*/ 4 h 295"/>
                <a:gd name="T28" fmla="*/ 387 w 483"/>
                <a:gd name="T29" fmla="*/ 45 h 295"/>
                <a:gd name="T30" fmla="*/ 390 w 483"/>
                <a:gd name="T31" fmla="*/ 49 h 295"/>
                <a:gd name="T32" fmla="*/ 387 w 483"/>
                <a:gd name="T33" fmla="*/ 54 h 295"/>
                <a:gd name="T34" fmla="*/ 335 w 483"/>
                <a:gd name="T35" fmla="*/ 107 h 295"/>
                <a:gd name="T36" fmla="*/ 271 w 483"/>
                <a:gd name="T37" fmla="*/ 170 h 295"/>
                <a:gd name="T38" fmla="*/ 267 w 483"/>
                <a:gd name="T39" fmla="*/ 171 h 295"/>
                <a:gd name="T40" fmla="*/ 265 w 483"/>
                <a:gd name="T41" fmla="*/ 171 h 295"/>
                <a:gd name="T42" fmla="*/ 199 w 483"/>
                <a:gd name="T43" fmla="*/ 107 h 295"/>
                <a:gd name="T44" fmla="*/ 199 w 483"/>
                <a:gd name="T45" fmla="*/ 107 h 295"/>
                <a:gd name="T46" fmla="*/ 193 w 483"/>
                <a:gd name="T47" fmla="*/ 104 h 295"/>
                <a:gd name="T48" fmla="*/ 191 w 483"/>
                <a:gd name="T49" fmla="*/ 105 h 295"/>
                <a:gd name="T50" fmla="*/ 188 w 483"/>
                <a:gd name="T51" fmla="*/ 107 h 295"/>
                <a:gd name="T52" fmla="*/ 2 w 483"/>
                <a:gd name="T53" fmla="*/ 290 h 295"/>
                <a:gd name="T54" fmla="*/ 0 w 483"/>
                <a:gd name="T55" fmla="*/ 291 h 295"/>
                <a:gd name="T56" fmla="*/ 2 w 483"/>
                <a:gd name="T57" fmla="*/ 294 h 295"/>
                <a:gd name="T58" fmla="*/ 80 w 483"/>
                <a:gd name="T59" fmla="*/ 295 h 295"/>
                <a:gd name="T60" fmla="*/ 87 w 483"/>
                <a:gd name="T61" fmla="*/ 294 h 295"/>
                <a:gd name="T62" fmla="*/ 99 w 483"/>
                <a:gd name="T63" fmla="*/ 283 h 295"/>
                <a:gd name="T64" fmla="*/ 108 w 483"/>
                <a:gd name="T65" fmla="*/ 274 h 295"/>
                <a:gd name="T66" fmla="*/ 189 w 483"/>
                <a:gd name="T67" fmla="*/ 196 h 295"/>
                <a:gd name="T68" fmla="*/ 191 w 483"/>
                <a:gd name="T69" fmla="*/ 194 h 295"/>
                <a:gd name="T70" fmla="*/ 193 w 483"/>
                <a:gd name="T71" fmla="*/ 194 h 295"/>
                <a:gd name="T72" fmla="*/ 199 w 483"/>
                <a:gd name="T73" fmla="*/ 196 h 295"/>
                <a:gd name="T74" fmla="*/ 262 w 483"/>
                <a:gd name="T75" fmla="*/ 259 h 295"/>
                <a:gd name="T76" fmla="*/ 265 w 483"/>
                <a:gd name="T77" fmla="*/ 260 h 295"/>
                <a:gd name="T78" fmla="*/ 267 w 483"/>
                <a:gd name="T79" fmla="*/ 262 h 295"/>
                <a:gd name="T80" fmla="*/ 271 w 483"/>
                <a:gd name="T81" fmla="*/ 259 h 295"/>
                <a:gd name="T82" fmla="*/ 424 w 483"/>
                <a:gd name="T83" fmla="*/ 10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3" h="295">
                  <a:moveTo>
                    <a:pt x="432" y="99"/>
                  </a:moveTo>
                  <a:lnTo>
                    <a:pt x="432" y="99"/>
                  </a:lnTo>
                  <a:lnTo>
                    <a:pt x="435" y="97"/>
                  </a:lnTo>
                  <a:lnTo>
                    <a:pt x="437" y="97"/>
                  </a:lnTo>
                  <a:lnTo>
                    <a:pt x="437" y="97"/>
                  </a:lnTo>
                  <a:lnTo>
                    <a:pt x="440" y="97"/>
                  </a:lnTo>
                  <a:lnTo>
                    <a:pt x="443" y="99"/>
                  </a:lnTo>
                  <a:lnTo>
                    <a:pt x="451" y="107"/>
                  </a:lnTo>
                  <a:lnTo>
                    <a:pt x="479" y="135"/>
                  </a:lnTo>
                  <a:lnTo>
                    <a:pt x="479" y="135"/>
                  </a:lnTo>
                  <a:lnTo>
                    <a:pt x="482" y="138"/>
                  </a:lnTo>
                  <a:lnTo>
                    <a:pt x="482" y="138"/>
                  </a:lnTo>
                  <a:lnTo>
                    <a:pt x="483" y="136"/>
                  </a:lnTo>
                  <a:lnTo>
                    <a:pt x="483" y="134"/>
                  </a:lnTo>
                  <a:lnTo>
                    <a:pt x="483" y="128"/>
                  </a:lnTo>
                  <a:lnTo>
                    <a:pt x="483" y="66"/>
                  </a:lnTo>
                  <a:lnTo>
                    <a:pt x="483" y="7"/>
                  </a:lnTo>
                  <a:lnTo>
                    <a:pt x="483" y="7"/>
                  </a:lnTo>
                  <a:lnTo>
                    <a:pt x="483" y="4"/>
                  </a:lnTo>
                  <a:lnTo>
                    <a:pt x="482" y="1"/>
                  </a:lnTo>
                  <a:lnTo>
                    <a:pt x="479" y="0"/>
                  </a:lnTo>
                  <a:lnTo>
                    <a:pt x="476" y="0"/>
                  </a:lnTo>
                  <a:lnTo>
                    <a:pt x="350" y="0"/>
                  </a:lnTo>
                  <a:lnTo>
                    <a:pt x="350" y="0"/>
                  </a:lnTo>
                  <a:lnTo>
                    <a:pt x="347" y="0"/>
                  </a:lnTo>
                  <a:lnTo>
                    <a:pt x="347" y="1"/>
                  </a:lnTo>
                  <a:lnTo>
                    <a:pt x="347" y="3"/>
                  </a:lnTo>
                  <a:lnTo>
                    <a:pt x="348" y="4"/>
                  </a:lnTo>
                  <a:lnTo>
                    <a:pt x="387" y="45"/>
                  </a:lnTo>
                  <a:lnTo>
                    <a:pt x="387" y="45"/>
                  </a:lnTo>
                  <a:lnTo>
                    <a:pt x="389" y="46"/>
                  </a:lnTo>
                  <a:lnTo>
                    <a:pt x="390" y="49"/>
                  </a:lnTo>
                  <a:lnTo>
                    <a:pt x="389" y="51"/>
                  </a:lnTo>
                  <a:lnTo>
                    <a:pt x="387" y="54"/>
                  </a:lnTo>
                  <a:lnTo>
                    <a:pt x="354" y="88"/>
                  </a:lnTo>
                  <a:lnTo>
                    <a:pt x="335" y="107"/>
                  </a:lnTo>
                  <a:lnTo>
                    <a:pt x="271" y="170"/>
                  </a:lnTo>
                  <a:lnTo>
                    <a:pt x="271" y="170"/>
                  </a:lnTo>
                  <a:lnTo>
                    <a:pt x="270" y="171"/>
                  </a:lnTo>
                  <a:lnTo>
                    <a:pt x="267" y="171"/>
                  </a:lnTo>
                  <a:lnTo>
                    <a:pt x="267" y="171"/>
                  </a:lnTo>
                  <a:lnTo>
                    <a:pt x="265" y="171"/>
                  </a:lnTo>
                  <a:lnTo>
                    <a:pt x="262" y="170"/>
                  </a:lnTo>
                  <a:lnTo>
                    <a:pt x="199" y="107"/>
                  </a:lnTo>
                  <a:lnTo>
                    <a:pt x="199" y="107"/>
                  </a:lnTo>
                  <a:lnTo>
                    <a:pt x="199" y="107"/>
                  </a:lnTo>
                  <a:lnTo>
                    <a:pt x="196" y="105"/>
                  </a:lnTo>
                  <a:lnTo>
                    <a:pt x="193" y="104"/>
                  </a:lnTo>
                  <a:lnTo>
                    <a:pt x="193" y="104"/>
                  </a:lnTo>
                  <a:lnTo>
                    <a:pt x="191" y="105"/>
                  </a:lnTo>
                  <a:lnTo>
                    <a:pt x="189" y="107"/>
                  </a:lnTo>
                  <a:lnTo>
                    <a:pt x="188" y="107"/>
                  </a:lnTo>
                  <a:lnTo>
                    <a:pt x="73" y="223"/>
                  </a:lnTo>
                  <a:lnTo>
                    <a:pt x="2" y="290"/>
                  </a:lnTo>
                  <a:lnTo>
                    <a:pt x="2" y="290"/>
                  </a:lnTo>
                  <a:lnTo>
                    <a:pt x="0" y="291"/>
                  </a:lnTo>
                  <a:lnTo>
                    <a:pt x="0" y="294"/>
                  </a:lnTo>
                  <a:lnTo>
                    <a:pt x="2" y="294"/>
                  </a:lnTo>
                  <a:lnTo>
                    <a:pt x="5" y="295"/>
                  </a:lnTo>
                  <a:lnTo>
                    <a:pt x="80" y="295"/>
                  </a:lnTo>
                  <a:lnTo>
                    <a:pt x="80" y="295"/>
                  </a:lnTo>
                  <a:lnTo>
                    <a:pt x="87" y="294"/>
                  </a:lnTo>
                  <a:lnTo>
                    <a:pt x="92" y="290"/>
                  </a:lnTo>
                  <a:lnTo>
                    <a:pt x="99" y="283"/>
                  </a:lnTo>
                  <a:lnTo>
                    <a:pt x="99" y="283"/>
                  </a:lnTo>
                  <a:lnTo>
                    <a:pt x="108" y="274"/>
                  </a:lnTo>
                  <a:lnTo>
                    <a:pt x="162" y="223"/>
                  </a:lnTo>
                  <a:lnTo>
                    <a:pt x="189" y="196"/>
                  </a:lnTo>
                  <a:lnTo>
                    <a:pt x="189" y="196"/>
                  </a:lnTo>
                  <a:lnTo>
                    <a:pt x="191" y="194"/>
                  </a:lnTo>
                  <a:lnTo>
                    <a:pt x="193" y="194"/>
                  </a:lnTo>
                  <a:lnTo>
                    <a:pt x="193" y="194"/>
                  </a:lnTo>
                  <a:lnTo>
                    <a:pt x="196" y="194"/>
                  </a:lnTo>
                  <a:lnTo>
                    <a:pt x="199" y="196"/>
                  </a:lnTo>
                  <a:lnTo>
                    <a:pt x="224" y="223"/>
                  </a:lnTo>
                  <a:lnTo>
                    <a:pt x="262" y="259"/>
                  </a:lnTo>
                  <a:lnTo>
                    <a:pt x="262" y="259"/>
                  </a:lnTo>
                  <a:lnTo>
                    <a:pt x="265" y="260"/>
                  </a:lnTo>
                  <a:lnTo>
                    <a:pt x="267" y="262"/>
                  </a:lnTo>
                  <a:lnTo>
                    <a:pt x="267" y="262"/>
                  </a:lnTo>
                  <a:lnTo>
                    <a:pt x="270" y="260"/>
                  </a:lnTo>
                  <a:lnTo>
                    <a:pt x="271" y="259"/>
                  </a:lnTo>
                  <a:lnTo>
                    <a:pt x="309" y="223"/>
                  </a:lnTo>
                  <a:lnTo>
                    <a:pt x="424" y="107"/>
                  </a:lnTo>
                  <a:lnTo>
                    <a:pt x="432"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a:grpSpLocks noChangeAspect="1"/>
          </p:cNvGrpSpPr>
          <p:nvPr/>
        </p:nvGrpSpPr>
        <p:grpSpPr>
          <a:xfrm>
            <a:off x="741840" y="3916905"/>
            <a:ext cx="834804" cy="650171"/>
            <a:chOff x="12666663" y="4721225"/>
            <a:chExt cx="5699125" cy="4438650"/>
          </a:xfrm>
          <a:solidFill>
            <a:schemeClr val="tx2">
              <a:lumMod val="75000"/>
            </a:schemeClr>
          </a:solidFill>
        </p:grpSpPr>
        <p:grpSp>
          <p:nvGrpSpPr>
            <p:cNvPr id="46" name="Group 45"/>
            <p:cNvGrpSpPr/>
            <p:nvPr/>
          </p:nvGrpSpPr>
          <p:grpSpPr>
            <a:xfrm>
              <a:off x="16051213" y="5292725"/>
              <a:ext cx="1289050" cy="2889250"/>
              <a:chOff x="16051213" y="5292725"/>
              <a:chExt cx="1289050" cy="2889250"/>
            </a:xfrm>
            <a:grpFill/>
          </p:grpSpPr>
          <p:sp>
            <p:nvSpPr>
              <p:cNvPr id="62" name="Freeform 13"/>
              <p:cNvSpPr>
                <a:spLocks/>
              </p:cNvSpPr>
              <p:nvPr/>
            </p:nvSpPr>
            <p:spPr bwMode="auto">
              <a:xfrm>
                <a:off x="16457613" y="5292725"/>
                <a:ext cx="473075" cy="466725"/>
              </a:xfrm>
              <a:custGeom>
                <a:avLst/>
                <a:gdLst>
                  <a:gd name="T0" fmla="*/ 120 w 298"/>
                  <a:gd name="T1" fmla="*/ 4 h 294"/>
                  <a:gd name="T2" fmla="*/ 120 w 298"/>
                  <a:gd name="T3" fmla="*/ 4 h 294"/>
                  <a:gd name="T4" fmla="*/ 138 w 298"/>
                  <a:gd name="T5" fmla="*/ 0 h 294"/>
                  <a:gd name="T6" fmla="*/ 156 w 298"/>
                  <a:gd name="T7" fmla="*/ 0 h 294"/>
                  <a:gd name="T8" fmla="*/ 174 w 298"/>
                  <a:gd name="T9" fmla="*/ 2 h 294"/>
                  <a:gd name="T10" fmla="*/ 190 w 298"/>
                  <a:gd name="T11" fmla="*/ 8 h 294"/>
                  <a:gd name="T12" fmla="*/ 208 w 298"/>
                  <a:gd name="T13" fmla="*/ 14 h 294"/>
                  <a:gd name="T14" fmla="*/ 222 w 298"/>
                  <a:gd name="T15" fmla="*/ 22 h 294"/>
                  <a:gd name="T16" fmla="*/ 238 w 298"/>
                  <a:gd name="T17" fmla="*/ 32 h 294"/>
                  <a:gd name="T18" fmla="*/ 252 w 298"/>
                  <a:gd name="T19" fmla="*/ 44 h 294"/>
                  <a:gd name="T20" fmla="*/ 264 w 298"/>
                  <a:gd name="T21" fmla="*/ 56 h 294"/>
                  <a:gd name="T22" fmla="*/ 274 w 298"/>
                  <a:gd name="T23" fmla="*/ 70 h 294"/>
                  <a:gd name="T24" fmla="*/ 284 w 298"/>
                  <a:gd name="T25" fmla="*/ 86 h 294"/>
                  <a:gd name="T26" fmla="*/ 290 w 298"/>
                  <a:gd name="T27" fmla="*/ 102 h 294"/>
                  <a:gd name="T28" fmla="*/ 296 w 298"/>
                  <a:gd name="T29" fmla="*/ 118 h 294"/>
                  <a:gd name="T30" fmla="*/ 298 w 298"/>
                  <a:gd name="T31" fmla="*/ 136 h 294"/>
                  <a:gd name="T32" fmla="*/ 298 w 298"/>
                  <a:gd name="T33" fmla="*/ 154 h 294"/>
                  <a:gd name="T34" fmla="*/ 296 w 298"/>
                  <a:gd name="T35" fmla="*/ 172 h 294"/>
                  <a:gd name="T36" fmla="*/ 296 w 298"/>
                  <a:gd name="T37" fmla="*/ 172 h 294"/>
                  <a:gd name="T38" fmla="*/ 292 w 298"/>
                  <a:gd name="T39" fmla="*/ 196 h 294"/>
                  <a:gd name="T40" fmla="*/ 284 w 298"/>
                  <a:gd name="T41" fmla="*/ 216 h 294"/>
                  <a:gd name="T42" fmla="*/ 274 w 298"/>
                  <a:gd name="T43" fmla="*/ 234 h 294"/>
                  <a:gd name="T44" fmla="*/ 260 w 298"/>
                  <a:gd name="T45" fmla="*/ 250 h 294"/>
                  <a:gd name="T46" fmla="*/ 244 w 298"/>
                  <a:gd name="T47" fmla="*/ 264 h 294"/>
                  <a:gd name="T48" fmla="*/ 226 w 298"/>
                  <a:gd name="T49" fmla="*/ 276 h 294"/>
                  <a:gd name="T50" fmla="*/ 206 w 298"/>
                  <a:gd name="T51" fmla="*/ 284 h 294"/>
                  <a:gd name="T52" fmla="*/ 186 w 298"/>
                  <a:gd name="T53" fmla="*/ 290 h 294"/>
                  <a:gd name="T54" fmla="*/ 164 w 298"/>
                  <a:gd name="T55" fmla="*/ 294 h 294"/>
                  <a:gd name="T56" fmla="*/ 142 w 298"/>
                  <a:gd name="T57" fmla="*/ 294 h 294"/>
                  <a:gd name="T58" fmla="*/ 120 w 298"/>
                  <a:gd name="T59" fmla="*/ 292 h 294"/>
                  <a:gd name="T60" fmla="*/ 100 w 298"/>
                  <a:gd name="T61" fmla="*/ 288 h 294"/>
                  <a:gd name="T62" fmla="*/ 80 w 298"/>
                  <a:gd name="T63" fmla="*/ 280 h 294"/>
                  <a:gd name="T64" fmla="*/ 60 w 298"/>
                  <a:gd name="T65" fmla="*/ 268 h 294"/>
                  <a:gd name="T66" fmla="*/ 44 w 298"/>
                  <a:gd name="T67" fmla="*/ 254 h 294"/>
                  <a:gd name="T68" fmla="*/ 30 w 298"/>
                  <a:gd name="T69" fmla="*/ 236 h 294"/>
                  <a:gd name="T70" fmla="*/ 30 w 298"/>
                  <a:gd name="T71" fmla="*/ 236 h 294"/>
                  <a:gd name="T72" fmla="*/ 18 w 298"/>
                  <a:gd name="T73" fmla="*/ 222 h 294"/>
                  <a:gd name="T74" fmla="*/ 10 w 298"/>
                  <a:gd name="T75" fmla="*/ 204 h 294"/>
                  <a:gd name="T76" fmla="*/ 4 w 298"/>
                  <a:gd name="T77" fmla="*/ 186 h 294"/>
                  <a:gd name="T78" fmla="*/ 0 w 298"/>
                  <a:gd name="T79" fmla="*/ 168 h 294"/>
                  <a:gd name="T80" fmla="*/ 0 w 298"/>
                  <a:gd name="T81" fmla="*/ 150 h 294"/>
                  <a:gd name="T82" fmla="*/ 2 w 298"/>
                  <a:gd name="T83" fmla="*/ 132 h 294"/>
                  <a:gd name="T84" fmla="*/ 6 w 298"/>
                  <a:gd name="T85" fmla="*/ 114 h 294"/>
                  <a:gd name="T86" fmla="*/ 12 w 298"/>
                  <a:gd name="T87" fmla="*/ 98 h 294"/>
                  <a:gd name="T88" fmla="*/ 20 w 298"/>
                  <a:gd name="T89" fmla="*/ 80 h 294"/>
                  <a:gd name="T90" fmla="*/ 30 w 298"/>
                  <a:gd name="T91" fmla="*/ 66 h 294"/>
                  <a:gd name="T92" fmla="*/ 40 w 298"/>
                  <a:gd name="T93" fmla="*/ 50 h 294"/>
                  <a:gd name="T94" fmla="*/ 54 w 298"/>
                  <a:gd name="T95" fmla="*/ 38 h 294"/>
                  <a:gd name="T96" fmla="*/ 68 w 298"/>
                  <a:gd name="T97" fmla="*/ 26 h 294"/>
                  <a:gd name="T98" fmla="*/ 84 w 298"/>
                  <a:gd name="T99" fmla="*/ 16 h 294"/>
                  <a:gd name="T100" fmla="*/ 102 w 298"/>
                  <a:gd name="T101" fmla="*/ 8 h 294"/>
                  <a:gd name="T102" fmla="*/ 120 w 298"/>
                  <a:gd name="T103" fmla="*/ 4 h 294"/>
                  <a:gd name="T104" fmla="*/ 120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20" y="4"/>
                    </a:moveTo>
                    <a:lnTo>
                      <a:pt x="120" y="4"/>
                    </a:lnTo>
                    <a:lnTo>
                      <a:pt x="138" y="0"/>
                    </a:lnTo>
                    <a:lnTo>
                      <a:pt x="156" y="0"/>
                    </a:lnTo>
                    <a:lnTo>
                      <a:pt x="174" y="2"/>
                    </a:lnTo>
                    <a:lnTo>
                      <a:pt x="190" y="8"/>
                    </a:lnTo>
                    <a:lnTo>
                      <a:pt x="208" y="14"/>
                    </a:lnTo>
                    <a:lnTo>
                      <a:pt x="222" y="22"/>
                    </a:lnTo>
                    <a:lnTo>
                      <a:pt x="238" y="32"/>
                    </a:lnTo>
                    <a:lnTo>
                      <a:pt x="252" y="44"/>
                    </a:lnTo>
                    <a:lnTo>
                      <a:pt x="264" y="56"/>
                    </a:lnTo>
                    <a:lnTo>
                      <a:pt x="274" y="70"/>
                    </a:lnTo>
                    <a:lnTo>
                      <a:pt x="284" y="86"/>
                    </a:lnTo>
                    <a:lnTo>
                      <a:pt x="290" y="102"/>
                    </a:lnTo>
                    <a:lnTo>
                      <a:pt x="296" y="118"/>
                    </a:lnTo>
                    <a:lnTo>
                      <a:pt x="298" y="136"/>
                    </a:lnTo>
                    <a:lnTo>
                      <a:pt x="298" y="154"/>
                    </a:lnTo>
                    <a:lnTo>
                      <a:pt x="296" y="172"/>
                    </a:lnTo>
                    <a:lnTo>
                      <a:pt x="296" y="172"/>
                    </a:lnTo>
                    <a:lnTo>
                      <a:pt x="292" y="196"/>
                    </a:lnTo>
                    <a:lnTo>
                      <a:pt x="284" y="216"/>
                    </a:lnTo>
                    <a:lnTo>
                      <a:pt x="274" y="234"/>
                    </a:lnTo>
                    <a:lnTo>
                      <a:pt x="260" y="250"/>
                    </a:lnTo>
                    <a:lnTo>
                      <a:pt x="244" y="264"/>
                    </a:lnTo>
                    <a:lnTo>
                      <a:pt x="226" y="276"/>
                    </a:lnTo>
                    <a:lnTo>
                      <a:pt x="206" y="284"/>
                    </a:lnTo>
                    <a:lnTo>
                      <a:pt x="186" y="290"/>
                    </a:lnTo>
                    <a:lnTo>
                      <a:pt x="164" y="294"/>
                    </a:lnTo>
                    <a:lnTo>
                      <a:pt x="142" y="294"/>
                    </a:lnTo>
                    <a:lnTo>
                      <a:pt x="120" y="292"/>
                    </a:lnTo>
                    <a:lnTo>
                      <a:pt x="100" y="288"/>
                    </a:lnTo>
                    <a:lnTo>
                      <a:pt x="80" y="280"/>
                    </a:lnTo>
                    <a:lnTo>
                      <a:pt x="60" y="268"/>
                    </a:lnTo>
                    <a:lnTo>
                      <a:pt x="44" y="254"/>
                    </a:lnTo>
                    <a:lnTo>
                      <a:pt x="30" y="236"/>
                    </a:lnTo>
                    <a:lnTo>
                      <a:pt x="30" y="236"/>
                    </a:lnTo>
                    <a:lnTo>
                      <a:pt x="18" y="222"/>
                    </a:lnTo>
                    <a:lnTo>
                      <a:pt x="10" y="204"/>
                    </a:lnTo>
                    <a:lnTo>
                      <a:pt x="4" y="186"/>
                    </a:lnTo>
                    <a:lnTo>
                      <a:pt x="0" y="168"/>
                    </a:lnTo>
                    <a:lnTo>
                      <a:pt x="0" y="150"/>
                    </a:lnTo>
                    <a:lnTo>
                      <a:pt x="2" y="132"/>
                    </a:lnTo>
                    <a:lnTo>
                      <a:pt x="6" y="114"/>
                    </a:lnTo>
                    <a:lnTo>
                      <a:pt x="12" y="98"/>
                    </a:lnTo>
                    <a:lnTo>
                      <a:pt x="20" y="80"/>
                    </a:lnTo>
                    <a:lnTo>
                      <a:pt x="30" y="66"/>
                    </a:lnTo>
                    <a:lnTo>
                      <a:pt x="40" y="50"/>
                    </a:lnTo>
                    <a:lnTo>
                      <a:pt x="54" y="38"/>
                    </a:lnTo>
                    <a:lnTo>
                      <a:pt x="68" y="26"/>
                    </a:lnTo>
                    <a:lnTo>
                      <a:pt x="84" y="16"/>
                    </a:lnTo>
                    <a:lnTo>
                      <a:pt x="102" y="8"/>
                    </a:lnTo>
                    <a:lnTo>
                      <a:pt x="120" y="4"/>
                    </a:lnTo>
                    <a:lnTo>
                      <a:pt x="1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4"/>
              <p:cNvSpPr>
                <a:spLocks/>
              </p:cNvSpPr>
              <p:nvPr/>
            </p:nvSpPr>
            <p:spPr bwMode="auto">
              <a:xfrm>
                <a:off x="16051213" y="5835650"/>
                <a:ext cx="1289050" cy="2346325"/>
              </a:xfrm>
              <a:custGeom>
                <a:avLst/>
                <a:gdLst>
                  <a:gd name="T0" fmla="*/ 186 w 812"/>
                  <a:gd name="T1" fmla="*/ 38 h 1478"/>
                  <a:gd name="T2" fmla="*/ 234 w 812"/>
                  <a:gd name="T3" fmla="*/ 12 h 1478"/>
                  <a:gd name="T4" fmla="*/ 304 w 812"/>
                  <a:gd name="T5" fmla="*/ 0 h 1478"/>
                  <a:gd name="T6" fmla="*/ 412 w 812"/>
                  <a:gd name="T7" fmla="*/ 2 h 1478"/>
                  <a:gd name="T8" fmla="*/ 476 w 812"/>
                  <a:gd name="T9" fmla="*/ 0 h 1478"/>
                  <a:gd name="T10" fmla="*/ 564 w 812"/>
                  <a:gd name="T11" fmla="*/ 10 h 1478"/>
                  <a:gd name="T12" fmla="*/ 616 w 812"/>
                  <a:gd name="T13" fmla="*/ 34 h 1478"/>
                  <a:gd name="T14" fmla="*/ 648 w 812"/>
                  <a:gd name="T15" fmla="*/ 62 h 1478"/>
                  <a:gd name="T16" fmla="*/ 676 w 812"/>
                  <a:gd name="T17" fmla="*/ 110 h 1478"/>
                  <a:gd name="T18" fmla="*/ 716 w 812"/>
                  <a:gd name="T19" fmla="*/ 220 h 1478"/>
                  <a:gd name="T20" fmla="*/ 760 w 812"/>
                  <a:gd name="T21" fmla="*/ 370 h 1478"/>
                  <a:gd name="T22" fmla="*/ 780 w 812"/>
                  <a:gd name="T23" fmla="*/ 434 h 1478"/>
                  <a:gd name="T24" fmla="*/ 806 w 812"/>
                  <a:gd name="T25" fmla="*/ 528 h 1478"/>
                  <a:gd name="T26" fmla="*/ 810 w 812"/>
                  <a:gd name="T27" fmla="*/ 610 h 1478"/>
                  <a:gd name="T28" fmla="*/ 792 w 812"/>
                  <a:gd name="T29" fmla="*/ 630 h 1478"/>
                  <a:gd name="T30" fmla="*/ 746 w 812"/>
                  <a:gd name="T31" fmla="*/ 632 h 1478"/>
                  <a:gd name="T32" fmla="*/ 708 w 812"/>
                  <a:gd name="T33" fmla="*/ 610 h 1478"/>
                  <a:gd name="T34" fmla="*/ 670 w 812"/>
                  <a:gd name="T35" fmla="*/ 506 h 1478"/>
                  <a:gd name="T36" fmla="*/ 586 w 812"/>
                  <a:gd name="T37" fmla="*/ 234 h 1478"/>
                  <a:gd name="T38" fmla="*/ 580 w 812"/>
                  <a:gd name="T39" fmla="*/ 220 h 1478"/>
                  <a:gd name="T40" fmla="*/ 550 w 812"/>
                  <a:gd name="T41" fmla="*/ 188 h 1478"/>
                  <a:gd name="T42" fmla="*/ 644 w 812"/>
                  <a:gd name="T43" fmla="*/ 542 h 1478"/>
                  <a:gd name="T44" fmla="*/ 748 w 812"/>
                  <a:gd name="T45" fmla="*/ 892 h 1478"/>
                  <a:gd name="T46" fmla="*/ 570 w 812"/>
                  <a:gd name="T47" fmla="*/ 1020 h 1478"/>
                  <a:gd name="T48" fmla="*/ 570 w 812"/>
                  <a:gd name="T49" fmla="*/ 1398 h 1478"/>
                  <a:gd name="T50" fmla="*/ 566 w 812"/>
                  <a:gd name="T51" fmla="*/ 1426 h 1478"/>
                  <a:gd name="T52" fmla="*/ 542 w 812"/>
                  <a:gd name="T53" fmla="*/ 1464 h 1478"/>
                  <a:gd name="T54" fmla="*/ 502 w 812"/>
                  <a:gd name="T55" fmla="*/ 1478 h 1478"/>
                  <a:gd name="T56" fmla="*/ 474 w 812"/>
                  <a:gd name="T57" fmla="*/ 1472 h 1478"/>
                  <a:gd name="T58" fmla="*/ 444 w 812"/>
                  <a:gd name="T59" fmla="*/ 1442 h 1478"/>
                  <a:gd name="T60" fmla="*/ 436 w 812"/>
                  <a:gd name="T61" fmla="*/ 1400 h 1478"/>
                  <a:gd name="T62" fmla="*/ 436 w 812"/>
                  <a:gd name="T63" fmla="*/ 1146 h 1478"/>
                  <a:gd name="T64" fmla="*/ 434 w 812"/>
                  <a:gd name="T65" fmla="*/ 892 h 1478"/>
                  <a:gd name="T66" fmla="*/ 392 w 812"/>
                  <a:gd name="T67" fmla="*/ 1024 h 1478"/>
                  <a:gd name="T68" fmla="*/ 390 w 812"/>
                  <a:gd name="T69" fmla="*/ 1418 h 1478"/>
                  <a:gd name="T70" fmla="*/ 382 w 812"/>
                  <a:gd name="T71" fmla="*/ 1444 h 1478"/>
                  <a:gd name="T72" fmla="*/ 358 w 812"/>
                  <a:gd name="T73" fmla="*/ 1468 h 1478"/>
                  <a:gd name="T74" fmla="*/ 324 w 812"/>
                  <a:gd name="T75" fmla="*/ 1476 h 1478"/>
                  <a:gd name="T76" fmla="*/ 290 w 812"/>
                  <a:gd name="T77" fmla="*/ 1468 h 1478"/>
                  <a:gd name="T78" fmla="*/ 266 w 812"/>
                  <a:gd name="T79" fmla="*/ 1444 h 1478"/>
                  <a:gd name="T80" fmla="*/ 258 w 812"/>
                  <a:gd name="T81" fmla="*/ 1418 h 1478"/>
                  <a:gd name="T82" fmla="*/ 256 w 812"/>
                  <a:gd name="T83" fmla="*/ 1024 h 1478"/>
                  <a:gd name="T84" fmla="*/ 80 w 812"/>
                  <a:gd name="T85" fmla="*/ 892 h 1478"/>
                  <a:gd name="T86" fmla="*/ 168 w 812"/>
                  <a:gd name="T87" fmla="*/ 546 h 1478"/>
                  <a:gd name="T88" fmla="*/ 254 w 812"/>
                  <a:gd name="T89" fmla="*/ 200 h 1478"/>
                  <a:gd name="T90" fmla="*/ 212 w 812"/>
                  <a:gd name="T91" fmla="*/ 264 h 1478"/>
                  <a:gd name="T92" fmla="*/ 146 w 812"/>
                  <a:gd name="T93" fmla="*/ 502 h 1478"/>
                  <a:gd name="T94" fmla="*/ 116 w 812"/>
                  <a:gd name="T95" fmla="*/ 596 h 1478"/>
                  <a:gd name="T96" fmla="*/ 100 w 812"/>
                  <a:gd name="T97" fmla="*/ 622 h 1478"/>
                  <a:gd name="T98" fmla="*/ 74 w 812"/>
                  <a:gd name="T99" fmla="*/ 634 h 1478"/>
                  <a:gd name="T100" fmla="*/ 44 w 812"/>
                  <a:gd name="T101" fmla="*/ 634 h 1478"/>
                  <a:gd name="T102" fmla="*/ 16 w 812"/>
                  <a:gd name="T103" fmla="*/ 622 h 1478"/>
                  <a:gd name="T104" fmla="*/ 2 w 812"/>
                  <a:gd name="T105" fmla="*/ 598 h 1478"/>
                  <a:gd name="T106" fmla="*/ 4 w 812"/>
                  <a:gd name="T107" fmla="*/ 552 h 1478"/>
                  <a:gd name="T108" fmla="*/ 30 w 812"/>
                  <a:gd name="T109" fmla="*/ 446 h 1478"/>
                  <a:gd name="T110" fmla="*/ 72 w 812"/>
                  <a:gd name="T111" fmla="*/ 308 h 1478"/>
                  <a:gd name="T112" fmla="*/ 110 w 812"/>
                  <a:gd name="T113" fmla="*/ 174 h 1478"/>
                  <a:gd name="T114" fmla="*/ 152 w 812"/>
                  <a:gd name="T115" fmla="*/ 78 h 1478"/>
                  <a:gd name="T116" fmla="*/ 172 w 812"/>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78">
                    <a:moveTo>
                      <a:pt x="172" y="50"/>
                    </a:moveTo>
                    <a:lnTo>
                      <a:pt x="172" y="50"/>
                    </a:lnTo>
                    <a:lnTo>
                      <a:pt x="186" y="38"/>
                    </a:lnTo>
                    <a:lnTo>
                      <a:pt x="202" y="28"/>
                    </a:lnTo>
                    <a:lnTo>
                      <a:pt x="218" y="20"/>
                    </a:lnTo>
                    <a:lnTo>
                      <a:pt x="234" y="12"/>
                    </a:lnTo>
                    <a:lnTo>
                      <a:pt x="250" y="8"/>
                    </a:lnTo>
                    <a:lnTo>
                      <a:pt x="268" y="4"/>
                    </a:lnTo>
                    <a:lnTo>
                      <a:pt x="304" y="0"/>
                    </a:lnTo>
                    <a:lnTo>
                      <a:pt x="340" y="0"/>
                    </a:lnTo>
                    <a:lnTo>
                      <a:pt x="376" y="0"/>
                    </a:lnTo>
                    <a:lnTo>
                      <a:pt x="412" y="2"/>
                    </a:lnTo>
                    <a:lnTo>
                      <a:pt x="446" y="0"/>
                    </a:lnTo>
                    <a:lnTo>
                      <a:pt x="446" y="0"/>
                    </a:lnTo>
                    <a:lnTo>
                      <a:pt x="476" y="0"/>
                    </a:lnTo>
                    <a:lnTo>
                      <a:pt x="506" y="0"/>
                    </a:lnTo>
                    <a:lnTo>
                      <a:pt x="536" y="4"/>
                    </a:lnTo>
                    <a:lnTo>
                      <a:pt x="564" y="10"/>
                    </a:lnTo>
                    <a:lnTo>
                      <a:pt x="592" y="20"/>
                    </a:lnTo>
                    <a:lnTo>
                      <a:pt x="604" y="26"/>
                    </a:lnTo>
                    <a:lnTo>
                      <a:pt x="616" y="34"/>
                    </a:lnTo>
                    <a:lnTo>
                      <a:pt x="628" y="42"/>
                    </a:lnTo>
                    <a:lnTo>
                      <a:pt x="640" y="52"/>
                    </a:lnTo>
                    <a:lnTo>
                      <a:pt x="648" y="62"/>
                    </a:lnTo>
                    <a:lnTo>
                      <a:pt x="658" y="76"/>
                    </a:lnTo>
                    <a:lnTo>
                      <a:pt x="658" y="76"/>
                    </a:lnTo>
                    <a:lnTo>
                      <a:pt x="676" y="110"/>
                    </a:lnTo>
                    <a:lnTo>
                      <a:pt x="692" y="146"/>
                    </a:lnTo>
                    <a:lnTo>
                      <a:pt x="704" y="182"/>
                    </a:lnTo>
                    <a:lnTo>
                      <a:pt x="716" y="220"/>
                    </a:lnTo>
                    <a:lnTo>
                      <a:pt x="738" y="296"/>
                    </a:lnTo>
                    <a:lnTo>
                      <a:pt x="748" y="334"/>
                    </a:lnTo>
                    <a:lnTo>
                      <a:pt x="760" y="370"/>
                    </a:lnTo>
                    <a:lnTo>
                      <a:pt x="760" y="370"/>
                    </a:lnTo>
                    <a:lnTo>
                      <a:pt x="770" y="402"/>
                    </a:lnTo>
                    <a:lnTo>
                      <a:pt x="780" y="434"/>
                    </a:lnTo>
                    <a:lnTo>
                      <a:pt x="790" y="464"/>
                    </a:lnTo>
                    <a:lnTo>
                      <a:pt x="798" y="496"/>
                    </a:lnTo>
                    <a:lnTo>
                      <a:pt x="806" y="528"/>
                    </a:lnTo>
                    <a:lnTo>
                      <a:pt x="810" y="560"/>
                    </a:lnTo>
                    <a:lnTo>
                      <a:pt x="812" y="594"/>
                    </a:lnTo>
                    <a:lnTo>
                      <a:pt x="810" y="610"/>
                    </a:lnTo>
                    <a:lnTo>
                      <a:pt x="806" y="626"/>
                    </a:lnTo>
                    <a:lnTo>
                      <a:pt x="806" y="626"/>
                    </a:lnTo>
                    <a:lnTo>
                      <a:pt x="792" y="630"/>
                    </a:lnTo>
                    <a:lnTo>
                      <a:pt x="776" y="634"/>
                    </a:lnTo>
                    <a:lnTo>
                      <a:pt x="760" y="634"/>
                    </a:lnTo>
                    <a:lnTo>
                      <a:pt x="746" y="632"/>
                    </a:lnTo>
                    <a:lnTo>
                      <a:pt x="732" y="628"/>
                    </a:lnTo>
                    <a:lnTo>
                      <a:pt x="720" y="620"/>
                    </a:lnTo>
                    <a:lnTo>
                      <a:pt x="708" y="610"/>
                    </a:lnTo>
                    <a:lnTo>
                      <a:pt x="700" y="596"/>
                    </a:lnTo>
                    <a:lnTo>
                      <a:pt x="700" y="596"/>
                    </a:lnTo>
                    <a:lnTo>
                      <a:pt x="670" y="506"/>
                    </a:lnTo>
                    <a:lnTo>
                      <a:pt x="642" y="416"/>
                    </a:lnTo>
                    <a:lnTo>
                      <a:pt x="614" y="324"/>
                    </a:lnTo>
                    <a:lnTo>
                      <a:pt x="586" y="234"/>
                    </a:lnTo>
                    <a:lnTo>
                      <a:pt x="586" y="234"/>
                    </a:lnTo>
                    <a:lnTo>
                      <a:pt x="584" y="228"/>
                    </a:lnTo>
                    <a:lnTo>
                      <a:pt x="580" y="220"/>
                    </a:lnTo>
                    <a:lnTo>
                      <a:pt x="570" y="208"/>
                    </a:lnTo>
                    <a:lnTo>
                      <a:pt x="550" y="188"/>
                    </a:lnTo>
                    <a:lnTo>
                      <a:pt x="550" y="188"/>
                    </a:lnTo>
                    <a:lnTo>
                      <a:pt x="570" y="278"/>
                    </a:lnTo>
                    <a:lnTo>
                      <a:pt x="594" y="366"/>
                    </a:lnTo>
                    <a:lnTo>
                      <a:pt x="644" y="542"/>
                    </a:lnTo>
                    <a:lnTo>
                      <a:pt x="696" y="716"/>
                    </a:lnTo>
                    <a:lnTo>
                      <a:pt x="748" y="892"/>
                    </a:lnTo>
                    <a:lnTo>
                      <a:pt x="748" y="892"/>
                    </a:lnTo>
                    <a:lnTo>
                      <a:pt x="572" y="892"/>
                    </a:lnTo>
                    <a:lnTo>
                      <a:pt x="572" y="892"/>
                    </a:lnTo>
                    <a:lnTo>
                      <a:pt x="570" y="1020"/>
                    </a:lnTo>
                    <a:lnTo>
                      <a:pt x="570" y="1146"/>
                    </a:lnTo>
                    <a:lnTo>
                      <a:pt x="572" y="1272"/>
                    </a:lnTo>
                    <a:lnTo>
                      <a:pt x="570" y="1398"/>
                    </a:lnTo>
                    <a:lnTo>
                      <a:pt x="570" y="1398"/>
                    </a:lnTo>
                    <a:lnTo>
                      <a:pt x="568" y="1412"/>
                    </a:lnTo>
                    <a:lnTo>
                      <a:pt x="566" y="1426"/>
                    </a:lnTo>
                    <a:lnTo>
                      <a:pt x="560" y="1440"/>
                    </a:lnTo>
                    <a:lnTo>
                      <a:pt x="552" y="1452"/>
                    </a:lnTo>
                    <a:lnTo>
                      <a:pt x="542" y="1464"/>
                    </a:lnTo>
                    <a:lnTo>
                      <a:pt x="532" y="1472"/>
                    </a:lnTo>
                    <a:lnTo>
                      <a:pt x="518" y="1476"/>
                    </a:lnTo>
                    <a:lnTo>
                      <a:pt x="502" y="1478"/>
                    </a:lnTo>
                    <a:lnTo>
                      <a:pt x="502" y="1478"/>
                    </a:lnTo>
                    <a:lnTo>
                      <a:pt x="488" y="1478"/>
                    </a:lnTo>
                    <a:lnTo>
                      <a:pt x="474" y="1472"/>
                    </a:lnTo>
                    <a:lnTo>
                      <a:pt x="462" y="1464"/>
                    </a:lnTo>
                    <a:lnTo>
                      <a:pt x="452" y="1454"/>
                    </a:lnTo>
                    <a:lnTo>
                      <a:pt x="444" y="1442"/>
                    </a:lnTo>
                    <a:lnTo>
                      <a:pt x="438" y="1430"/>
                    </a:lnTo>
                    <a:lnTo>
                      <a:pt x="436" y="1414"/>
                    </a:lnTo>
                    <a:lnTo>
                      <a:pt x="436" y="1400"/>
                    </a:lnTo>
                    <a:lnTo>
                      <a:pt x="436" y="1400"/>
                    </a:lnTo>
                    <a:lnTo>
                      <a:pt x="434" y="1274"/>
                    </a:lnTo>
                    <a:lnTo>
                      <a:pt x="436" y="1146"/>
                    </a:lnTo>
                    <a:lnTo>
                      <a:pt x="436" y="1020"/>
                    </a:lnTo>
                    <a:lnTo>
                      <a:pt x="434" y="892"/>
                    </a:lnTo>
                    <a:lnTo>
                      <a:pt x="434" y="892"/>
                    </a:lnTo>
                    <a:lnTo>
                      <a:pt x="392" y="894"/>
                    </a:lnTo>
                    <a:lnTo>
                      <a:pt x="392" y="894"/>
                    </a:lnTo>
                    <a:lnTo>
                      <a:pt x="392" y="1024"/>
                    </a:lnTo>
                    <a:lnTo>
                      <a:pt x="392" y="1156"/>
                    </a:lnTo>
                    <a:lnTo>
                      <a:pt x="392" y="1288"/>
                    </a:lnTo>
                    <a:lnTo>
                      <a:pt x="390" y="1418"/>
                    </a:lnTo>
                    <a:lnTo>
                      <a:pt x="390" y="1418"/>
                    </a:lnTo>
                    <a:lnTo>
                      <a:pt x="388" y="1432"/>
                    </a:lnTo>
                    <a:lnTo>
                      <a:pt x="382" y="1444"/>
                    </a:lnTo>
                    <a:lnTo>
                      <a:pt x="376" y="1454"/>
                    </a:lnTo>
                    <a:lnTo>
                      <a:pt x="368" y="1462"/>
                    </a:lnTo>
                    <a:lnTo>
                      <a:pt x="358" y="1468"/>
                    </a:lnTo>
                    <a:lnTo>
                      <a:pt x="348" y="1474"/>
                    </a:lnTo>
                    <a:lnTo>
                      <a:pt x="336" y="1476"/>
                    </a:lnTo>
                    <a:lnTo>
                      <a:pt x="324" y="1476"/>
                    </a:lnTo>
                    <a:lnTo>
                      <a:pt x="312" y="1476"/>
                    </a:lnTo>
                    <a:lnTo>
                      <a:pt x="302" y="1472"/>
                    </a:lnTo>
                    <a:lnTo>
                      <a:pt x="290" y="1468"/>
                    </a:lnTo>
                    <a:lnTo>
                      <a:pt x="282" y="1462"/>
                    </a:lnTo>
                    <a:lnTo>
                      <a:pt x="272" y="1454"/>
                    </a:lnTo>
                    <a:lnTo>
                      <a:pt x="266" y="1444"/>
                    </a:lnTo>
                    <a:lnTo>
                      <a:pt x="260" y="1432"/>
                    </a:lnTo>
                    <a:lnTo>
                      <a:pt x="258" y="1418"/>
                    </a:lnTo>
                    <a:lnTo>
                      <a:pt x="258" y="1418"/>
                    </a:lnTo>
                    <a:lnTo>
                      <a:pt x="256" y="1286"/>
                    </a:lnTo>
                    <a:lnTo>
                      <a:pt x="256" y="1156"/>
                    </a:lnTo>
                    <a:lnTo>
                      <a:pt x="256" y="1024"/>
                    </a:lnTo>
                    <a:lnTo>
                      <a:pt x="256" y="894"/>
                    </a:lnTo>
                    <a:lnTo>
                      <a:pt x="256" y="894"/>
                    </a:lnTo>
                    <a:lnTo>
                      <a:pt x="80" y="892"/>
                    </a:lnTo>
                    <a:lnTo>
                      <a:pt x="80" y="892"/>
                    </a:lnTo>
                    <a:lnTo>
                      <a:pt x="124" y="720"/>
                    </a:lnTo>
                    <a:lnTo>
                      <a:pt x="168" y="546"/>
                    </a:lnTo>
                    <a:lnTo>
                      <a:pt x="212" y="374"/>
                    </a:lnTo>
                    <a:lnTo>
                      <a:pt x="254" y="200"/>
                    </a:lnTo>
                    <a:lnTo>
                      <a:pt x="254" y="200"/>
                    </a:lnTo>
                    <a:lnTo>
                      <a:pt x="228" y="218"/>
                    </a:lnTo>
                    <a:lnTo>
                      <a:pt x="228" y="218"/>
                    </a:lnTo>
                    <a:lnTo>
                      <a:pt x="212" y="264"/>
                    </a:lnTo>
                    <a:lnTo>
                      <a:pt x="198" y="312"/>
                    </a:lnTo>
                    <a:lnTo>
                      <a:pt x="172" y="406"/>
                    </a:lnTo>
                    <a:lnTo>
                      <a:pt x="146" y="502"/>
                    </a:lnTo>
                    <a:lnTo>
                      <a:pt x="132" y="550"/>
                    </a:lnTo>
                    <a:lnTo>
                      <a:pt x="116" y="596"/>
                    </a:lnTo>
                    <a:lnTo>
                      <a:pt x="116" y="596"/>
                    </a:lnTo>
                    <a:lnTo>
                      <a:pt x="112" y="606"/>
                    </a:lnTo>
                    <a:lnTo>
                      <a:pt x="106" y="614"/>
                    </a:lnTo>
                    <a:lnTo>
                      <a:pt x="100" y="622"/>
                    </a:lnTo>
                    <a:lnTo>
                      <a:pt x="92" y="626"/>
                    </a:lnTo>
                    <a:lnTo>
                      <a:pt x="84" y="632"/>
                    </a:lnTo>
                    <a:lnTo>
                      <a:pt x="74" y="634"/>
                    </a:lnTo>
                    <a:lnTo>
                      <a:pt x="64" y="636"/>
                    </a:lnTo>
                    <a:lnTo>
                      <a:pt x="54" y="636"/>
                    </a:lnTo>
                    <a:lnTo>
                      <a:pt x="44" y="634"/>
                    </a:lnTo>
                    <a:lnTo>
                      <a:pt x="34" y="632"/>
                    </a:lnTo>
                    <a:lnTo>
                      <a:pt x="24" y="628"/>
                    </a:lnTo>
                    <a:lnTo>
                      <a:pt x="16" y="622"/>
                    </a:lnTo>
                    <a:lnTo>
                      <a:pt x="10" y="616"/>
                    </a:lnTo>
                    <a:lnTo>
                      <a:pt x="4" y="608"/>
                    </a:lnTo>
                    <a:lnTo>
                      <a:pt x="2" y="598"/>
                    </a:lnTo>
                    <a:lnTo>
                      <a:pt x="0" y="588"/>
                    </a:lnTo>
                    <a:lnTo>
                      <a:pt x="0" y="588"/>
                    </a:lnTo>
                    <a:lnTo>
                      <a:pt x="4" y="552"/>
                    </a:lnTo>
                    <a:lnTo>
                      <a:pt x="12" y="516"/>
                    </a:lnTo>
                    <a:lnTo>
                      <a:pt x="20" y="482"/>
                    </a:lnTo>
                    <a:lnTo>
                      <a:pt x="30" y="446"/>
                    </a:lnTo>
                    <a:lnTo>
                      <a:pt x="52" y="378"/>
                    </a:lnTo>
                    <a:lnTo>
                      <a:pt x="72" y="308"/>
                    </a:lnTo>
                    <a:lnTo>
                      <a:pt x="72" y="308"/>
                    </a:lnTo>
                    <a:lnTo>
                      <a:pt x="82" y="276"/>
                    </a:lnTo>
                    <a:lnTo>
                      <a:pt x="92" y="242"/>
                    </a:lnTo>
                    <a:lnTo>
                      <a:pt x="110" y="174"/>
                    </a:lnTo>
                    <a:lnTo>
                      <a:pt x="120" y="140"/>
                    </a:lnTo>
                    <a:lnTo>
                      <a:pt x="134" y="108"/>
                    </a:lnTo>
                    <a:lnTo>
                      <a:pt x="152" y="78"/>
                    </a:lnTo>
                    <a:lnTo>
                      <a:pt x="162" y="64"/>
                    </a:lnTo>
                    <a:lnTo>
                      <a:pt x="172" y="50"/>
                    </a:lnTo>
                    <a:lnTo>
                      <a:pt x="172"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46"/>
            <p:cNvGrpSpPr/>
            <p:nvPr/>
          </p:nvGrpSpPr>
          <p:grpSpPr>
            <a:xfrm>
              <a:off x="12666663" y="4721225"/>
              <a:ext cx="1117600" cy="2860675"/>
              <a:chOff x="12666663" y="4721225"/>
              <a:chExt cx="1117600" cy="2860675"/>
            </a:xfrm>
            <a:grpFill/>
          </p:grpSpPr>
          <p:sp>
            <p:nvSpPr>
              <p:cNvPr id="60" name="Freeform 15"/>
              <p:cNvSpPr>
                <a:spLocks/>
              </p:cNvSpPr>
              <p:nvPr/>
            </p:nvSpPr>
            <p:spPr bwMode="auto">
              <a:xfrm>
                <a:off x="13003213" y="4721225"/>
                <a:ext cx="463550" cy="460375"/>
              </a:xfrm>
              <a:custGeom>
                <a:avLst/>
                <a:gdLst>
                  <a:gd name="T0" fmla="*/ 108 w 292"/>
                  <a:gd name="T1" fmla="*/ 6 h 290"/>
                  <a:gd name="T2" fmla="*/ 108 w 292"/>
                  <a:gd name="T3" fmla="*/ 6 h 290"/>
                  <a:gd name="T4" fmla="*/ 128 w 292"/>
                  <a:gd name="T5" fmla="*/ 2 h 290"/>
                  <a:gd name="T6" fmla="*/ 146 w 292"/>
                  <a:gd name="T7" fmla="*/ 0 h 290"/>
                  <a:gd name="T8" fmla="*/ 166 w 292"/>
                  <a:gd name="T9" fmla="*/ 2 h 290"/>
                  <a:gd name="T10" fmla="*/ 186 w 292"/>
                  <a:gd name="T11" fmla="*/ 8 h 290"/>
                  <a:gd name="T12" fmla="*/ 204 w 292"/>
                  <a:gd name="T13" fmla="*/ 14 h 290"/>
                  <a:gd name="T14" fmla="*/ 220 w 292"/>
                  <a:gd name="T15" fmla="*/ 24 h 290"/>
                  <a:gd name="T16" fmla="*/ 236 w 292"/>
                  <a:gd name="T17" fmla="*/ 36 h 290"/>
                  <a:gd name="T18" fmla="*/ 252 w 292"/>
                  <a:gd name="T19" fmla="*/ 50 h 290"/>
                  <a:gd name="T20" fmla="*/ 264 w 292"/>
                  <a:gd name="T21" fmla="*/ 66 h 290"/>
                  <a:gd name="T22" fmla="*/ 274 w 292"/>
                  <a:gd name="T23" fmla="*/ 82 h 290"/>
                  <a:gd name="T24" fmla="*/ 282 w 292"/>
                  <a:gd name="T25" fmla="*/ 100 h 290"/>
                  <a:gd name="T26" fmla="*/ 288 w 292"/>
                  <a:gd name="T27" fmla="*/ 118 h 290"/>
                  <a:gd name="T28" fmla="*/ 292 w 292"/>
                  <a:gd name="T29" fmla="*/ 138 h 290"/>
                  <a:gd name="T30" fmla="*/ 292 w 292"/>
                  <a:gd name="T31" fmla="*/ 156 h 290"/>
                  <a:gd name="T32" fmla="*/ 288 w 292"/>
                  <a:gd name="T33" fmla="*/ 176 h 290"/>
                  <a:gd name="T34" fmla="*/ 280 w 292"/>
                  <a:gd name="T35" fmla="*/ 196 h 290"/>
                  <a:gd name="T36" fmla="*/ 280 w 292"/>
                  <a:gd name="T37" fmla="*/ 196 h 290"/>
                  <a:gd name="T38" fmla="*/ 274 w 292"/>
                  <a:gd name="T39" fmla="*/ 214 h 290"/>
                  <a:gd name="T40" fmla="*/ 264 w 292"/>
                  <a:gd name="T41" fmla="*/ 230 h 290"/>
                  <a:gd name="T42" fmla="*/ 252 w 292"/>
                  <a:gd name="T43" fmla="*/ 246 h 290"/>
                  <a:gd name="T44" fmla="*/ 238 w 292"/>
                  <a:gd name="T45" fmla="*/ 258 h 290"/>
                  <a:gd name="T46" fmla="*/ 222 w 292"/>
                  <a:gd name="T47" fmla="*/ 268 h 290"/>
                  <a:gd name="T48" fmla="*/ 206 w 292"/>
                  <a:gd name="T49" fmla="*/ 278 h 290"/>
                  <a:gd name="T50" fmla="*/ 188 w 292"/>
                  <a:gd name="T51" fmla="*/ 284 h 290"/>
                  <a:gd name="T52" fmla="*/ 170 w 292"/>
                  <a:gd name="T53" fmla="*/ 288 h 290"/>
                  <a:gd name="T54" fmla="*/ 152 w 292"/>
                  <a:gd name="T55" fmla="*/ 290 h 290"/>
                  <a:gd name="T56" fmla="*/ 132 w 292"/>
                  <a:gd name="T57" fmla="*/ 290 h 290"/>
                  <a:gd name="T58" fmla="*/ 114 w 292"/>
                  <a:gd name="T59" fmla="*/ 288 h 290"/>
                  <a:gd name="T60" fmla="*/ 96 w 292"/>
                  <a:gd name="T61" fmla="*/ 284 h 290"/>
                  <a:gd name="T62" fmla="*/ 78 w 292"/>
                  <a:gd name="T63" fmla="*/ 276 h 290"/>
                  <a:gd name="T64" fmla="*/ 62 w 292"/>
                  <a:gd name="T65" fmla="*/ 268 h 290"/>
                  <a:gd name="T66" fmla="*/ 46 w 292"/>
                  <a:gd name="T67" fmla="*/ 256 h 290"/>
                  <a:gd name="T68" fmla="*/ 34 w 292"/>
                  <a:gd name="T69" fmla="*/ 240 h 290"/>
                  <a:gd name="T70" fmla="*/ 34 w 292"/>
                  <a:gd name="T71" fmla="*/ 240 h 290"/>
                  <a:gd name="T72" fmla="*/ 22 w 292"/>
                  <a:gd name="T73" fmla="*/ 226 h 290"/>
                  <a:gd name="T74" fmla="*/ 12 w 292"/>
                  <a:gd name="T75" fmla="*/ 210 h 290"/>
                  <a:gd name="T76" fmla="*/ 6 w 292"/>
                  <a:gd name="T77" fmla="*/ 192 h 290"/>
                  <a:gd name="T78" fmla="*/ 2 w 292"/>
                  <a:gd name="T79" fmla="*/ 176 h 290"/>
                  <a:gd name="T80" fmla="*/ 0 w 292"/>
                  <a:gd name="T81" fmla="*/ 158 h 290"/>
                  <a:gd name="T82" fmla="*/ 0 w 292"/>
                  <a:gd name="T83" fmla="*/ 138 h 290"/>
                  <a:gd name="T84" fmla="*/ 2 w 292"/>
                  <a:gd name="T85" fmla="*/ 120 h 290"/>
                  <a:gd name="T86" fmla="*/ 6 w 292"/>
                  <a:gd name="T87" fmla="*/ 102 h 290"/>
                  <a:gd name="T88" fmla="*/ 12 w 292"/>
                  <a:gd name="T89" fmla="*/ 86 h 290"/>
                  <a:gd name="T90" fmla="*/ 20 w 292"/>
                  <a:gd name="T91" fmla="*/ 70 h 290"/>
                  <a:gd name="T92" fmla="*/ 32 w 292"/>
                  <a:gd name="T93" fmla="*/ 54 h 290"/>
                  <a:gd name="T94" fmla="*/ 44 w 292"/>
                  <a:gd name="T95" fmla="*/ 40 h 290"/>
                  <a:gd name="T96" fmla="*/ 56 w 292"/>
                  <a:gd name="T97" fmla="*/ 28 h 290"/>
                  <a:gd name="T98" fmla="*/ 72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6" y="0"/>
                    </a:lnTo>
                    <a:lnTo>
                      <a:pt x="166" y="2"/>
                    </a:lnTo>
                    <a:lnTo>
                      <a:pt x="186" y="8"/>
                    </a:lnTo>
                    <a:lnTo>
                      <a:pt x="204" y="14"/>
                    </a:lnTo>
                    <a:lnTo>
                      <a:pt x="220" y="24"/>
                    </a:lnTo>
                    <a:lnTo>
                      <a:pt x="236" y="36"/>
                    </a:lnTo>
                    <a:lnTo>
                      <a:pt x="252" y="50"/>
                    </a:lnTo>
                    <a:lnTo>
                      <a:pt x="264" y="66"/>
                    </a:lnTo>
                    <a:lnTo>
                      <a:pt x="274" y="82"/>
                    </a:lnTo>
                    <a:lnTo>
                      <a:pt x="282" y="100"/>
                    </a:lnTo>
                    <a:lnTo>
                      <a:pt x="288" y="118"/>
                    </a:lnTo>
                    <a:lnTo>
                      <a:pt x="292" y="138"/>
                    </a:lnTo>
                    <a:lnTo>
                      <a:pt x="292" y="156"/>
                    </a:lnTo>
                    <a:lnTo>
                      <a:pt x="288" y="176"/>
                    </a:lnTo>
                    <a:lnTo>
                      <a:pt x="280" y="196"/>
                    </a:lnTo>
                    <a:lnTo>
                      <a:pt x="280" y="196"/>
                    </a:lnTo>
                    <a:lnTo>
                      <a:pt x="274" y="214"/>
                    </a:lnTo>
                    <a:lnTo>
                      <a:pt x="264" y="230"/>
                    </a:lnTo>
                    <a:lnTo>
                      <a:pt x="252" y="246"/>
                    </a:lnTo>
                    <a:lnTo>
                      <a:pt x="238" y="258"/>
                    </a:lnTo>
                    <a:lnTo>
                      <a:pt x="222" y="268"/>
                    </a:lnTo>
                    <a:lnTo>
                      <a:pt x="206" y="278"/>
                    </a:lnTo>
                    <a:lnTo>
                      <a:pt x="188" y="284"/>
                    </a:lnTo>
                    <a:lnTo>
                      <a:pt x="170" y="288"/>
                    </a:lnTo>
                    <a:lnTo>
                      <a:pt x="152" y="290"/>
                    </a:lnTo>
                    <a:lnTo>
                      <a:pt x="132" y="290"/>
                    </a:lnTo>
                    <a:lnTo>
                      <a:pt x="114" y="288"/>
                    </a:lnTo>
                    <a:lnTo>
                      <a:pt x="96" y="284"/>
                    </a:lnTo>
                    <a:lnTo>
                      <a:pt x="78" y="276"/>
                    </a:lnTo>
                    <a:lnTo>
                      <a:pt x="62" y="268"/>
                    </a:lnTo>
                    <a:lnTo>
                      <a:pt x="46" y="256"/>
                    </a:lnTo>
                    <a:lnTo>
                      <a:pt x="34" y="240"/>
                    </a:lnTo>
                    <a:lnTo>
                      <a:pt x="34" y="240"/>
                    </a:lnTo>
                    <a:lnTo>
                      <a:pt x="22" y="226"/>
                    </a:lnTo>
                    <a:lnTo>
                      <a:pt x="12" y="210"/>
                    </a:lnTo>
                    <a:lnTo>
                      <a:pt x="6" y="192"/>
                    </a:lnTo>
                    <a:lnTo>
                      <a:pt x="2" y="176"/>
                    </a:lnTo>
                    <a:lnTo>
                      <a:pt x="0" y="158"/>
                    </a:lnTo>
                    <a:lnTo>
                      <a:pt x="0" y="138"/>
                    </a:lnTo>
                    <a:lnTo>
                      <a:pt x="2" y="120"/>
                    </a:lnTo>
                    <a:lnTo>
                      <a:pt x="6" y="102"/>
                    </a:lnTo>
                    <a:lnTo>
                      <a:pt x="12" y="86"/>
                    </a:lnTo>
                    <a:lnTo>
                      <a:pt x="20" y="70"/>
                    </a:lnTo>
                    <a:lnTo>
                      <a:pt x="32" y="54"/>
                    </a:lnTo>
                    <a:lnTo>
                      <a:pt x="44" y="40"/>
                    </a:lnTo>
                    <a:lnTo>
                      <a:pt x="56" y="28"/>
                    </a:lnTo>
                    <a:lnTo>
                      <a:pt x="72"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6"/>
              <p:cNvSpPr>
                <a:spLocks/>
              </p:cNvSpPr>
              <p:nvPr/>
            </p:nvSpPr>
            <p:spPr bwMode="auto">
              <a:xfrm>
                <a:off x="12666663" y="5229225"/>
                <a:ext cx="1117600" cy="2352675"/>
              </a:xfrm>
              <a:custGeom>
                <a:avLst/>
                <a:gdLst>
                  <a:gd name="T0" fmla="*/ 106 w 704"/>
                  <a:gd name="T1" fmla="*/ 18 h 1482"/>
                  <a:gd name="T2" fmla="*/ 200 w 704"/>
                  <a:gd name="T3" fmla="*/ 2 h 1482"/>
                  <a:gd name="T4" fmla="*/ 352 w 704"/>
                  <a:gd name="T5" fmla="*/ 2 h 1482"/>
                  <a:gd name="T6" fmla="*/ 456 w 704"/>
                  <a:gd name="T7" fmla="*/ 0 h 1482"/>
                  <a:gd name="T8" fmla="*/ 556 w 704"/>
                  <a:gd name="T9" fmla="*/ 8 h 1482"/>
                  <a:gd name="T10" fmla="*/ 618 w 704"/>
                  <a:gd name="T11" fmla="*/ 30 h 1482"/>
                  <a:gd name="T12" fmla="*/ 646 w 704"/>
                  <a:gd name="T13" fmla="*/ 50 h 1482"/>
                  <a:gd name="T14" fmla="*/ 678 w 704"/>
                  <a:gd name="T15" fmla="*/ 86 h 1482"/>
                  <a:gd name="T16" fmla="*/ 700 w 704"/>
                  <a:gd name="T17" fmla="*/ 156 h 1482"/>
                  <a:gd name="T18" fmla="*/ 704 w 704"/>
                  <a:gd name="T19" fmla="*/ 230 h 1482"/>
                  <a:gd name="T20" fmla="*/ 702 w 704"/>
                  <a:gd name="T21" fmla="*/ 646 h 1482"/>
                  <a:gd name="T22" fmla="*/ 698 w 704"/>
                  <a:gd name="T23" fmla="*/ 684 h 1482"/>
                  <a:gd name="T24" fmla="*/ 678 w 704"/>
                  <a:gd name="T25" fmla="*/ 716 h 1482"/>
                  <a:gd name="T26" fmla="*/ 652 w 704"/>
                  <a:gd name="T27" fmla="*/ 724 h 1482"/>
                  <a:gd name="T28" fmla="*/ 628 w 704"/>
                  <a:gd name="T29" fmla="*/ 724 h 1482"/>
                  <a:gd name="T30" fmla="*/ 598 w 704"/>
                  <a:gd name="T31" fmla="*/ 704 h 1482"/>
                  <a:gd name="T32" fmla="*/ 580 w 704"/>
                  <a:gd name="T33" fmla="*/ 662 h 1482"/>
                  <a:gd name="T34" fmla="*/ 578 w 704"/>
                  <a:gd name="T35" fmla="*/ 242 h 1482"/>
                  <a:gd name="T36" fmla="*/ 534 w 704"/>
                  <a:gd name="T37" fmla="*/ 242 h 1482"/>
                  <a:gd name="T38" fmla="*/ 532 w 704"/>
                  <a:gd name="T39" fmla="*/ 1400 h 1482"/>
                  <a:gd name="T40" fmla="*/ 528 w 704"/>
                  <a:gd name="T41" fmla="*/ 1432 h 1482"/>
                  <a:gd name="T42" fmla="*/ 500 w 704"/>
                  <a:gd name="T43" fmla="*/ 1466 h 1482"/>
                  <a:gd name="T44" fmla="*/ 458 w 704"/>
                  <a:gd name="T45" fmla="*/ 1480 h 1482"/>
                  <a:gd name="T46" fmla="*/ 414 w 704"/>
                  <a:gd name="T47" fmla="*/ 1476 h 1482"/>
                  <a:gd name="T48" fmla="*/ 382 w 704"/>
                  <a:gd name="T49" fmla="*/ 1450 h 1482"/>
                  <a:gd name="T50" fmla="*/ 372 w 704"/>
                  <a:gd name="T51" fmla="*/ 1418 h 1482"/>
                  <a:gd name="T52" fmla="*/ 370 w 704"/>
                  <a:gd name="T53" fmla="*/ 722 h 1482"/>
                  <a:gd name="T54" fmla="*/ 332 w 704"/>
                  <a:gd name="T55" fmla="*/ 722 h 1482"/>
                  <a:gd name="T56" fmla="*/ 332 w 704"/>
                  <a:gd name="T57" fmla="*/ 1330 h 1482"/>
                  <a:gd name="T58" fmla="*/ 322 w 704"/>
                  <a:gd name="T59" fmla="*/ 1428 h 1482"/>
                  <a:gd name="T60" fmla="*/ 302 w 704"/>
                  <a:gd name="T61" fmla="*/ 1468 h 1482"/>
                  <a:gd name="T62" fmla="*/ 266 w 704"/>
                  <a:gd name="T63" fmla="*/ 1480 h 1482"/>
                  <a:gd name="T64" fmla="*/ 228 w 704"/>
                  <a:gd name="T65" fmla="*/ 1480 h 1482"/>
                  <a:gd name="T66" fmla="*/ 196 w 704"/>
                  <a:gd name="T67" fmla="*/ 1466 h 1482"/>
                  <a:gd name="T68" fmla="*/ 172 w 704"/>
                  <a:gd name="T69" fmla="*/ 1440 h 1482"/>
                  <a:gd name="T70" fmla="*/ 164 w 704"/>
                  <a:gd name="T71" fmla="*/ 1402 h 1482"/>
                  <a:gd name="T72" fmla="*/ 162 w 704"/>
                  <a:gd name="T73" fmla="*/ 824 h 1482"/>
                  <a:gd name="T74" fmla="*/ 162 w 704"/>
                  <a:gd name="T75" fmla="*/ 244 h 1482"/>
                  <a:gd name="T76" fmla="*/ 124 w 704"/>
                  <a:gd name="T77" fmla="*/ 340 h 1482"/>
                  <a:gd name="T78" fmla="*/ 124 w 704"/>
                  <a:gd name="T79" fmla="*/ 628 h 1482"/>
                  <a:gd name="T80" fmla="*/ 114 w 704"/>
                  <a:gd name="T81" fmla="*/ 680 h 1482"/>
                  <a:gd name="T82" fmla="*/ 90 w 704"/>
                  <a:gd name="T83" fmla="*/ 716 h 1482"/>
                  <a:gd name="T84" fmla="*/ 68 w 704"/>
                  <a:gd name="T85" fmla="*/ 724 h 1482"/>
                  <a:gd name="T86" fmla="*/ 50 w 704"/>
                  <a:gd name="T87" fmla="*/ 724 h 1482"/>
                  <a:gd name="T88" fmla="*/ 20 w 704"/>
                  <a:gd name="T89" fmla="*/ 712 h 1482"/>
                  <a:gd name="T90" fmla="*/ 2 w 704"/>
                  <a:gd name="T91" fmla="*/ 684 h 1482"/>
                  <a:gd name="T92" fmla="*/ 0 w 704"/>
                  <a:gd name="T93" fmla="*/ 662 h 1482"/>
                  <a:gd name="T94" fmla="*/ 0 w 704"/>
                  <a:gd name="T95" fmla="*/ 176 h 1482"/>
                  <a:gd name="T96" fmla="*/ 12 w 704"/>
                  <a:gd name="T97" fmla="*/ 106 h 1482"/>
                  <a:gd name="T98" fmla="*/ 50 w 704"/>
                  <a:gd name="T99" fmla="*/ 50 h 1482"/>
                  <a:gd name="T100" fmla="*/ 88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88" y="24"/>
                    </a:moveTo>
                    <a:lnTo>
                      <a:pt x="88" y="24"/>
                    </a:lnTo>
                    <a:lnTo>
                      <a:pt x="106" y="18"/>
                    </a:lnTo>
                    <a:lnTo>
                      <a:pt x="124" y="12"/>
                    </a:lnTo>
                    <a:lnTo>
                      <a:pt x="162" y="6"/>
                    </a:lnTo>
                    <a:lnTo>
                      <a:pt x="200" y="2"/>
                    </a:lnTo>
                    <a:lnTo>
                      <a:pt x="238" y="0"/>
                    </a:lnTo>
                    <a:lnTo>
                      <a:pt x="314" y="0"/>
                    </a:lnTo>
                    <a:lnTo>
                      <a:pt x="352" y="2"/>
                    </a:lnTo>
                    <a:lnTo>
                      <a:pt x="388" y="0"/>
                    </a:lnTo>
                    <a:lnTo>
                      <a:pt x="388" y="0"/>
                    </a:lnTo>
                    <a:lnTo>
                      <a:pt x="456" y="0"/>
                    </a:lnTo>
                    <a:lnTo>
                      <a:pt x="490" y="0"/>
                    </a:lnTo>
                    <a:lnTo>
                      <a:pt x="524" y="2"/>
                    </a:lnTo>
                    <a:lnTo>
                      <a:pt x="556" y="8"/>
                    </a:lnTo>
                    <a:lnTo>
                      <a:pt x="588" y="16"/>
                    </a:lnTo>
                    <a:lnTo>
                      <a:pt x="604" y="22"/>
                    </a:lnTo>
                    <a:lnTo>
                      <a:pt x="618" y="30"/>
                    </a:lnTo>
                    <a:lnTo>
                      <a:pt x="632" y="38"/>
                    </a:lnTo>
                    <a:lnTo>
                      <a:pt x="646" y="50"/>
                    </a:lnTo>
                    <a:lnTo>
                      <a:pt x="646" y="50"/>
                    </a:lnTo>
                    <a:lnTo>
                      <a:pt x="656" y="58"/>
                    </a:lnTo>
                    <a:lnTo>
                      <a:pt x="664" y="66"/>
                    </a:lnTo>
                    <a:lnTo>
                      <a:pt x="678" y="86"/>
                    </a:lnTo>
                    <a:lnTo>
                      <a:pt x="688" y="108"/>
                    </a:lnTo>
                    <a:lnTo>
                      <a:pt x="694" y="132"/>
                    </a:lnTo>
                    <a:lnTo>
                      <a:pt x="700" y="156"/>
                    </a:lnTo>
                    <a:lnTo>
                      <a:pt x="702" y="182"/>
                    </a:lnTo>
                    <a:lnTo>
                      <a:pt x="704" y="230"/>
                    </a:lnTo>
                    <a:lnTo>
                      <a:pt x="704" y="230"/>
                    </a:lnTo>
                    <a:lnTo>
                      <a:pt x="704" y="438"/>
                    </a:lnTo>
                    <a:lnTo>
                      <a:pt x="702" y="646"/>
                    </a:lnTo>
                    <a:lnTo>
                      <a:pt x="702" y="646"/>
                    </a:lnTo>
                    <a:lnTo>
                      <a:pt x="702" y="658"/>
                    </a:lnTo>
                    <a:lnTo>
                      <a:pt x="700" y="672"/>
                    </a:lnTo>
                    <a:lnTo>
                      <a:pt x="698" y="684"/>
                    </a:lnTo>
                    <a:lnTo>
                      <a:pt x="692" y="698"/>
                    </a:lnTo>
                    <a:lnTo>
                      <a:pt x="686" y="708"/>
                    </a:lnTo>
                    <a:lnTo>
                      <a:pt x="678" y="716"/>
                    </a:lnTo>
                    <a:lnTo>
                      <a:pt x="666" y="722"/>
                    </a:lnTo>
                    <a:lnTo>
                      <a:pt x="652" y="724"/>
                    </a:lnTo>
                    <a:lnTo>
                      <a:pt x="652" y="724"/>
                    </a:lnTo>
                    <a:lnTo>
                      <a:pt x="644" y="726"/>
                    </a:lnTo>
                    <a:lnTo>
                      <a:pt x="636" y="726"/>
                    </a:lnTo>
                    <a:lnTo>
                      <a:pt x="628" y="724"/>
                    </a:lnTo>
                    <a:lnTo>
                      <a:pt x="622" y="722"/>
                    </a:lnTo>
                    <a:lnTo>
                      <a:pt x="608" y="714"/>
                    </a:lnTo>
                    <a:lnTo>
                      <a:pt x="598" y="704"/>
                    </a:lnTo>
                    <a:lnTo>
                      <a:pt x="590" y="692"/>
                    </a:lnTo>
                    <a:lnTo>
                      <a:pt x="584" y="676"/>
                    </a:lnTo>
                    <a:lnTo>
                      <a:pt x="580" y="662"/>
                    </a:lnTo>
                    <a:lnTo>
                      <a:pt x="578" y="646"/>
                    </a:lnTo>
                    <a:lnTo>
                      <a:pt x="578" y="646"/>
                    </a:lnTo>
                    <a:lnTo>
                      <a:pt x="578" y="242"/>
                    </a:lnTo>
                    <a:lnTo>
                      <a:pt x="578" y="242"/>
                    </a:lnTo>
                    <a:lnTo>
                      <a:pt x="534" y="242"/>
                    </a:lnTo>
                    <a:lnTo>
                      <a:pt x="534" y="242"/>
                    </a:lnTo>
                    <a:lnTo>
                      <a:pt x="532" y="822"/>
                    </a:lnTo>
                    <a:lnTo>
                      <a:pt x="532" y="1112"/>
                    </a:lnTo>
                    <a:lnTo>
                      <a:pt x="532" y="1400"/>
                    </a:lnTo>
                    <a:lnTo>
                      <a:pt x="532" y="1400"/>
                    </a:lnTo>
                    <a:lnTo>
                      <a:pt x="532" y="1418"/>
                    </a:lnTo>
                    <a:lnTo>
                      <a:pt x="528" y="1432"/>
                    </a:lnTo>
                    <a:lnTo>
                      <a:pt x="522" y="1444"/>
                    </a:lnTo>
                    <a:lnTo>
                      <a:pt x="512" y="1456"/>
                    </a:lnTo>
                    <a:lnTo>
                      <a:pt x="500" y="1466"/>
                    </a:lnTo>
                    <a:lnTo>
                      <a:pt x="488" y="1472"/>
                    </a:lnTo>
                    <a:lnTo>
                      <a:pt x="474" y="1478"/>
                    </a:lnTo>
                    <a:lnTo>
                      <a:pt x="458" y="1480"/>
                    </a:lnTo>
                    <a:lnTo>
                      <a:pt x="444" y="1480"/>
                    </a:lnTo>
                    <a:lnTo>
                      <a:pt x="428" y="1480"/>
                    </a:lnTo>
                    <a:lnTo>
                      <a:pt x="414" y="1476"/>
                    </a:lnTo>
                    <a:lnTo>
                      <a:pt x="402" y="1470"/>
                    </a:lnTo>
                    <a:lnTo>
                      <a:pt x="390" y="1460"/>
                    </a:lnTo>
                    <a:lnTo>
                      <a:pt x="382" y="1450"/>
                    </a:lnTo>
                    <a:lnTo>
                      <a:pt x="374" y="1436"/>
                    </a:lnTo>
                    <a:lnTo>
                      <a:pt x="372" y="1418"/>
                    </a:lnTo>
                    <a:lnTo>
                      <a:pt x="372" y="1418"/>
                    </a:lnTo>
                    <a:lnTo>
                      <a:pt x="370" y="1244"/>
                    </a:lnTo>
                    <a:lnTo>
                      <a:pt x="370" y="1070"/>
                    </a:lnTo>
                    <a:lnTo>
                      <a:pt x="370" y="722"/>
                    </a:lnTo>
                    <a:lnTo>
                      <a:pt x="370" y="722"/>
                    </a:lnTo>
                    <a:lnTo>
                      <a:pt x="332" y="722"/>
                    </a:lnTo>
                    <a:lnTo>
                      <a:pt x="332" y="722"/>
                    </a:lnTo>
                    <a:lnTo>
                      <a:pt x="332" y="1026"/>
                    </a:lnTo>
                    <a:lnTo>
                      <a:pt x="332" y="1330"/>
                    </a:lnTo>
                    <a:lnTo>
                      <a:pt x="332" y="1330"/>
                    </a:lnTo>
                    <a:lnTo>
                      <a:pt x="332" y="1362"/>
                    </a:lnTo>
                    <a:lnTo>
                      <a:pt x="328" y="1396"/>
                    </a:lnTo>
                    <a:lnTo>
                      <a:pt x="322" y="1428"/>
                    </a:lnTo>
                    <a:lnTo>
                      <a:pt x="312" y="1460"/>
                    </a:lnTo>
                    <a:lnTo>
                      <a:pt x="312" y="1460"/>
                    </a:lnTo>
                    <a:lnTo>
                      <a:pt x="302" y="1468"/>
                    </a:lnTo>
                    <a:lnTo>
                      <a:pt x="290" y="1472"/>
                    </a:lnTo>
                    <a:lnTo>
                      <a:pt x="278" y="1478"/>
                    </a:lnTo>
                    <a:lnTo>
                      <a:pt x="266" y="1480"/>
                    </a:lnTo>
                    <a:lnTo>
                      <a:pt x="254" y="1482"/>
                    </a:lnTo>
                    <a:lnTo>
                      <a:pt x="242" y="1482"/>
                    </a:lnTo>
                    <a:lnTo>
                      <a:pt x="228" y="1480"/>
                    </a:lnTo>
                    <a:lnTo>
                      <a:pt x="216" y="1478"/>
                    </a:lnTo>
                    <a:lnTo>
                      <a:pt x="206" y="1472"/>
                    </a:lnTo>
                    <a:lnTo>
                      <a:pt x="196" y="1466"/>
                    </a:lnTo>
                    <a:lnTo>
                      <a:pt x="186" y="1460"/>
                    </a:lnTo>
                    <a:lnTo>
                      <a:pt x="178" y="1450"/>
                    </a:lnTo>
                    <a:lnTo>
                      <a:pt x="172" y="1440"/>
                    </a:lnTo>
                    <a:lnTo>
                      <a:pt x="166" y="1430"/>
                    </a:lnTo>
                    <a:lnTo>
                      <a:pt x="164" y="1416"/>
                    </a:lnTo>
                    <a:lnTo>
                      <a:pt x="164" y="1402"/>
                    </a:lnTo>
                    <a:lnTo>
                      <a:pt x="164" y="1402"/>
                    </a:lnTo>
                    <a:lnTo>
                      <a:pt x="162" y="1114"/>
                    </a:lnTo>
                    <a:lnTo>
                      <a:pt x="162" y="824"/>
                    </a:lnTo>
                    <a:lnTo>
                      <a:pt x="162" y="534"/>
                    </a:lnTo>
                    <a:lnTo>
                      <a:pt x="162" y="244"/>
                    </a:lnTo>
                    <a:lnTo>
                      <a:pt x="162" y="244"/>
                    </a:lnTo>
                    <a:lnTo>
                      <a:pt x="124" y="244"/>
                    </a:lnTo>
                    <a:lnTo>
                      <a:pt x="124" y="244"/>
                    </a:lnTo>
                    <a:lnTo>
                      <a:pt x="124" y="340"/>
                    </a:lnTo>
                    <a:lnTo>
                      <a:pt x="124" y="436"/>
                    </a:lnTo>
                    <a:lnTo>
                      <a:pt x="124" y="628"/>
                    </a:lnTo>
                    <a:lnTo>
                      <a:pt x="124" y="628"/>
                    </a:lnTo>
                    <a:lnTo>
                      <a:pt x="124" y="646"/>
                    </a:lnTo>
                    <a:lnTo>
                      <a:pt x="120" y="662"/>
                    </a:lnTo>
                    <a:lnTo>
                      <a:pt x="114" y="680"/>
                    </a:lnTo>
                    <a:lnTo>
                      <a:pt x="108" y="696"/>
                    </a:lnTo>
                    <a:lnTo>
                      <a:pt x="96" y="710"/>
                    </a:lnTo>
                    <a:lnTo>
                      <a:pt x="90" y="716"/>
                    </a:lnTo>
                    <a:lnTo>
                      <a:pt x="84" y="720"/>
                    </a:lnTo>
                    <a:lnTo>
                      <a:pt x="76" y="724"/>
                    </a:lnTo>
                    <a:lnTo>
                      <a:pt x="68" y="724"/>
                    </a:lnTo>
                    <a:lnTo>
                      <a:pt x="60" y="726"/>
                    </a:lnTo>
                    <a:lnTo>
                      <a:pt x="50" y="724"/>
                    </a:lnTo>
                    <a:lnTo>
                      <a:pt x="50" y="724"/>
                    </a:lnTo>
                    <a:lnTo>
                      <a:pt x="38" y="722"/>
                    </a:lnTo>
                    <a:lnTo>
                      <a:pt x="28" y="720"/>
                    </a:lnTo>
                    <a:lnTo>
                      <a:pt x="20" y="712"/>
                    </a:lnTo>
                    <a:lnTo>
                      <a:pt x="12" y="704"/>
                    </a:lnTo>
                    <a:lnTo>
                      <a:pt x="6" y="694"/>
                    </a:lnTo>
                    <a:lnTo>
                      <a:pt x="2" y="684"/>
                    </a:lnTo>
                    <a:lnTo>
                      <a:pt x="0" y="672"/>
                    </a:lnTo>
                    <a:lnTo>
                      <a:pt x="0" y="662"/>
                    </a:lnTo>
                    <a:lnTo>
                      <a:pt x="0" y="662"/>
                    </a:lnTo>
                    <a:lnTo>
                      <a:pt x="0" y="418"/>
                    </a:lnTo>
                    <a:lnTo>
                      <a:pt x="0" y="176"/>
                    </a:lnTo>
                    <a:lnTo>
                      <a:pt x="0" y="176"/>
                    </a:lnTo>
                    <a:lnTo>
                      <a:pt x="0" y="152"/>
                    </a:lnTo>
                    <a:lnTo>
                      <a:pt x="4" y="130"/>
                    </a:lnTo>
                    <a:lnTo>
                      <a:pt x="12" y="106"/>
                    </a:lnTo>
                    <a:lnTo>
                      <a:pt x="22" y="86"/>
                    </a:lnTo>
                    <a:lnTo>
                      <a:pt x="34" y="66"/>
                    </a:lnTo>
                    <a:lnTo>
                      <a:pt x="50" y="50"/>
                    </a:lnTo>
                    <a:lnTo>
                      <a:pt x="68" y="36"/>
                    </a:lnTo>
                    <a:lnTo>
                      <a:pt x="88" y="24"/>
                    </a:lnTo>
                    <a:lnTo>
                      <a:pt x="8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 name="Group 47"/>
            <p:cNvGrpSpPr/>
            <p:nvPr/>
          </p:nvGrpSpPr>
          <p:grpSpPr>
            <a:xfrm>
              <a:off x="17248188" y="4721225"/>
              <a:ext cx="1117600" cy="2860675"/>
              <a:chOff x="17248188" y="4721225"/>
              <a:chExt cx="1117600" cy="2860675"/>
            </a:xfrm>
            <a:grpFill/>
          </p:grpSpPr>
          <p:sp>
            <p:nvSpPr>
              <p:cNvPr id="58" name="Freeform 17"/>
              <p:cNvSpPr>
                <a:spLocks/>
              </p:cNvSpPr>
              <p:nvPr/>
            </p:nvSpPr>
            <p:spPr bwMode="auto">
              <a:xfrm>
                <a:off x="17565688" y="4721225"/>
                <a:ext cx="463550" cy="460375"/>
              </a:xfrm>
              <a:custGeom>
                <a:avLst/>
                <a:gdLst>
                  <a:gd name="T0" fmla="*/ 184 w 292"/>
                  <a:gd name="T1" fmla="*/ 6 h 290"/>
                  <a:gd name="T2" fmla="*/ 184 w 292"/>
                  <a:gd name="T3" fmla="*/ 6 h 290"/>
                  <a:gd name="T4" fmla="*/ 164 w 292"/>
                  <a:gd name="T5" fmla="*/ 2 h 290"/>
                  <a:gd name="T6" fmla="*/ 144 w 292"/>
                  <a:gd name="T7" fmla="*/ 0 h 290"/>
                  <a:gd name="T8" fmla="*/ 124 w 292"/>
                  <a:gd name="T9" fmla="*/ 2 h 290"/>
                  <a:gd name="T10" fmla="*/ 106 w 292"/>
                  <a:gd name="T11" fmla="*/ 8 h 290"/>
                  <a:gd name="T12" fmla="*/ 88 w 292"/>
                  <a:gd name="T13" fmla="*/ 14 h 290"/>
                  <a:gd name="T14" fmla="*/ 70 w 292"/>
                  <a:gd name="T15" fmla="*/ 24 h 290"/>
                  <a:gd name="T16" fmla="*/ 54 w 292"/>
                  <a:gd name="T17" fmla="*/ 36 h 290"/>
                  <a:gd name="T18" fmla="*/ 40 w 292"/>
                  <a:gd name="T19" fmla="*/ 50 h 290"/>
                  <a:gd name="T20" fmla="*/ 26 w 292"/>
                  <a:gd name="T21" fmla="*/ 66 h 290"/>
                  <a:gd name="T22" fmla="*/ 16 w 292"/>
                  <a:gd name="T23" fmla="*/ 82 h 290"/>
                  <a:gd name="T24" fmla="*/ 8 w 292"/>
                  <a:gd name="T25" fmla="*/ 100 h 290"/>
                  <a:gd name="T26" fmla="*/ 2 w 292"/>
                  <a:gd name="T27" fmla="*/ 118 h 290"/>
                  <a:gd name="T28" fmla="*/ 0 w 292"/>
                  <a:gd name="T29" fmla="*/ 138 h 290"/>
                  <a:gd name="T30" fmla="*/ 0 w 292"/>
                  <a:gd name="T31" fmla="*/ 156 h 290"/>
                  <a:gd name="T32" fmla="*/ 4 w 292"/>
                  <a:gd name="T33" fmla="*/ 176 h 290"/>
                  <a:gd name="T34" fmla="*/ 10 w 292"/>
                  <a:gd name="T35" fmla="*/ 196 h 290"/>
                  <a:gd name="T36" fmla="*/ 10 w 292"/>
                  <a:gd name="T37" fmla="*/ 196 h 290"/>
                  <a:gd name="T38" fmla="*/ 18 w 292"/>
                  <a:gd name="T39" fmla="*/ 214 h 290"/>
                  <a:gd name="T40" fmla="*/ 26 w 292"/>
                  <a:gd name="T41" fmla="*/ 230 h 290"/>
                  <a:gd name="T42" fmla="*/ 38 w 292"/>
                  <a:gd name="T43" fmla="*/ 246 h 290"/>
                  <a:gd name="T44" fmla="*/ 52 w 292"/>
                  <a:gd name="T45" fmla="*/ 258 h 290"/>
                  <a:gd name="T46" fmla="*/ 68 w 292"/>
                  <a:gd name="T47" fmla="*/ 268 h 290"/>
                  <a:gd name="T48" fmla="*/ 84 w 292"/>
                  <a:gd name="T49" fmla="*/ 278 h 290"/>
                  <a:gd name="T50" fmla="*/ 102 w 292"/>
                  <a:gd name="T51" fmla="*/ 284 h 290"/>
                  <a:gd name="T52" fmla="*/ 120 w 292"/>
                  <a:gd name="T53" fmla="*/ 288 h 290"/>
                  <a:gd name="T54" fmla="*/ 140 w 292"/>
                  <a:gd name="T55" fmla="*/ 290 h 290"/>
                  <a:gd name="T56" fmla="*/ 158 w 292"/>
                  <a:gd name="T57" fmla="*/ 290 h 290"/>
                  <a:gd name="T58" fmla="*/ 178 w 292"/>
                  <a:gd name="T59" fmla="*/ 288 h 290"/>
                  <a:gd name="T60" fmla="*/ 196 w 292"/>
                  <a:gd name="T61" fmla="*/ 284 h 290"/>
                  <a:gd name="T62" fmla="*/ 212 w 292"/>
                  <a:gd name="T63" fmla="*/ 276 h 290"/>
                  <a:gd name="T64" fmla="*/ 230 w 292"/>
                  <a:gd name="T65" fmla="*/ 268 h 290"/>
                  <a:gd name="T66" fmla="*/ 244 w 292"/>
                  <a:gd name="T67" fmla="*/ 256 h 290"/>
                  <a:gd name="T68" fmla="*/ 256 w 292"/>
                  <a:gd name="T69" fmla="*/ 240 h 290"/>
                  <a:gd name="T70" fmla="*/ 256 w 292"/>
                  <a:gd name="T71" fmla="*/ 240 h 290"/>
                  <a:gd name="T72" fmla="*/ 268 w 292"/>
                  <a:gd name="T73" fmla="*/ 226 h 290"/>
                  <a:gd name="T74" fmla="*/ 278 w 292"/>
                  <a:gd name="T75" fmla="*/ 210 h 290"/>
                  <a:gd name="T76" fmla="*/ 284 w 292"/>
                  <a:gd name="T77" fmla="*/ 192 h 290"/>
                  <a:gd name="T78" fmla="*/ 290 w 292"/>
                  <a:gd name="T79" fmla="*/ 176 h 290"/>
                  <a:gd name="T80" fmla="*/ 292 w 292"/>
                  <a:gd name="T81" fmla="*/ 158 h 290"/>
                  <a:gd name="T82" fmla="*/ 292 w 292"/>
                  <a:gd name="T83" fmla="*/ 138 h 290"/>
                  <a:gd name="T84" fmla="*/ 288 w 292"/>
                  <a:gd name="T85" fmla="*/ 120 h 290"/>
                  <a:gd name="T86" fmla="*/ 284 w 292"/>
                  <a:gd name="T87" fmla="*/ 102 h 290"/>
                  <a:gd name="T88" fmla="*/ 278 w 292"/>
                  <a:gd name="T89" fmla="*/ 86 h 290"/>
                  <a:gd name="T90" fmla="*/ 270 w 292"/>
                  <a:gd name="T91" fmla="*/ 70 h 290"/>
                  <a:gd name="T92" fmla="*/ 260 w 292"/>
                  <a:gd name="T93" fmla="*/ 54 h 290"/>
                  <a:gd name="T94" fmla="*/ 248 w 292"/>
                  <a:gd name="T95" fmla="*/ 40 h 290"/>
                  <a:gd name="T96" fmla="*/ 234 w 292"/>
                  <a:gd name="T97" fmla="*/ 28 h 290"/>
                  <a:gd name="T98" fmla="*/ 218 w 292"/>
                  <a:gd name="T99" fmla="*/ 18 h 290"/>
                  <a:gd name="T100" fmla="*/ 202 w 292"/>
                  <a:gd name="T101" fmla="*/ 10 h 290"/>
                  <a:gd name="T102" fmla="*/ 184 w 292"/>
                  <a:gd name="T103" fmla="*/ 6 h 290"/>
                  <a:gd name="T104" fmla="*/ 184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84" y="6"/>
                    </a:moveTo>
                    <a:lnTo>
                      <a:pt x="184" y="6"/>
                    </a:lnTo>
                    <a:lnTo>
                      <a:pt x="164" y="2"/>
                    </a:lnTo>
                    <a:lnTo>
                      <a:pt x="144" y="0"/>
                    </a:lnTo>
                    <a:lnTo>
                      <a:pt x="124" y="2"/>
                    </a:lnTo>
                    <a:lnTo>
                      <a:pt x="106" y="8"/>
                    </a:lnTo>
                    <a:lnTo>
                      <a:pt x="88" y="14"/>
                    </a:lnTo>
                    <a:lnTo>
                      <a:pt x="70" y="24"/>
                    </a:lnTo>
                    <a:lnTo>
                      <a:pt x="54" y="36"/>
                    </a:lnTo>
                    <a:lnTo>
                      <a:pt x="40" y="50"/>
                    </a:lnTo>
                    <a:lnTo>
                      <a:pt x="26" y="66"/>
                    </a:lnTo>
                    <a:lnTo>
                      <a:pt x="16" y="82"/>
                    </a:lnTo>
                    <a:lnTo>
                      <a:pt x="8" y="100"/>
                    </a:lnTo>
                    <a:lnTo>
                      <a:pt x="2" y="118"/>
                    </a:lnTo>
                    <a:lnTo>
                      <a:pt x="0" y="138"/>
                    </a:lnTo>
                    <a:lnTo>
                      <a:pt x="0" y="156"/>
                    </a:lnTo>
                    <a:lnTo>
                      <a:pt x="4" y="176"/>
                    </a:lnTo>
                    <a:lnTo>
                      <a:pt x="10" y="196"/>
                    </a:lnTo>
                    <a:lnTo>
                      <a:pt x="10" y="196"/>
                    </a:lnTo>
                    <a:lnTo>
                      <a:pt x="18" y="214"/>
                    </a:lnTo>
                    <a:lnTo>
                      <a:pt x="26" y="230"/>
                    </a:lnTo>
                    <a:lnTo>
                      <a:pt x="38" y="246"/>
                    </a:lnTo>
                    <a:lnTo>
                      <a:pt x="52" y="258"/>
                    </a:lnTo>
                    <a:lnTo>
                      <a:pt x="68" y="268"/>
                    </a:lnTo>
                    <a:lnTo>
                      <a:pt x="84" y="278"/>
                    </a:lnTo>
                    <a:lnTo>
                      <a:pt x="102" y="284"/>
                    </a:lnTo>
                    <a:lnTo>
                      <a:pt x="120" y="288"/>
                    </a:lnTo>
                    <a:lnTo>
                      <a:pt x="140" y="290"/>
                    </a:lnTo>
                    <a:lnTo>
                      <a:pt x="158" y="290"/>
                    </a:lnTo>
                    <a:lnTo>
                      <a:pt x="178" y="288"/>
                    </a:lnTo>
                    <a:lnTo>
                      <a:pt x="196" y="284"/>
                    </a:lnTo>
                    <a:lnTo>
                      <a:pt x="212" y="276"/>
                    </a:lnTo>
                    <a:lnTo>
                      <a:pt x="230" y="268"/>
                    </a:lnTo>
                    <a:lnTo>
                      <a:pt x="244" y="256"/>
                    </a:lnTo>
                    <a:lnTo>
                      <a:pt x="256" y="240"/>
                    </a:lnTo>
                    <a:lnTo>
                      <a:pt x="256" y="240"/>
                    </a:lnTo>
                    <a:lnTo>
                      <a:pt x="268" y="226"/>
                    </a:lnTo>
                    <a:lnTo>
                      <a:pt x="278" y="210"/>
                    </a:lnTo>
                    <a:lnTo>
                      <a:pt x="284" y="192"/>
                    </a:lnTo>
                    <a:lnTo>
                      <a:pt x="290" y="176"/>
                    </a:lnTo>
                    <a:lnTo>
                      <a:pt x="292" y="158"/>
                    </a:lnTo>
                    <a:lnTo>
                      <a:pt x="292" y="138"/>
                    </a:lnTo>
                    <a:lnTo>
                      <a:pt x="288" y="120"/>
                    </a:lnTo>
                    <a:lnTo>
                      <a:pt x="284" y="102"/>
                    </a:lnTo>
                    <a:lnTo>
                      <a:pt x="278" y="86"/>
                    </a:lnTo>
                    <a:lnTo>
                      <a:pt x="270" y="70"/>
                    </a:lnTo>
                    <a:lnTo>
                      <a:pt x="260" y="54"/>
                    </a:lnTo>
                    <a:lnTo>
                      <a:pt x="248" y="40"/>
                    </a:lnTo>
                    <a:lnTo>
                      <a:pt x="234" y="28"/>
                    </a:lnTo>
                    <a:lnTo>
                      <a:pt x="218" y="18"/>
                    </a:lnTo>
                    <a:lnTo>
                      <a:pt x="202" y="10"/>
                    </a:lnTo>
                    <a:lnTo>
                      <a:pt x="184" y="6"/>
                    </a:lnTo>
                    <a:lnTo>
                      <a:pt x="18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8"/>
              <p:cNvSpPr>
                <a:spLocks/>
              </p:cNvSpPr>
              <p:nvPr/>
            </p:nvSpPr>
            <p:spPr bwMode="auto">
              <a:xfrm>
                <a:off x="17248188" y="5229225"/>
                <a:ext cx="1117600" cy="2352675"/>
              </a:xfrm>
              <a:custGeom>
                <a:avLst/>
                <a:gdLst>
                  <a:gd name="T0" fmla="*/ 596 w 704"/>
                  <a:gd name="T1" fmla="*/ 18 h 1482"/>
                  <a:gd name="T2" fmla="*/ 504 w 704"/>
                  <a:gd name="T3" fmla="*/ 2 h 1482"/>
                  <a:gd name="T4" fmla="*/ 352 w 704"/>
                  <a:gd name="T5" fmla="*/ 2 h 1482"/>
                  <a:gd name="T6" fmla="*/ 248 w 704"/>
                  <a:gd name="T7" fmla="*/ 0 h 1482"/>
                  <a:gd name="T8" fmla="*/ 146 w 704"/>
                  <a:gd name="T9" fmla="*/ 8 h 1482"/>
                  <a:gd name="T10" fmla="*/ 84 w 704"/>
                  <a:gd name="T11" fmla="*/ 30 h 1482"/>
                  <a:gd name="T12" fmla="*/ 56 w 704"/>
                  <a:gd name="T13" fmla="*/ 50 h 1482"/>
                  <a:gd name="T14" fmla="*/ 24 w 704"/>
                  <a:gd name="T15" fmla="*/ 86 h 1482"/>
                  <a:gd name="T16" fmla="*/ 4 w 704"/>
                  <a:gd name="T17" fmla="*/ 156 h 1482"/>
                  <a:gd name="T18" fmla="*/ 0 w 704"/>
                  <a:gd name="T19" fmla="*/ 230 h 1482"/>
                  <a:gd name="T20" fmla="*/ 0 w 704"/>
                  <a:gd name="T21" fmla="*/ 646 h 1482"/>
                  <a:gd name="T22" fmla="*/ 4 w 704"/>
                  <a:gd name="T23" fmla="*/ 684 h 1482"/>
                  <a:gd name="T24" fmla="*/ 26 w 704"/>
                  <a:gd name="T25" fmla="*/ 716 h 1482"/>
                  <a:gd name="T26" fmla="*/ 50 w 704"/>
                  <a:gd name="T27" fmla="*/ 724 h 1482"/>
                  <a:gd name="T28" fmla="*/ 74 w 704"/>
                  <a:gd name="T29" fmla="*/ 724 h 1482"/>
                  <a:gd name="T30" fmla="*/ 104 w 704"/>
                  <a:gd name="T31" fmla="*/ 704 h 1482"/>
                  <a:gd name="T32" fmla="*/ 124 w 704"/>
                  <a:gd name="T33" fmla="*/ 662 h 1482"/>
                  <a:gd name="T34" fmla="*/ 124 w 704"/>
                  <a:gd name="T35" fmla="*/ 242 h 1482"/>
                  <a:gd name="T36" fmla="*/ 170 w 704"/>
                  <a:gd name="T37" fmla="*/ 242 h 1482"/>
                  <a:gd name="T38" fmla="*/ 170 w 704"/>
                  <a:gd name="T39" fmla="*/ 1400 h 1482"/>
                  <a:gd name="T40" fmla="*/ 174 w 704"/>
                  <a:gd name="T41" fmla="*/ 1432 h 1482"/>
                  <a:gd name="T42" fmla="*/ 202 w 704"/>
                  <a:gd name="T43" fmla="*/ 1466 h 1482"/>
                  <a:gd name="T44" fmla="*/ 244 w 704"/>
                  <a:gd name="T45" fmla="*/ 1480 h 1482"/>
                  <a:gd name="T46" fmla="*/ 288 w 704"/>
                  <a:gd name="T47" fmla="*/ 1476 h 1482"/>
                  <a:gd name="T48" fmla="*/ 322 w 704"/>
                  <a:gd name="T49" fmla="*/ 1450 h 1482"/>
                  <a:gd name="T50" fmla="*/ 332 w 704"/>
                  <a:gd name="T51" fmla="*/ 1418 h 1482"/>
                  <a:gd name="T52" fmla="*/ 332 w 704"/>
                  <a:gd name="T53" fmla="*/ 722 h 1482"/>
                  <a:gd name="T54" fmla="*/ 370 w 704"/>
                  <a:gd name="T55" fmla="*/ 722 h 1482"/>
                  <a:gd name="T56" fmla="*/ 370 w 704"/>
                  <a:gd name="T57" fmla="*/ 1330 h 1482"/>
                  <a:gd name="T58" fmla="*/ 380 w 704"/>
                  <a:gd name="T59" fmla="*/ 1428 h 1482"/>
                  <a:gd name="T60" fmla="*/ 400 w 704"/>
                  <a:gd name="T61" fmla="*/ 1468 h 1482"/>
                  <a:gd name="T62" fmla="*/ 436 w 704"/>
                  <a:gd name="T63" fmla="*/ 1480 h 1482"/>
                  <a:gd name="T64" fmla="*/ 474 w 704"/>
                  <a:gd name="T65" fmla="*/ 1480 h 1482"/>
                  <a:gd name="T66" fmla="*/ 508 w 704"/>
                  <a:gd name="T67" fmla="*/ 1466 h 1482"/>
                  <a:gd name="T68" fmla="*/ 532 w 704"/>
                  <a:gd name="T69" fmla="*/ 1440 h 1482"/>
                  <a:gd name="T70" fmla="*/ 540 w 704"/>
                  <a:gd name="T71" fmla="*/ 1402 h 1482"/>
                  <a:gd name="T72" fmla="*/ 540 w 704"/>
                  <a:gd name="T73" fmla="*/ 824 h 1482"/>
                  <a:gd name="T74" fmla="*/ 542 w 704"/>
                  <a:gd name="T75" fmla="*/ 244 h 1482"/>
                  <a:gd name="T76" fmla="*/ 578 w 704"/>
                  <a:gd name="T77" fmla="*/ 340 h 1482"/>
                  <a:gd name="T78" fmla="*/ 578 w 704"/>
                  <a:gd name="T79" fmla="*/ 628 h 1482"/>
                  <a:gd name="T80" fmla="*/ 588 w 704"/>
                  <a:gd name="T81" fmla="*/ 680 h 1482"/>
                  <a:gd name="T82" fmla="*/ 612 w 704"/>
                  <a:gd name="T83" fmla="*/ 716 h 1482"/>
                  <a:gd name="T84" fmla="*/ 634 w 704"/>
                  <a:gd name="T85" fmla="*/ 724 h 1482"/>
                  <a:gd name="T86" fmla="*/ 654 w 704"/>
                  <a:gd name="T87" fmla="*/ 724 h 1482"/>
                  <a:gd name="T88" fmla="*/ 684 w 704"/>
                  <a:gd name="T89" fmla="*/ 712 h 1482"/>
                  <a:gd name="T90" fmla="*/ 700 w 704"/>
                  <a:gd name="T91" fmla="*/ 684 h 1482"/>
                  <a:gd name="T92" fmla="*/ 702 w 704"/>
                  <a:gd name="T93" fmla="*/ 662 h 1482"/>
                  <a:gd name="T94" fmla="*/ 702 w 704"/>
                  <a:gd name="T95" fmla="*/ 176 h 1482"/>
                  <a:gd name="T96" fmla="*/ 692 w 704"/>
                  <a:gd name="T97" fmla="*/ 106 h 1482"/>
                  <a:gd name="T98" fmla="*/ 654 w 704"/>
                  <a:gd name="T99" fmla="*/ 50 h 1482"/>
                  <a:gd name="T100" fmla="*/ 614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614" y="24"/>
                    </a:moveTo>
                    <a:lnTo>
                      <a:pt x="614" y="24"/>
                    </a:lnTo>
                    <a:lnTo>
                      <a:pt x="596" y="18"/>
                    </a:lnTo>
                    <a:lnTo>
                      <a:pt x="578" y="12"/>
                    </a:lnTo>
                    <a:lnTo>
                      <a:pt x="540" y="6"/>
                    </a:lnTo>
                    <a:lnTo>
                      <a:pt x="504" y="2"/>
                    </a:lnTo>
                    <a:lnTo>
                      <a:pt x="466" y="0"/>
                    </a:lnTo>
                    <a:lnTo>
                      <a:pt x="390" y="0"/>
                    </a:lnTo>
                    <a:lnTo>
                      <a:pt x="352" y="2"/>
                    </a:lnTo>
                    <a:lnTo>
                      <a:pt x="314" y="0"/>
                    </a:lnTo>
                    <a:lnTo>
                      <a:pt x="314" y="0"/>
                    </a:lnTo>
                    <a:lnTo>
                      <a:pt x="248" y="0"/>
                    </a:lnTo>
                    <a:lnTo>
                      <a:pt x="214" y="0"/>
                    </a:lnTo>
                    <a:lnTo>
                      <a:pt x="180" y="2"/>
                    </a:lnTo>
                    <a:lnTo>
                      <a:pt x="146" y="8"/>
                    </a:lnTo>
                    <a:lnTo>
                      <a:pt x="114" y="16"/>
                    </a:lnTo>
                    <a:lnTo>
                      <a:pt x="100" y="22"/>
                    </a:lnTo>
                    <a:lnTo>
                      <a:pt x="84" y="30"/>
                    </a:lnTo>
                    <a:lnTo>
                      <a:pt x="70" y="38"/>
                    </a:lnTo>
                    <a:lnTo>
                      <a:pt x="56" y="50"/>
                    </a:lnTo>
                    <a:lnTo>
                      <a:pt x="56" y="50"/>
                    </a:lnTo>
                    <a:lnTo>
                      <a:pt x="46" y="58"/>
                    </a:lnTo>
                    <a:lnTo>
                      <a:pt x="38" y="66"/>
                    </a:lnTo>
                    <a:lnTo>
                      <a:pt x="24" y="86"/>
                    </a:lnTo>
                    <a:lnTo>
                      <a:pt x="14" y="108"/>
                    </a:lnTo>
                    <a:lnTo>
                      <a:pt x="8" y="132"/>
                    </a:lnTo>
                    <a:lnTo>
                      <a:pt x="4" y="156"/>
                    </a:lnTo>
                    <a:lnTo>
                      <a:pt x="0" y="182"/>
                    </a:lnTo>
                    <a:lnTo>
                      <a:pt x="0" y="230"/>
                    </a:lnTo>
                    <a:lnTo>
                      <a:pt x="0" y="230"/>
                    </a:lnTo>
                    <a:lnTo>
                      <a:pt x="0" y="438"/>
                    </a:lnTo>
                    <a:lnTo>
                      <a:pt x="0" y="646"/>
                    </a:lnTo>
                    <a:lnTo>
                      <a:pt x="0" y="646"/>
                    </a:lnTo>
                    <a:lnTo>
                      <a:pt x="0" y="658"/>
                    </a:lnTo>
                    <a:lnTo>
                      <a:pt x="2" y="672"/>
                    </a:lnTo>
                    <a:lnTo>
                      <a:pt x="4" y="684"/>
                    </a:lnTo>
                    <a:lnTo>
                      <a:pt x="10" y="698"/>
                    </a:lnTo>
                    <a:lnTo>
                      <a:pt x="16" y="708"/>
                    </a:lnTo>
                    <a:lnTo>
                      <a:pt x="26" y="716"/>
                    </a:lnTo>
                    <a:lnTo>
                      <a:pt x="36" y="722"/>
                    </a:lnTo>
                    <a:lnTo>
                      <a:pt x="50" y="724"/>
                    </a:lnTo>
                    <a:lnTo>
                      <a:pt x="50" y="724"/>
                    </a:lnTo>
                    <a:lnTo>
                      <a:pt x="58" y="726"/>
                    </a:lnTo>
                    <a:lnTo>
                      <a:pt x="66" y="726"/>
                    </a:lnTo>
                    <a:lnTo>
                      <a:pt x="74" y="724"/>
                    </a:lnTo>
                    <a:lnTo>
                      <a:pt x="80" y="722"/>
                    </a:lnTo>
                    <a:lnTo>
                      <a:pt x="94" y="714"/>
                    </a:lnTo>
                    <a:lnTo>
                      <a:pt x="104" y="704"/>
                    </a:lnTo>
                    <a:lnTo>
                      <a:pt x="114" y="692"/>
                    </a:lnTo>
                    <a:lnTo>
                      <a:pt x="120" y="676"/>
                    </a:lnTo>
                    <a:lnTo>
                      <a:pt x="124" y="662"/>
                    </a:lnTo>
                    <a:lnTo>
                      <a:pt x="124" y="646"/>
                    </a:lnTo>
                    <a:lnTo>
                      <a:pt x="124" y="646"/>
                    </a:lnTo>
                    <a:lnTo>
                      <a:pt x="124" y="242"/>
                    </a:lnTo>
                    <a:lnTo>
                      <a:pt x="124" y="242"/>
                    </a:lnTo>
                    <a:lnTo>
                      <a:pt x="170" y="242"/>
                    </a:lnTo>
                    <a:lnTo>
                      <a:pt x="170" y="242"/>
                    </a:lnTo>
                    <a:lnTo>
                      <a:pt x="170" y="822"/>
                    </a:lnTo>
                    <a:lnTo>
                      <a:pt x="170" y="1112"/>
                    </a:lnTo>
                    <a:lnTo>
                      <a:pt x="170" y="1400"/>
                    </a:lnTo>
                    <a:lnTo>
                      <a:pt x="170" y="1400"/>
                    </a:lnTo>
                    <a:lnTo>
                      <a:pt x="172" y="1418"/>
                    </a:lnTo>
                    <a:lnTo>
                      <a:pt x="174" y="1432"/>
                    </a:lnTo>
                    <a:lnTo>
                      <a:pt x="182" y="1444"/>
                    </a:lnTo>
                    <a:lnTo>
                      <a:pt x="190" y="1456"/>
                    </a:lnTo>
                    <a:lnTo>
                      <a:pt x="202" y="1466"/>
                    </a:lnTo>
                    <a:lnTo>
                      <a:pt x="216" y="1472"/>
                    </a:lnTo>
                    <a:lnTo>
                      <a:pt x="230" y="1478"/>
                    </a:lnTo>
                    <a:lnTo>
                      <a:pt x="244" y="1480"/>
                    </a:lnTo>
                    <a:lnTo>
                      <a:pt x="260" y="1480"/>
                    </a:lnTo>
                    <a:lnTo>
                      <a:pt x="274" y="1480"/>
                    </a:lnTo>
                    <a:lnTo>
                      <a:pt x="288" y="1476"/>
                    </a:lnTo>
                    <a:lnTo>
                      <a:pt x="302" y="1470"/>
                    </a:lnTo>
                    <a:lnTo>
                      <a:pt x="312" y="1460"/>
                    </a:lnTo>
                    <a:lnTo>
                      <a:pt x="322" y="1450"/>
                    </a:lnTo>
                    <a:lnTo>
                      <a:pt x="328" y="1436"/>
                    </a:lnTo>
                    <a:lnTo>
                      <a:pt x="332" y="1418"/>
                    </a:lnTo>
                    <a:lnTo>
                      <a:pt x="332" y="1418"/>
                    </a:lnTo>
                    <a:lnTo>
                      <a:pt x="332" y="1244"/>
                    </a:lnTo>
                    <a:lnTo>
                      <a:pt x="332" y="1070"/>
                    </a:lnTo>
                    <a:lnTo>
                      <a:pt x="332" y="722"/>
                    </a:lnTo>
                    <a:lnTo>
                      <a:pt x="332" y="722"/>
                    </a:lnTo>
                    <a:lnTo>
                      <a:pt x="370" y="722"/>
                    </a:lnTo>
                    <a:lnTo>
                      <a:pt x="370" y="722"/>
                    </a:lnTo>
                    <a:lnTo>
                      <a:pt x="370" y="1026"/>
                    </a:lnTo>
                    <a:lnTo>
                      <a:pt x="370" y="1330"/>
                    </a:lnTo>
                    <a:lnTo>
                      <a:pt x="370" y="1330"/>
                    </a:lnTo>
                    <a:lnTo>
                      <a:pt x="370" y="1362"/>
                    </a:lnTo>
                    <a:lnTo>
                      <a:pt x="374" y="1396"/>
                    </a:lnTo>
                    <a:lnTo>
                      <a:pt x="380" y="1428"/>
                    </a:lnTo>
                    <a:lnTo>
                      <a:pt x="390" y="1460"/>
                    </a:lnTo>
                    <a:lnTo>
                      <a:pt x="390" y="1460"/>
                    </a:lnTo>
                    <a:lnTo>
                      <a:pt x="400" y="1468"/>
                    </a:lnTo>
                    <a:lnTo>
                      <a:pt x="412" y="1472"/>
                    </a:lnTo>
                    <a:lnTo>
                      <a:pt x="424" y="1478"/>
                    </a:lnTo>
                    <a:lnTo>
                      <a:pt x="436" y="1480"/>
                    </a:lnTo>
                    <a:lnTo>
                      <a:pt x="448" y="1482"/>
                    </a:lnTo>
                    <a:lnTo>
                      <a:pt x="462" y="1482"/>
                    </a:lnTo>
                    <a:lnTo>
                      <a:pt x="474" y="1480"/>
                    </a:lnTo>
                    <a:lnTo>
                      <a:pt x="486" y="1476"/>
                    </a:lnTo>
                    <a:lnTo>
                      <a:pt x="498" y="1472"/>
                    </a:lnTo>
                    <a:lnTo>
                      <a:pt x="508" y="1466"/>
                    </a:lnTo>
                    <a:lnTo>
                      <a:pt x="516" y="1460"/>
                    </a:lnTo>
                    <a:lnTo>
                      <a:pt x="524" y="1450"/>
                    </a:lnTo>
                    <a:lnTo>
                      <a:pt x="532" y="1440"/>
                    </a:lnTo>
                    <a:lnTo>
                      <a:pt x="536" y="1430"/>
                    </a:lnTo>
                    <a:lnTo>
                      <a:pt x="538" y="1416"/>
                    </a:lnTo>
                    <a:lnTo>
                      <a:pt x="540" y="1402"/>
                    </a:lnTo>
                    <a:lnTo>
                      <a:pt x="540" y="1402"/>
                    </a:lnTo>
                    <a:lnTo>
                      <a:pt x="540" y="1114"/>
                    </a:lnTo>
                    <a:lnTo>
                      <a:pt x="540" y="824"/>
                    </a:lnTo>
                    <a:lnTo>
                      <a:pt x="540" y="534"/>
                    </a:lnTo>
                    <a:lnTo>
                      <a:pt x="542" y="244"/>
                    </a:lnTo>
                    <a:lnTo>
                      <a:pt x="542" y="244"/>
                    </a:lnTo>
                    <a:lnTo>
                      <a:pt x="578" y="244"/>
                    </a:lnTo>
                    <a:lnTo>
                      <a:pt x="578" y="244"/>
                    </a:lnTo>
                    <a:lnTo>
                      <a:pt x="578" y="340"/>
                    </a:lnTo>
                    <a:lnTo>
                      <a:pt x="578" y="436"/>
                    </a:lnTo>
                    <a:lnTo>
                      <a:pt x="578" y="628"/>
                    </a:lnTo>
                    <a:lnTo>
                      <a:pt x="578" y="628"/>
                    </a:lnTo>
                    <a:lnTo>
                      <a:pt x="580" y="646"/>
                    </a:lnTo>
                    <a:lnTo>
                      <a:pt x="582" y="662"/>
                    </a:lnTo>
                    <a:lnTo>
                      <a:pt x="588" y="680"/>
                    </a:lnTo>
                    <a:lnTo>
                      <a:pt x="596" y="696"/>
                    </a:lnTo>
                    <a:lnTo>
                      <a:pt x="606" y="710"/>
                    </a:lnTo>
                    <a:lnTo>
                      <a:pt x="612" y="716"/>
                    </a:lnTo>
                    <a:lnTo>
                      <a:pt x="618" y="720"/>
                    </a:lnTo>
                    <a:lnTo>
                      <a:pt x="626" y="724"/>
                    </a:lnTo>
                    <a:lnTo>
                      <a:pt x="634" y="724"/>
                    </a:lnTo>
                    <a:lnTo>
                      <a:pt x="644" y="726"/>
                    </a:lnTo>
                    <a:lnTo>
                      <a:pt x="654" y="724"/>
                    </a:lnTo>
                    <a:lnTo>
                      <a:pt x="654" y="724"/>
                    </a:lnTo>
                    <a:lnTo>
                      <a:pt x="664" y="722"/>
                    </a:lnTo>
                    <a:lnTo>
                      <a:pt x="674" y="720"/>
                    </a:lnTo>
                    <a:lnTo>
                      <a:pt x="684" y="712"/>
                    </a:lnTo>
                    <a:lnTo>
                      <a:pt x="690" y="704"/>
                    </a:lnTo>
                    <a:lnTo>
                      <a:pt x="696" y="694"/>
                    </a:lnTo>
                    <a:lnTo>
                      <a:pt x="700" y="684"/>
                    </a:lnTo>
                    <a:lnTo>
                      <a:pt x="702" y="672"/>
                    </a:lnTo>
                    <a:lnTo>
                      <a:pt x="702" y="662"/>
                    </a:lnTo>
                    <a:lnTo>
                      <a:pt x="702" y="662"/>
                    </a:lnTo>
                    <a:lnTo>
                      <a:pt x="704" y="418"/>
                    </a:lnTo>
                    <a:lnTo>
                      <a:pt x="702" y="176"/>
                    </a:lnTo>
                    <a:lnTo>
                      <a:pt x="702" y="176"/>
                    </a:lnTo>
                    <a:lnTo>
                      <a:pt x="702" y="152"/>
                    </a:lnTo>
                    <a:lnTo>
                      <a:pt x="698" y="130"/>
                    </a:lnTo>
                    <a:lnTo>
                      <a:pt x="692" y="106"/>
                    </a:lnTo>
                    <a:lnTo>
                      <a:pt x="682" y="86"/>
                    </a:lnTo>
                    <a:lnTo>
                      <a:pt x="668" y="66"/>
                    </a:lnTo>
                    <a:lnTo>
                      <a:pt x="654" y="50"/>
                    </a:lnTo>
                    <a:lnTo>
                      <a:pt x="636" y="36"/>
                    </a:lnTo>
                    <a:lnTo>
                      <a:pt x="614" y="24"/>
                    </a:lnTo>
                    <a:lnTo>
                      <a:pt x="61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48"/>
            <p:cNvGrpSpPr/>
            <p:nvPr/>
          </p:nvGrpSpPr>
          <p:grpSpPr>
            <a:xfrm>
              <a:off x="13704888" y="5292725"/>
              <a:ext cx="1285875" cy="2889250"/>
              <a:chOff x="13704888" y="5292725"/>
              <a:chExt cx="1285875" cy="2889250"/>
            </a:xfrm>
            <a:grpFill/>
          </p:grpSpPr>
          <p:sp>
            <p:nvSpPr>
              <p:cNvPr id="56" name="Freeform 19"/>
              <p:cNvSpPr>
                <a:spLocks/>
              </p:cNvSpPr>
              <p:nvPr/>
            </p:nvSpPr>
            <p:spPr bwMode="auto">
              <a:xfrm>
                <a:off x="14111288" y="5292725"/>
                <a:ext cx="473075" cy="466725"/>
              </a:xfrm>
              <a:custGeom>
                <a:avLst/>
                <a:gdLst>
                  <a:gd name="T0" fmla="*/ 178 w 298"/>
                  <a:gd name="T1" fmla="*/ 4 h 294"/>
                  <a:gd name="T2" fmla="*/ 178 w 298"/>
                  <a:gd name="T3" fmla="*/ 4 h 294"/>
                  <a:gd name="T4" fmla="*/ 160 w 298"/>
                  <a:gd name="T5" fmla="*/ 0 h 294"/>
                  <a:gd name="T6" fmla="*/ 142 w 298"/>
                  <a:gd name="T7" fmla="*/ 0 h 294"/>
                  <a:gd name="T8" fmla="*/ 126 w 298"/>
                  <a:gd name="T9" fmla="*/ 2 h 294"/>
                  <a:gd name="T10" fmla="*/ 108 w 298"/>
                  <a:gd name="T11" fmla="*/ 8 h 294"/>
                  <a:gd name="T12" fmla="*/ 92 w 298"/>
                  <a:gd name="T13" fmla="*/ 14 h 294"/>
                  <a:gd name="T14" fmla="*/ 76 w 298"/>
                  <a:gd name="T15" fmla="*/ 22 h 294"/>
                  <a:gd name="T16" fmla="*/ 60 w 298"/>
                  <a:gd name="T17" fmla="*/ 32 h 294"/>
                  <a:gd name="T18" fmla="*/ 48 w 298"/>
                  <a:gd name="T19" fmla="*/ 44 h 294"/>
                  <a:gd name="T20" fmla="*/ 34 w 298"/>
                  <a:gd name="T21" fmla="*/ 56 h 294"/>
                  <a:gd name="T22" fmla="*/ 24 w 298"/>
                  <a:gd name="T23" fmla="*/ 70 h 294"/>
                  <a:gd name="T24" fmla="*/ 16 w 298"/>
                  <a:gd name="T25" fmla="*/ 86 h 294"/>
                  <a:gd name="T26" fmla="*/ 8 w 298"/>
                  <a:gd name="T27" fmla="*/ 102 h 294"/>
                  <a:gd name="T28" fmla="*/ 4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6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8 w 298"/>
                  <a:gd name="T65" fmla="*/ 268 h 294"/>
                  <a:gd name="T66" fmla="*/ 254 w 298"/>
                  <a:gd name="T67" fmla="*/ 254 h 294"/>
                  <a:gd name="T68" fmla="*/ 268 w 298"/>
                  <a:gd name="T69" fmla="*/ 236 h 294"/>
                  <a:gd name="T70" fmla="*/ 268 w 298"/>
                  <a:gd name="T71" fmla="*/ 236 h 294"/>
                  <a:gd name="T72" fmla="*/ 280 w 298"/>
                  <a:gd name="T73" fmla="*/ 222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8 h 294"/>
                  <a:gd name="T88" fmla="*/ 280 w 298"/>
                  <a:gd name="T89" fmla="*/ 80 h 294"/>
                  <a:gd name="T90" fmla="*/ 270 w 298"/>
                  <a:gd name="T91" fmla="*/ 66 h 294"/>
                  <a:gd name="T92" fmla="*/ 258 w 298"/>
                  <a:gd name="T93" fmla="*/ 50 h 294"/>
                  <a:gd name="T94" fmla="*/ 244 w 298"/>
                  <a:gd name="T95" fmla="*/ 38 h 294"/>
                  <a:gd name="T96" fmla="*/ 230 w 298"/>
                  <a:gd name="T97" fmla="*/ 26 h 294"/>
                  <a:gd name="T98" fmla="*/ 214 w 298"/>
                  <a:gd name="T99" fmla="*/ 16 h 294"/>
                  <a:gd name="T100" fmla="*/ 196 w 298"/>
                  <a:gd name="T101" fmla="*/ 8 h 294"/>
                  <a:gd name="T102" fmla="*/ 178 w 298"/>
                  <a:gd name="T103" fmla="*/ 4 h 294"/>
                  <a:gd name="T104" fmla="*/ 178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4"/>
                    </a:moveTo>
                    <a:lnTo>
                      <a:pt x="178" y="4"/>
                    </a:lnTo>
                    <a:lnTo>
                      <a:pt x="160" y="0"/>
                    </a:lnTo>
                    <a:lnTo>
                      <a:pt x="142" y="0"/>
                    </a:lnTo>
                    <a:lnTo>
                      <a:pt x="126" y="2"/>
                    </a:lnTo>
                    <a:lnTo>
                      <a:pt x="108" y="8"/>
                    </a:lnTo>
                    <a:lnTo>
                      <a:pt x="92" y="14"/>
                    </a:lnTo>
                    <a:lnTo>
                      <a:pt x="76" y="22"/>
                    </a:lnTo>
                    <a:lnTo>
                      <a:pt x="60" y="32"/>
                    </a:lnTo>
                    <a:lnTo>
                      <a:pt x="48" y="44"/>
                    </a:lnTo>
                    <a:lnTo>
                      <a:pt x="34" y="56"/>
                    </a:lnTo>
                    <a:lnTo>
                      <a:pt x="24" y="70"/>
                    </a:lnTo>
                    <a:lnTo>
                      <a:pt x="16" y="86"/>
                    </a:lnTo>
                    <a:lnTo>
                      <a:pt x="8" y="102"/>
                    </a:lnTo>
                    <a:lnTo>
                      <a:pt x="4" y="118"/>
                    </a:lnTo>
                    <a:lnTo>
                      <a:pt x="0" y="136"/>
                    </a:lnTo>
                    <a:lnTo>
                      <a:pt x="0" y="154"/>
                    </a:lnTo>
                    <a:lnTo>
                      <a:pt x="2" y="172"/>
                    </a:lnTo>
                    <a:lnTo>
                      <a:pt x="2" y="172"/>
                    </a:lnTo>
                    <a:lnTo>
                      <a:pt x="6" y="196"/>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8" y="268"/>
                    </a:lnTo>
                    <a:lnTo>
                      <a:pt x="254" y="254"/>
                    </a:lnTo>
                    <a:lnTo>
                      <a:pt x="268" y="236"/>
                    </a:lnTo>
                    <a:lnTo>
                      <a:pt x="268" y="236"/>
                    </a:lnTo>
                    <a:lnTo>
                      <a:pt x="280" y="222"/>
                    </a:lnTo>
                    <a:lnTo>
                      <a:pt x="288" y="204"/>
                    </a:lnTo>
                    <a:lnTo>
                      <a:pt x="294" y="186"/>
                    </a:lnTo>
                    <a:lnTo>
                      <a:pt x="298" y="168"/>
                    </a:lnTo>
                    <a:lnTo>
                      <a:pt x="298" y="150"/>
                    </a:lnTo>
                    <a:lnTo>
                      <a:pt x="296" y="132"/>
                    </a:lnTo>
                    <a:lnTo>
                      <a:pt x="292" y="114"/>
                    </a:lnTo>
                    <a:lnTo>
                      <a:pt x="286" y="98"/>
                    </a:lnTo>
                    <a:lnTo>
                      <a:pt x="280" y="80"/>
                    </a:lnTo>
                    <a:lnTo>
                      <a:pt x="270" y="66"/>
                    </a:lnTo>
                    <a:lnTo>
                      <a:pt x="258" y="50"/>
                    </a:lnTo>
                    <a:lnTo>
                      <a:pt x="244" y="38"/>
                    </a:lnTo>
                    <a:lnTo>
                      <a:pt x="230" y="26"/>
                    </a:lnTo>
                    <a:lnTo>
                      <a:pt x="214" y="16"/>
                    </a:lnTo>
                    <a:lnTo>
                      <a:pt x="196" y="8"/>
                    </a:lnTo>
                    <a:lnTo>
                      <a:pt x="178" y="4"/>
                    </a:lnTo>
                    <a:lnTo>
                      <a:pt x="1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0"/>
              <p:cNvSpPr>
                <a:spLocks/>
              </p:cNvSpPr>
              <p:nvPr/>
            </p:nvSpPr>
            <p:spPr bwMode="auto">
              <a:xfrm>
                <a:off x="13704888" y="5835650"/>
                <a:ext cx="1285875" cy="2346325"/>
              </a:xfrm>
              <a:custGeom>
                <a:avLst/>
                <a:gdLst>
                  <a:gd name="T0" fmla="*/ 624 w 810"/>
                  <a:gd name="T1" fmla="*/ 38 h 1478"/>
                  <a:gd name="T2" fmla="*/ 576 w 810"/>
                  <a:gd name="T3" fmla="*/ 12 h 1478"/>
                  <a:gd name="T4" fmla="*/ 508 w 810"/>
                  <a:gd name="T5" fmla="*/ 0 h 1478"/>
                  <a:gd name="T6" fmla="*/ 398 w 810"/>
                  <a:gd name="T7" fmla="*/ 2 h 1478"/>
                  <a:gd name="T8" fmla="*/ 334 w 810"/>
                  <a:gd name="T9" fmla="*/ 0 h 1478"/>
                  <a:gd name="T10" fmla="*/ 246 w 810"/>
                  <a:gd name="T11" fmla="*/ 10 h 1478"/>
                  <a:gd name="T12" fmla="*/ 194 w 810"/>
                  <a:gd name="T13" fmla="*/ 34 h 1478"/>
                  <a:gd name="T14" fmla="*/ 162 w 810"/>
                  <a:gd name="T15" fmla="*/ 62 h 1478"/>
                  <a:gd name="T16" fmla="*/ 134 w 810"/>
                  <a:gd name="T17" fmla="*/ 110 h 1478"/>
                  <a:gd name="T18" fmla="*/ 94 w 810"/>
                  <a:gd name="T19" fmla="*/ 220 h 1478"/>
                  <a:gd name="T20" fmla="*/ 50 w 810"/>
                  <a:gd name="T21" fmla="*/ 370 h 1478"/>
                  <a:gd name="T22" fmla="*/ 32 w 810"/>
                  <a:gd name="T23" fmla="*/ 434 h 1478"/>
                  <a:gd name="T24" fmla="*/ 4 w 810"/>
                  <a:gd name="T25" fmla="*/ 528 h 1478"/>
                  <a:gd name="T26" fmla="*/ 0 w 810"/>
                  <a:gd name="T27" fmla="*/ 610 h 1478"/>
                  <a:gd name="T28" fmla="*/ 18 w 810"/>
                  <a:gd name="T29" fmla="*/ 630 h 1478"/>
                  <a:gd name="T30" fmla="*/ 64 w 810"/>
                  <a:gd name="T31" fmla="*/ 632 h 1478"/>
                  <a:gd name="T32" fmla="*/ 102 w 810"/>
                  <a:gd name="T33" fmla="*/ 610 h 1478"/>
                  <a:gd name="T34" fmla="*/ 140 w 810"/>
                  <a:gd name="T35" fmla="*/ 506 h 1478"/>
                  <a:gd name="T36" fmla="*/ 224 w 810"/>
                  <a:gd name="T37" fmla="*/ 234 h 1478"/>
                  <a:gd name="T38" fmla="*/ 230 w 810"/>
                  <a:gd name="T39" fmla="*/ 220 h 1478"/>
                  <a:gd name="T40" fmla="*/ 262 w 810"/>
                  <a:gd name="T41" fmla="*/ 188 h 1478"/>
                  <a:gd name="T42" fmla="*/ 166 w 810"/>
                  <a:gd name="T43" fmla="*/ 542 h 1478"/>
                  <a:gd name="T44" fmla="*/ 64 w 810"/>
                  <a:gd name="T45" fmla="*/ 892 h 1478"/>
                  <a:gd name="T46" fmla="*/ 240 w 810"/>
                  <a:gd name="T47" fmla="*/ 1020 h 1478"/>
                  <a:gd name="T48" fmla="*/ 240 w 810"/>
                  <a:gd name="T49" fmla="*/ 1398 h 1478"/>
                  <a:gd name="T50" fmla="*/ 244 w 810"/>
                  <a:gd name="T51" fmla="*/ 1426 h 1478"/>
                  <a:gd name="T52" fmla="*/ 268 w 810"/>
                  <a:gd name="T53" fmla="*/ 1464 h 1478"/>
                  <a:gd name="T54" fmla="*/ 308 w 810"/>
                  <a:gd name="T55" fmla="*/ 1478 h 1478"/>
                  <a:gd name="T56" fmla="*/ 336 w 810"/>
                  <a:gd name="T57" fmla="*/ 1472 h 1478"/>
                  <a:gd name="T58" fmla="*/ 366 w 810"/>
                  <a:gd name="T59" fmla="*/ 1442 h 1478"/>
                  <a:gd name="T60" fmla="*/ 376 w 810"/>
                  <a:gd name="T61" fmla="*/ 1400 h 1478"/>
                  <a:gd name="T62" fmla="*/ 376 w 810"/>
                  <a:gd name="T63" fmla="*/ 1146 h 1478"/>
                  <a:gd name="T64" fmla="*/ 376 w 810"/>
                  <a:gd name="T65" fmla="*/ 892 h 1478"/>
                  <a:gd name="T66" fmla="*/ 418 w 810"/>
                  <a:gd name="T67" fmla="*/ 1024 h 1478"/>
                  <a:gd name="T68" fmla="*/ 420 w 810"/>
                  <a:gd name="T69" fmla="*/ 1418 h 1478"/>
                  <a:gd name="T70" fmla="*/ 428 w 810"/>
                  <a:gd name="T71" fmla="*/ 1444 h 1478"/>
                  <a:gd name="T72" fmla="*/ 452 w 810"/>
                  <a:gd name="T73" fmla="*/ 1468 h 1478"/>
                  <a:gd name="T74" fmla="*/ 486 w 810"/>
                  <a:gd name="T75" fmla="*/ 1476 h 1478"/>
                  <a:gd name="T76" fmla="*/ 520 w 810"/>
                  <a:gd name="T77" fmla="*/ 1468 h 1478"/>
                  <a:gd name="T78" fmla="*/ 544 w 810"/>
                  <a:gd name="T79" fmla="*/ 1444 h 1478"/>
                  <a:gd name="T80" fmla="*/ 552 w 810"/>
                  <a:gd name="T81" fmla="*/ 1418 h 1478"/>
                  <a:gd name="T82" fmla="*/ 554 w 810"/>
                  <a:gd name="T83" fmla="*/ 1024 h 1478"/>
                  <a:gd name="T84" fmla="*/ 730 w 810"/>
                  <a:gd name="T85" fmla="*/ 892 h 1478"/>
                  <a:gd name="T86" fmla="*/ 642 w 810"/>
                  <a:gd name="T87" fmla="*/ 546 h 1478"/>
                  <a:gd name="T88" fmla="*/ 556 w 810"/>
                  <a:gd name="T89" fmla="*/ 200 h 1478"/>
                  <a:gd name="T90" fmla="*/ 598 w 810"/>
                  <a:gd name="T91" fmla="*/ 264 h 1478"/>
                  <a:gd name="T92" fmla="*/ 666 w 810"/>
                  <a:gd name="T93" fmla="*/ 502 h 1478"/>
                  <a:gd name="T94" fmla="*/ 694 w 810"/>
                  <a:gd name="T95" fmla="*/ 596 h 1478"/>
                  <a:gd name="T96" fmla="*/ 710 w 810"/>
                  <a:gd name="T97" fmla="*/ 622 h 1478"/>
                  <a:gd name="T98" fmla="*/ 736 w 810"/>
                  <a:gd name="T99" fmla="*/ 634 h 1478"/>
                  <a:gd name="T100" fmla="*/ 768 w 810"/>
                  <a:gd name="T101" fmla="*/ 634 h 1478"/>
                  <a:gd name="T102" fmla="*/ 794 w 810"/>
                  <a:gd name="T103" fmla="*/ 622 h 1478"/>
                  <a:gd name="T104" fmla="*/ 810 w 810"/>
                  <a:gd name="T105" fmla="*/ 598 h 1478"/>
                  <a:gd name="T106" fmla="*/ 806 w 810"/>
                  <a:gd name="T107" fmla="*/ 552 h 1478"/>
                  <a:gd name="T108" fmla="*/ 780 w 810"/>
                  <a:gd name="T109" fmla="*/ 446 h 1478"/>
                  <a:gd name="T110" fmla="*/ 738 w 810"/>
                  <a:gd name="T111" fmla="*/ 308 h 1478"/>
                  <a:gd name="T112" fmla="*/ 700 w 810"/>
                  <a:gd name="T113" fmla="*/ 174 h 1478"/>
                  <a:gd name="T114" fmla="*/ 658 w 810"/>
                  <a:gd name="T115" fmla="*/ 78 h 1478"/>
                  <a:gd name="T116" fmla="*/ 638 w 810"/>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478">
                    <a:moveTo>
                      <a:pt x="638" y="50"/>
                    </a:moveTo>
                    <a:lnTo>
                      <a:pt x="638" y="50"/>
                    </a:lnTo>
                    <a:lnTo>
                      <a:pt x="624" y="38"/>
                    </a:lnTo>
                    <a:lnTo>
                      <a:pt x="608" y="28"/>
                    </a:lnTo>
                    <a:lnTo>
                      <a:pt x="592" y="20"/>
                    </a:lnTo>
                    <a:lnTo>
                      <a:pt x="576" y="12"/>
                    </a:lnTo>
                    <a:lnTo>
                      <a:pt x="560" y="8"/>
                    </a:lnTo>
                    <a:lnTo>
                      <a:pt x="542" y="4"/>
                    </a:lnTo>
                    <a:lnTo>
                      <a:pt x="508" y="0"/>
                    </a:lnTo>
                    <a:lnTo>
                      <a:pt x="470" y="0"/>
                    </a:lnTo>
                    <a:lnTo>
                      <a:pt x="434" y="0"/>
                    </a:lnTo>
                    <a:lnTo>
                      <a:pt x="398" y="2"/>
                    </a:lnTo>
                    <a:lnTo>
                      <a:pt x="364" y="0"/>
                    </a:lnTo>
                    <a:lnTo>
                      <a:pt x="364" y="0"/>
                    </a:lnTo>
                    <a:lnTo>
                      <a:pt x="334" y="0"/>
                    </a:lnTo>
                    <a:lnTo>
                      <a:pt x="304" y="0"/>
                    </a:lnTo>
                    <a:lnTo>
                      <a:pt x="276" y="4"/>
                    </a:lnTo>
                    <a:lnTo>
                      <a:pt x="246" y="10"/>
                    </a:lnTo>
                    <a:lnTo>
                      <a:pt x="218" y="20"/>
                    </a:lnTo>
                    <a:lnTo>
                      <a:pt x="206" y="26"/>
                    </a:lnTo>
                    <a:lnTo>
                      <a:pt x="194" y="34"/>
                    </a:lnTo>
                    <a:lnTo>
                      <a:pt x="182" y="42"/>
                    </a:lnTo>
                    <a:lnTo>
                      <a:pt x="172" y="52"/>
                    </a:lnTo>
                    <a:lnTo>
                      <a:pt x="162" y="62"/>
                    </a:lnTo>
                    <a:lnTo>
                      <a:pt x="152" y="76"/>
                    </a:lnTo>
                    <a:lnTo>
                      <a:pt x="152" y="76"/>
                    </a:lnTo>
                    <a:lnTo>
                      <a:pt x="134" y="110"/>
                    </a:lnTo>
                    <a:lnTo>
                      <a:pt x="118" y="146"/>
                    </a:lnTo>
                    <a:lnTo>
                      <a:pt x="106" y="182"/>
                    </a:lnTo>
                    <a:lnTo>
                      <a:pt x="94" y="220"/>
                    </a:lnTo>
                    <a:lnTo>
                      <a:pt x="74" y="296"/>
                    </a:lnTo>
                    <a:lnTo>
                      <a:pt x="62" y="334"/>
                    </a:lnTo>
                    <a:lnTo>
                      <a:pt x="50" y="370"/>
                    </a:lnTo>
                    <a:lnTo>
                      <a:pt x="50" y="370"/>
                    </a:lnTo>
                    <a:lnTo>
                      <a:pt x="42" y="402"/>
                    </a:lnTo>
                    <a:lnTo>
                      <a:pt x="32" y="434"/>
                    </a:lnTo>
                    <a:lnTo>
                      <a:pt x="20" y="464"/>
                    </a:lnTo>
                    <a:lnTo>
                      <a:pt x="12" y="496"/>
                    </a:lnTo>
                    <a:lnTo>
                      <a:pt x="4" y="528"/>
                    </a:lnTo>
                    <a:lnTo>
                      <a:pt x="0" y="560"/>
                    </a:lnTo>
                    <a:lnTo>
                      <a:pt x="0" y="594"/>
                    </a:lnTo>
                    <a:lnTo>
                      <a:pt x="0" y="610"/>
                    </a:lnTo>
                    <a:lnTo>
                      <a:pt x="4" y="626"/>
                    </a:lnTo>
                    <a:lnTo>
                      <a:pt x="4" y="626"/>
                    </a:lnTo>
                    <a:lnTo>
                      <a:pt x="18" y="630"/>
                    </a:lnTo>
                    <a:lnTo>
                      <a:pt x="34" y="634"/>
                    </a:lnTo>
                    <a:lnTo>
                      <a:pt x="50" y="634"/>
                    </a:lnTo>
                    <a:lnTo>
                      <a:pt x="64" y="632"/>
                    </a:lnTo>
                    <a:lnTo>
                      <a:pt x="78" y="628"/>
                    </a:lnTo>
                    <a:lnTo>
                      <a:pt x="90" y="620"/>
                    </a:lnTo>
                    <a:lnTo>
                      <a:pt x="102" y="610"/>
                    </a:lnTo>
                    <a:lnTo>
                      <a:pt x="110" y="596"/>
                    </a:lnTo>
                    <a:lnTo>
                      <a:pt x="110" y="596"/>
                    </a:lnTo>
                    <a:lnTo>
                      <a:pt x="140" y="506"/>
                    </a:lnTo>
                    <a:lnTo>
                      <a:pt x="168" y="416"/>
                    </a:lnTo>
                    <a:lnTo>
                      <a:pt x="196" y="324"/>
                    </a:lnTo>
                    <a:lnTo>
                      <a:pt x="224" y="234"/>
                    </a:lnTo>
                    <a:lnTo>
                      <a:pt x="224" y="234"/>
                    </a:lnTo>
                    <a:lnTo>
                      <a:pt x="226" y="228"/>
                    </a:lnTo>
                    <a:lnTo>
                      <a:pt x="230" y="220"/>
                    </a:lnTo>
                    <a:lnTo>
                      <a:pt x="240" y="208"/>
                    </a:lnTo>
                    <a:lnTo>
                      <a:pt x="262" y="188"/>
                    </a:lnTo>
                    <a:lnTo>
                      <a:pt x="262" y="188"/>
                    </a:lnTo>
                    <a:lnTo>
                      <a:pt x="240" y="278"/>
                    </a:lnTo>
                    <a:lnTo>
                      <a:pt x="216" y="366"/>
                    </a:lnTo>
                    <a:lnTo>
                      <a:pt x="166" y="542"/>
                    </a:lnTo>
                    <a:lnTo>
                      <a:pt x="114" y="716"/>
                    </a:lnTo>
                    <a:lnTo>
                      <a:pt x="64" y="892"/>
                    </a:lnTo>
                    <a:lnTo>
                      <a:pt x="64" y="892"/>
                    </a:lnTo>
                    <a:lnTo>
                      <a:pt x="238" y="892"/>
                    </a:lnTo>
                    <a:lnTo>
                      <a:pt x="238" y="892"/>
                    </a:lnTo>
                    <a:lnTo>
                      <a:pt x="240" y="1020"/>
                    </a:lnTo>
                    <a:lnTo>
                      <a:pt x="240" y="1146"/>
                    </a:lnTo>
                    <a:lnTo>
                      <a:pt x="240" y="1272"/>
                    </a:lnTo>
                    <a:lnTo>
                      <a:pt x="240" y="1398"/>
                    </a:lnTo>
                    <a:lnTo>
                      <a:pt x="240" y="1398"/>
                    </a:lnTo>
                    <a:lnTo>
                      <a:pt x="242" y="1412"/>
                    </a:lnTo>
                    <a:lnTo>
                      <a:pt x="244" y="1426"/>
                    </a:lnTo>
                    <a:lnTo>
                      <a:pt x="250" y="1440"/>
                    </a:lnTo>
                    <a:lnTo>
                      <a:pt x="258" y="1452"/>
                    </a:lnTo>
                    <a:lnTo>
                      <a:pt x="268" y="1464"/>
                    </a:lnTo>
                    <a:lnTo>
                      <a:pt x="278" y="1472"/>
                    </a:lnTo>
                    <a:lnTo>
                      <a:pt x="292" y="1476"/>
                    </a:lnTo>
                    <a:lnTo>
                      <a:pt x="308" y="1478"/>
                    </a:lnTo>
                    <a:lnTo>
                      <a:pt x="308" y="1478"/>
                    </a:lnTo>
                    <a:lnTo>
                      <a:pt x="322" y="1478"/>
                    </a:lnTo>
                    <a:lnTo>
                      <a:pt x="336" y="1472"/>
                    </a:lnTo>
                    <a:lnTo>
                      <a:pt x="348" y="1464"/>
                    </a:lnTo>
                    <a:lnTo>
                      <a:pt x="358" y="1454"/>
                    </a:lnTo>
                    <a:lnTo>
                      <a:pt x="366" y="1442"/>
                    </a:lnTo>
                    <a:lnTo>
                      <a:pt x="372" y="1430"/>
                    </a:lnTo>
                    <a:lnTo>
                      <a:pt x="376" y="1414"/>
                    </a:lnTo>
                    <a:lnTo>
                      <a:pt x="376" y="1400"/>
                    </a:lnTo>
                    <a:lnTo>
                      <a:pt x="376" y="1400"/>
                    </a:lnTo>
                    <a:lnTo>
                      <a:pt x="376" y="1274"/>
                    </a:lnTo>
                    <a:lnTo>
                      <a:pt x="376" y="1146"/>
                    </a:lnTo>
                    <a:lnTo>
                      <a:pt x="376" y="1020"/>
                    </a:lnTo>
                    <a:lnTo>
                      <a:pt x="376" y="892"/>
                    </a:lnTo>
                    <a:lnTo>
                      <a:pt x="376" y="892"/>
                    </a:lnTo>
                    <a:lnTo>
                      <a:pt x="418" y="894"/>
                    </a:lnTo>
                    <a:lnTo>
                      <a:pt x="418" y="894"/>
                    </a:lnTo>
                    <a:lnTo>
                      <a:pt x="418" y="1024"/>
                    </a:lnTo>
                    <a:lnTo>
                      <a:pt x="418" y="1156"/>
                    </a:lnTo>
                    <a:lnTo>
                      <a:pt x="418" y="1288"/>
                    </a:lnTo>
                    <a:lnTo>
                      <a:pt x="420" y="1418"/>
                    </a:lnTo>
                    <a:lnTo>
                      <a:pt x="420" y="1418"/>
                    </a:lnTo>
                    <a:lnTo>
                      <a:pt x="422" y="1432"/>
                    </a:lnTo>
                    <a:lnTo>
                      <a:pt x="428" y="1444"/>
                    </a:lnTo>
                    <a:lnTo>
                      <a:pt x="434" y="1454"/>
                    </a:lnTo>
                    <a:lnTo>
                      <a:pt x="442" y="1462"/>
                    </a:lnTo>
                    <a:lnTo>
                      <a:pt x="452" y="1468"/>
                    </a:lnTo>
                    <a:lnTo>
                      <a:pt x="462" y="1474"/>
                    </a:lnTo>
                    <a:lnTo>
                      <a:pt x="474" y="1476"/>
                    </a:lnTo>
                    <a:lnTo>
                      <a:pt x="486" y="1476"/>
                    </a:lnTo>
                    <a:lnTo>
                      <a:pt x="498" y="1476"/>
                    </a:lnTo>
                    <a:lnTo>
                      <a:pt x="508" y="1472"/>
                    </a:lnTo>
                    <a:lnTo>
                      <a:pt x="520" y="1468"/>
                    </a:lnTo>
                    <a:lnTo>
                      <a:pt x="530" y="1462"/>
                    </a:lnTo>
                    <a:lnTo>
                      <a:pt x="538" y="1454"/>
                    </a:lnTo>
                    <a:lnTo>
                      <a:pt x="544" y="1444"/>
                    </a:lnTo>
                    <a:lnTo>
                      <a:pt x="550" y="1432"/>
                    </a:lnTo>
                    <a:lnTo>
                      <a:pt x="552" y="1418"/>
                    </a:lnTo>
                    <a:lnTo>
                      <a:pt x="552" y="1418"/>
                    </a:lnTo>
                    <a:lnTo>
                      <a:pt x="554" y="1286"/>
                    </a:lnTo>
                    <a:lnTo>
                      <a:pt x="554" y="1156"/>
                    </a:lnTo>
                    <a:lnTo>
                      <a:pt x="554" y="1024"/>
                    </a:lnTo>
                    <a:lnTo>
                      <a:pt x="554" y="894"/>
                    </a:lnTo>
                    <a:lnTo>
                      <a:pt x="554" y="894"/>
                    </a:lnTo>
                    <a:lnTo>
                      <a:pt x="730" y="892"/>
                    </a:lnTo>
                    <a:lnTo>
                      <a:pt x="730" y="892"/>
                    </a:lnTo>
                    <a:lnTo>
                      <a:pt x="686" y="720"/>
                    </a:lnTo>
                    <a:lnTo>
                      <a:pt x="642" y="546"/>
                    </a:lnTo>
                    <a:lnTo>
                      <a:pt x="598" y="374"/>
                    </a:lnTo>
                    <a:lnTo>
                      <a:pt x="556" y="200"/>
                    </a:lnTo>
                    <a:lnTo>
                      <a:pt x="556" y="200"/>
                    </a:lnTo>
                    <a:lnTo>
                      <a:pt x="582" y="218"/>
                    </a:lnTo>
                    <a:lnTo>
                      <a:pt x="582" y="218"/>
                    </a:lnTo>
                    <a:lnTo>
                      <a:pt x="598" y="264"/>
                    </a:lnTo>
                    <a:lnTo>
                      <a:pt x="612" y="312"/>
                    </a:lnTo>
                    <a:lnTo>
                      <a:pt x="638" y="406"/>
                    </a:lnTo>
                    <a:lnTo>
                      <a:pt x="666" y="502"/>
                    </a:lnTo>
                    <a:lnTo>
                      <a:pt x="680" y="550"/>
                    </a:lnTo>
                    <a:lnTo>
                      <a:pt x="694" y="596"/>
                    </a:lnTo>
                    <a:lnTo>
                      <a:pt x="694" y="596"/>
                    </a:lnTo>
                    <a:lnTo>
                      <a:pt x="698" y="606"/>
                    </a:lnTo>
                    <a:lnTo>
                      <a:pt x="704" y="614"/>
                    </a:lnTo>
                    <a:lnTo>
                      <a:pt x="710" y="622"/>
                    </a:lnTo>
                    <a:lnTo>
                      <a:pt x="718" y="626"/>
                    </a:lnTo>
                    <a:lnTo>
                      <a:pt x="728" y="632"/>
                    </a:lnTo>
                    <a:lnTo>
                      <a:pt x="736" y="634"/>
                    </a:lnTo>
                    <a:lnTo>
                      <a:pt x="746" y="636"/>
                    </a:lnTo>
                    <a:lnTo>
                      <a:pt x="758" y="636"/>
                    </a:lnTo>
                    <a:lnTo>
                      <a:pt x="768" y="634"/>
                    </a:lnTo>
                    <a:lnTo>
                      <a:pt x="776" y="632"/>
                    </a:lnTo>
                    <a:lnTo>
                      <a:pt x="786" y="628"/>
                    </a:lnTo>
                    <a:lnTo>
                      <a:pt x="794" y="622"/>
                    </a:lnTo>
                    <a:lnTo>
                      <a:pt x="800" y="616"/>
                    </a:lnTo>
                    <a:lnTo>
                      <a:pt x="806" y="608"/>
                    </a:lnTo>
                    <a:lnTo>
                      <a:pt x="810" y="598"/>
                    </a:lnTo>
                    <a:lnTo>
                      <a:pt x="810" y="586"/>
                    </a:lnTo>
                    <a:lnTo>
                      <a:pt x="810" y="586"/>
                    </a:lnTo>
                    <a:lnTo>
                      <a:pt x="806" y="552"/>
                    </a:lnTo>
                    <a:lnTo>
                      <a:pt x="798" y="516"/>
                    </a:lnTo>
                    <a:lnTo>
                      <a:pt x="790" y="482"/>
                    </a:lnTo>
                    <a:lnTo>
                      <a:pt x="780" y="446"/>
                    </a:lnTo>
                    <a:lnTo>
                      <a:pt x="758" y="378"/>
                    </a:lnTo>
                    <a:lnTo>
                      <a:pt x="738" y="308"/>
                    </a:lnTo>
                    <a:lnTo>
                      <a:pt x="738" y="308"/>
                    </a:lnTo>
                    <a:lnTo>
                      <a:pt x="728" y="276"/>
                    </a:lnTo>
                    <a:lnTo>
                      <a:pt x="720" y="242"/>
                    </a:lnTo>
                    <a:lnTo>
                      <a:pt x="700" y="174"/>
                    </a:lnTo>
                    <a:lnTo>
                      <a:pt x="690" y="140"/>
                    </a:lnTo>
                    <a:lnTo>
                      <a:pt x="676" y="108"/>
                    </a:lnTo>
                    <a:lnTo>
                      <a:pt x="658" y="78"/>
                    </a:lnTo>
                    <a:lnTo>
                      <a:pt x="648"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 name="Group 49"/>
            <p:cNvGrpSpPr/>
            <p:nvPr/>
          </p:nvGrpSpPr>
          <p:grpSpPr>
            <a:xfrm>
              <a:off x="14955838" y="4721225"/>
              <a:ext cx="1117600" cy="1660525"/>
              <a:chOff x="14955838" y="4721225"/>
              <a:chExt cx="1117600" cy="1660525"/>
            </a:xfrm>
            <a:grpFill/>
          </p:grpSpPr>
          <p:sp>
            <p:nvSpPr>
              <p:cNvPr id="54" name="Freeform 12"/>
              <p:cNvSpPr>
                <a:spLocks/>
              </p:cNvSpPr>
              <p:nvPr/>
            </p:nvSpPr>
            <p:spPr bwMode="auto">
              <a:xfrm>
                <a:off x="15292388" y="4721225"/>
                <a:ext cx="463550" cy="460375"/>
              </a:xfrm>
              <a:custGeom>
                <a:avLst/>
                <a:gdLst>
                  <a:gd name="T0" fmla="*/ 108 w 292"/>
                  <a:gd name="T1" fmla="*/ 6 h 290"/>
                  <a:gd name="T2" fmla="*/ 108 w 292"/>
                  <a:gd name="T3" fmla="*/ 6 h 290"/>
                  <a:gd name="T4" fmla="*/ 128 w 292"/>
                  <a:gd name="T5" fmla="*/ 2 h 290"/>
                  <a:gd name="T6" fmla="*/ 148 w 292"/>
                  <a:gd name="T7" fmla="*/ 0 h 290"/>
                  <a:gd name="T8" fmla="*/ 168 w 292"/>
                  <a:gd name="T9" fmla="*/ 2 h 290"/>
                  <a:gd name="T10" fmla="*/ 186 w 292"/>
                  <a:gd name="T11" fmla="*/ 8 h 290"/>
                  <a:gd name="T12" fmla="*/ 206 w 292"/>
                  <a:gd name="T13" fmla="*/ 14 h 290"/>
                  <a:gd name="T14" fmla="*/ 222 w 292"/>
                  <a:gd name="T15" fmla="*/ 24 h 290"/>
                  <a:gd name="T16" fmla="*/ 238 w 292"/>
                  <a:gd name="T17" fmla="*/ 36 h 290"/>
                  <a:gd name="T18" fmla="*/ 252 w 292"/>
                  <a:gd name="T19" fmla="*/ 50 h 290"/>
                  <a:gd name="T20" fmla="*/ 266 w 292"/>
                  <a:gd name="T21" fmla="*/ 66 h 290"/>
                  <a:gd name="T22" fmla="*/ 276 w 292"/>
                  <a:gd name="T23" fmla="*/ 82 h 290"/>
                  <a:gd name="T24" fmla="*/ 284 w 292"/>
                  <a:gd name="T25" fmla="*/ 100 h 290"/>
                  <a:gd name="T26" fmla="*/ 290 w 292"/>
                  <a:gd name="T27" fmla="*/ 118 h 290"/>
                  <a:gd name="T28" fmla="*/ 292 w 292"/>
                  <a:gd name="T29" fmla="*/ 138 h 290"/>
                  <a:gd name="T30" fmla="*/ 292 w 292"/>
                  <a:gd name="T31" fmla="*/ 156 h 290"/>
                  <a:gd name="T32" fmla="*/ 290 w 292"/>
                  <a:gd name="T33" fmla="*/ 176 h 290"/>
                  <a:gd name="T34" fmla="*/ 282 w 292"/>
                  <a:gd name="T35" fmla="*/ 196 h 290"/>
                  <a:gd name="T36" fmla="*/ 282 w 292"/>
                  <a:gd name="T37" fmla="*/ 196 h 290"/>
                  <a:gd name="T38" fmla="*/ 276 w 292"/>
                  <a:gd name="T39" fmla="*/ 214 h 290"/>
                  <a:gd name="T40" fmla="*/ 266 w 292"/>
                  <a:gd name="T41" fmla="*/ 230 h 290"/>
                  <a:gd name="T42" fmla="*/ 254 w 292"/>
                  <a:gd name="T43" fmla="*/ 246 h 290"/>
                  <a:gd name="T44" fmla="*/ 240 w 292"/>
                  <a:gd name="T45" fmla="*/ 258 h 290"/>
                  <a:gd name="T46" fmla="*/ 224 w 292"/>
                  <a:gd name="T47" fmla="*/ 268 h 290"/>
                  <a:gd name="T48" fmla="*/ 208 w 292"/>
                  <a:gd name="T49" fmla="*/ 278 h 290"/>
                  <a:gd name="T50" fmla="*/ 190 w 292"/>
                  <a:gd name="T51" fmla="*/ 284 h 290"/>
                  <a:gd name="T52" fmla="*/ 172 w 292"/>
                  <a:gd name="T53" fmla="*/ 288 h 290"/>
                  <a:gd name="T54" fmla="*/ 152 w 292"/>
                  <a:gd name="T55" fmla="*/ 290 h 290"/>
                  <a:gd name="T56" fmla="*/ 134 w 292"/>
                  <a:gd name="T57" fmla="*/ 290 h 290"/>
                  <a:gd name="T58" fmla="*/ 116 w 292"/>
                  <a:gd name="T59" fmla="*/ 288 h 290"/>
                  <a:gd name="T60" fmla="*/ 96 w 292"/>
                  <a:gd name="T61" fmla="*/ 284 h 290"/>
                  <a:gd name="T62" fmla="*/ 80 w 292"/>
                  <a:gd name="T63" fmla="*/ 276 h 290"/>
                  <a:gd name="T64" fmla="*/ 64 w 292"/>
                  <a:gd name="T65" fmla="*/ 268 h 290"/>
                  <a:gd name="T66" fmla="*/ 48 w 292"/>
                  <a:gd name="T67" fmla="*/ 256 h 290"/>
                  <a:gd name="T68" fmla="*/ 36 w 292"/>
                  <a:gd name="T69" fmla="*/ 240 h 290"/>
                  <a:gd name="T70" fmla="*/ 36 w 292"/>
                  <a:gd name="T71" fmla="*/ 240 h 290"/>
                  <a:gd name="T72" fmla="*/ 24 w 292"/>
                  <a:gd name="T73" fmla="*/ 226 h 290"/>
                  <a:gd name="T74" fmla="*/ 14 w 292"/>
                  <a:gd name="T75" fmla="*/ 210 h 290"/>
                  <a:gd name="T76" fmla="*/ 8 w 292"/>
                  <a:gd name="T77" fmla="*/ 192 h 290"/>
                  <a:gd name="T78" fmla="*/ 2 w 292"/>
                  <a:gd name="T79" fmla="*/ 176 h 290"/>
                  <a:gd name="T80" fmla="*/ 0 w 292"/>
                  <a:gd name="T81" fmla="*/ 158 h 290"/>
                  <a:gd name="T82" fmla="*/ 0 w 292"/>
                  <a:gd name="T83" fmla="*/ 138 h 290"/>
                  <a:gd name="T84" fmla="*/ 4 w 292"/>
                  <a:gd name="T85" fmla="*/ 120 h 290"/>
                  <a:gd name="T86" fmla="*/ 8 w 292"/>
                  <a:gd name="T87" fmla="*/ 102 h 290"/>
                  <a:gd name="T88" fmla="*/ 14 w 292"/>
                  <a:gd name="T89" fmla="*/ 86 h 290"/>
                  <a:gd name="T90" fmla="*/ 22 w 292"/>
                  <a:gd name="T91" fmla="*/ 70 h 290"/>
                  <a:gd name="T92" fmla="*/ 32 w 292"/>
                  <a:gd name="T93" fmla="*/ 54 h 290"/>
                  <a:gd name="T94" fmla="*/ 44 w 292"/>
                  <a:gd name="T95" fmla="*/ 40 h 290"/>
                  <a:gd name="T96" fmla="*/ 58 w 292"/>
                  <a:gd name="T97" fmla="*/ 28 h 290"/>
                  <a:gd name="T98" fmla="*/ 74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8" y="0"/>
                    </a:lnTo>
                    <a:lnTo>
                      <a:pt x="168" y="2"/>
                    </a:lnTo>
                    <a:lnTo>
                      <a:pt x="186" y="8"/>
                    </a:lnTo>
                    <a:lnTo>
                      <a:pt x="206" y="14"/>
                    </a:lnTo>
                    <a:lnTo>
                      <a:pt x="222" y="24"/>
                    </a:lnTo>
                    <a:lnTo>
                      <a:pt x="238" y="36"/>
                    </a:lnTo>
                    <a:lnTo>
                      <a:pt x="252" y="50"/>
                    </a:lnTo>
                    <a:lnTo>
                      <a:pt x="266" y="66"/>
                    </a:lnTo>
                    <a:lnTo>
                      <a:pt x="276" y="82"/>
                    </a:lnTo>
                    <a:lnTo>
                      <a:pt x="284" y="100"/>
                    </a:lnTo>
                    <a:lnTo>
                      <a:pt x="290" y="118"/>
                    </a:lnTo>
                    <a:lnTo>
                      <a:pt x="292" y="138"/>
                    </a:lnTo>
                    <a:lnTo>
                      <a:pt x="292" y="156"/>
                    </a:lnTo>
                    <a:lnTo>
                      <a:pt x="290" y="176"/>
                    </a:lnTo>
                    <a:lnTo>
                      <a:pt x="282" y="196"/>
                    </a:lnTo>
                    <a:lnTo>
                      <a:pt x="282" y="196"/>
                    </a:lnTo>
                    <a:lnTo>
                      <a:pt x="276" y="214"/>
                    </a:lnTo>
                    <a:lnTo>
                      <a:pt x="266" y="230"/>
                    </a:lnTo>
                    <a:lnTo>
                      <a:pt x="254" y="246"/>
                    </a:lnTo>
                    <a:lnTo>
                      <a:pt x="240" y="258"/>
                    </a:lnTo>
                    <a:lnTo>
                      <a:pt x="224" y="268"/>
                    </a:lnTo>
                    <a:lnTo>
                      <a:pt x="208" y="278"/>
                    </a:lnTo>
                    <a:lnTo>
                      <a:pt x="190" y="284"/>
                    </a:lnTo>
                    <a:lnTo>
                      <a:pt x="172" y="288"/>
                    </a:lnTo>
                    <a:lnTo>
                      <a:pt x="152" y="290"/>
                    </a:lnTo>
                    <a:lnTo>
                      <a:pt x="134" y="290"/>
                    </a:lnTo>
                    <a:lnTo>
                      <a:pt x="116" y="288"/>
                    </a:lnTo>
                    <a:lnTo>
                      <a:pt x="96" y="284"/>
                    </a:lnTo>
                    <a:lnTo>
                      <a:pt x="80" y="276"/>
                    </a:lnTo>
                    <a:lnTo>
                      <a:pt x="64" y="268"/>
                    </a:lnTo>
                    <a:lnTo>
                      <a:pt x="48" y="256"/>
                    </a:lnTo>
                    <a:lnTo>
                      <a:pt x="36" y="240"/>
                    </a:lnTo>
                    <a:lnTo>
                      <a:pt x="36" y="240"/>
                    </a:lnTo>
                    <a:lnTo>
                      <a:pt x="24" y="226"/>
                    </a:lnTo>
                    <a:lnTo>
                      <a:pt x="14" y="210"/>
                    </a:lnTo>
                    <a:lnTo>
                      <a:pt x="8" y="192"/>
                    </a:lnTo>
                    <a:lnTo>
                      <a:pt x="2" y="176"/>
                    </a:lnTo>
                    <a:lnTo>
                      <a:pt x="0" y="158"/>
                    </a:lnTo>
                    <a:lnTo>
                      <a:pt x="0" y="138"/>
                    </a:lnTo>
                    <a:lnTo>
                      <a:pt x="4" y="120"/>
                    </a:lnTo>
                    <a:lnTo>
                      <a:pt x="8" y="102"/>
                    </a:lnTo>
                    <a:lnTo>
                      <a:pt x="14" y="86"/>
                    </a:lnTo>
                    <a:lnTo>
                      <a:pt x="22" y="70"/>
                    </a:lnTo>
                    <a:lnTo>
                      <a:pt x="32" y="54"/>
                    </a:lnTo>
                    <a:lnTo>
                      <a:pt x="44" y="40"/>
                    </a:lnTo>
                    <a:lnTo>
                      <a:pt x="58" y="28"/>
                    </a:lnTo>
                    <a:lnTo>
                      <a:pt x="74"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2"/>
              <p:cNvSpPr>
                <a:spLocks/>
              </p:cNvSpPr>
              <p:nvPr/>
            </p:nvSpPr>
            <p:spPr bwMode="auto">
              <a:xfrm>
                <a:off x="14955838" y="5229225"/>
                <a:ext cx="1117600" cy="1152525"/>
              </a:xfrm>
              <a:custGeom>
                <a:avLst/>
                <a:gdLst>
                  <a:gd name="T0" fmla="*/ 52 w 704"/>
                  <a:gd name="T1" fmla="*/ 724 h 726"/>
                  <a:gd name="T2" fmla="*/ 70 w 704"/>
                  <a:gd name="T3" fmla="*/ 724 h 726"/>
                  <a:gd name="T4" fmla="*/ 86 w 704"/>
                  <a:gd name="T5" fmla="*/ 720 h 726"/>
                  <a:gd name="T6" fmla="*/ 98 w 704"/>
                  <a:gd name="T7" fmla="*/ 710 h 726"/>
                  <a:gd name="T8" fmla="*/ 116 w 704"/>
                  <a:gd name="T9" fmla="*/ 680 h 726"/>
                  <a:gd name="T10" fmla="*/ 124 w 704"/>
                  <a:gd name="T11" fmla="*/ 646 h 726"/>
                  <a:gd name="T12" fmla="*/ 126 w 704"/>
                  <a:gd name="T13" fmla="*/ 628 h 726"/>
                  <a:gd name="T14" fmla="*/ 126 w 704"/>
                  <a:gd name="T15" fmla="*/ 340 h 726"/>
                  <a:gd name="T16" fmla="*/ 126 w 704"/>
                  <a:gd name="T17" fmla="*/ 244 h 726"/>
                  <a:gd name="T18" fmla="*/ 162 w 704"/>
                  <a:gd name="T19" fmla="*/ 244 h 726"/>
                  <a:gd name="T20" fmla="*/ 164 w 704"/>
                  <a:gd name="T21" fmla="*/ 652 h 726"/>
                  <a:gd name="T22" fmla="*/ 202 w 704"/>
                  <a:gd name="T23" fmla="*/ 614 h 726"/>
                  <a:gd name="T24" fmla="*/ 248 w 704"/>
                  <a:gd name="T25" fmla="*/ 588 h 726"/>
                  <a:gd name="T26" fmla="*/ 296 w 704"/>
                  <a:gd name="T27" fmla="*/ 570 h 726"/>
                  <a:gd name="T28" fmla="*/ 348 w 704"/>
                  <a:gd name="T29" fmla="*/ 564 h 726"/>
                  <a:gd name="T30" fmla="*/ 372 w 704"/>
                  <a:gd name="T31" fmla="*/ 566 h 726"/>
                  <a:gd name="T32" fmla="*/ 396 w 704"/>
                  <a:gd name="T33" fmla="*/ 570 h 726"/>
                  <a:gd name="T34" fmla="*/ 436 w 704"/>
                  <a:gd name="T35" fmla="*/ 582 h 726"/>
                  <a:gd name="T36" fmla="*/ 472 w 704"/>
                  <a:gd name="T37" fmla="*/ 602 h 726"/>
                  <a:gd name="T38" fmla="*/ 506 w 704"/>
                  <a:gd name="T39" fmla="*/ 628 h 726"/>
                  <a:gd name="T40" fmla="*/ 534 w 704"/>
                  <a:gd name="T41" fmla="*/ 658 h 726"/>
                  <a:gd name="T42" fmla="*/ 534 w 704"/>
                  <a:gd name="T43" fmla="*/ 242 h 726"/>
                  <a:gd name="T44" fmla="*/ 580 w 704"/>
                  <a:gd name="T45" fmla="*/ 242 h 726"/>
                  <a:gd name="T46" fmla="*/ 580 w 704"/>
                  <a:gd name="T47" fmla="*/ 646 h 726"/>
                  <a:gd name="T48" fmla="*/ 582 w 704"/>
                  <a:gd name="T49" fmla="*/ 662 h 726"/>
                  <a:gd name="T50" fmla="*/ 592 w 704"/>
                  <a:gd name="T51" fmla="*/ 692 h 726"/>
                  <a:gd name="T52" fmla="*/ 610 w 704"/>
                  <a:gd name="T53" fmla="*/ 714 h 726"/>
                  <a:gd name="T54" fmla="*/ 630 w 704"/>
                  <a:gd name="T55" fmla="*/ 724 h 726"/>
                  <a:gd name="T56" fmla="*/ 646 w 704"/>
                  <a:gd name="T57" fmla="*/ 726 h 726"/>
                  <a:gd name="T58" fmla="*/ 654 w 704"/>
                  <a:gd name="T59" fmla="*/ 724 h 726"/>
                  <a:gd name="T60" fmla="*/ 678 w 704"/>
                  <a:gd name="T61" fmla="*/ 716 h 726"/>
                  <a:gd name="T62" fmla="*/ 694 w 704"/>
                  <a:gd name="T63" fmla="*/ 698 h 726"/>
                  <a:gd name="T64" fmla="*/ 702 w 704"/>
                  <a:gd name="T65" fmla="*/ 672 h 726"/>
                  <a:gd name="T66" fmla="*/ 704 w 704"/>
                  <a:gd name="T67" fmla="*/ 646 h 726"/>
                  <a:gd name="T68" fmla="*/ 704 w 704"/>
                  <a:gd name="T69" fmla="*/ 438 h 726"/>
                  <a:gd name="T70" fmla="*/ 704 w 704"/>
                  <a:gd name="T71" fmla="*/ 230 h 726"/>
                  <a:gd name="T72" fmla="*/ 700 w 704"/>
                  <a:gd name="T73" fmla="*/ 156 h 726"/>
                  <a:gd name="T74" fmla="*/ 690 w 704"/>
                  <a:gd name="T75" fmla="*/ 108 h 726"/>
                  <a:gd name="T76" fmla="*/ 666 w 704"/>
                  <a:gd name="T77" fmla="*/ 66 h 726"/>
                  <a:gd name="T78" fmla="*/ 648 w 704"/>
                  <a:gd name="T79" fmla="*/ 50 h 726"/>
                  <a:gd name="T80" fmla="*/ 634 w 704"/>
                  <a:gd name="T81" fmla="*/ 38 h 726"/>
                  <a:gd name="T82" fmla="*/ 606 w 704"/>
                  <a:gd name="T83" fmla="*/ 22 h 726"/>
                  <a:gd name="T84" fmla="*/ 558 w 704"/>
                  <a:gd name="T85" fmla="*/ 8 h 726"/>
                  <a:gd name="T86" fmla="*/ 492 w 704"/>
                  <a:gd name="T87" fmla="*/ 0 h 726"/>
                  <a:gd name="T88" fmla="*/ 390 w 704"/>
                  <a:gd name="T89" fmla="*/ 0 h 726"/>
                  <a:gd name="T90" fmla="*/ 352 w 704"/>
                  <a:gd name="T91" fmla="*/ 2 h 726"/>
                  <a:gd name="T92" fmla="*/ 238 w 704"/>
                  <a:gd name="T93" fmla="*/ 0 h 726"/>
                  <a:gd name="T94" fmla="*/ 164 w 704"/>
                  <a:gd name="T95" fmla="*/ 6 h 726"/>
                  <a:gd name="T96" fmla="*/ 108 w 704"/>
                  <a:gd name="T97" fmla="*/ 18 h 726"/>
                  <a:gd name="T98" fmla="*/ 90 w 704"/>
                  <a:gd name="T99" fmla="*/ 24 h 726"/>
                  <a:gd name="T100" fmla="*/ 50 w 704"/>
                  <a:gd name="T101" fmla="*/ 50 h 726"/>
                  <a:gd name="T102" fmla="*/ 22 w 704"/>
                  <a:gd name="T103" fmla="*/ 86 h 726"/>
                  <a:gd name="T104" fmla="*/ 6 w 704"/>
                  <a:gd name="T105" fmla="*/ 130 h 726"/>
                  <a:gd name="T106" fmla="*/ 2 w 704"/>
                  <a:gd name="T107" fmla="*/ 176 h 726"/>
                  <a:gd name="T108" fmla="*/ 0 w 704"/>
                  <a:gd name="T109" fmla="*/ 418 h 726"/>
                  <a:gd name="T110" fmla="*/ 2 w 704"/>
                  <a:gd name="T111" fmla="*/ 662 h 726"/>
                  <a:gd name="T112" fmla="*/ 4 w 704"/>
                  <a:gd name="T113" fmla="*/ 684 h 726"/>
                  <a:gd name="T114" fmla="*/ 14 w 704"/>
                  <a:gd name="T115" fmla="*/ 704 h 726"/>
                  <a:gd name="T116" fmla="*/ 30 w 704"/>
                  <a:gd name="T117" fmla="*/ 720 h 726"/>
                  <a:gd name="T118" fmla="*/ 52 w 704"/>
                  <a:gd name="T119" fmla="*/ 72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4" h="726">
                    <a:moveTo>
                      <a:pt x="52" y="724"/>
                    </a:moveTo>
                    <a:lnTo>
                      <a:pt x="52" y="724"/>
                    </a:lnTo>
                    <a:lnTo>
                      <a:pt x="60" y="726"/>
                    </a:lnTo>
                    <a:lnTo>
                      <a:pt x="70" y="724"/>
                    </a:lnTo>
                    <a:lnTo>
                      <a:pt x="78" y="724"/>
                    </a:lnTo>
                    <a:lnTo>
                      <a:pt x="86" y="720"/>
                    </a:lnTo>
                    <a:lnTo>
                      <a:pt x="92" y="716"/>
                    </a:lnTo>
                    <a:lnTo>
                      <a:pt x="98" y="710"/>
                    </a:lnTo>
                    <a:lnTo>
                      <a:pt x="108" y="696"/>
                    </a:lnTo>
                    <a:lnTo>
                      <a:pt x="116" y="680"/>
                    </a:lnTo>
                    <a:lnTo>
                      <a:pt x="122" y="662"/>
                    </a:lnTo>
                    <a:lnTo>
                      <a:pt x="124" y="646"/>
                    </a:lnTo>
                    <a:lnTo>
                      <a:pt x="126" y="628"/>
                    </a:lnTo>
                    <a:lnTo>
                      <a:pt x="126" y="628"/>
                    </a:lnTo>
                    <a:lnTo>
                      <a:pt x="126" y="436"/>
                    </a:lnTo>
                    <a:lnTo>
                      <a:pt x="126" y="340"/>
                    </a:lnTo>
                    <a:lnTo>
                      <a:pt x="126" y="244"/>
                    </a:lnTo>
                    <a:lnTo>
                      <a:pt x="126" y="244"/>
                    </a:lnTo>
                    <a:lnTo>
                      <a:pt x="162" y="244"/>
                    </a:lnTo>
                    <a:lnTo>
                      <a:pt x="162" y="244"/>
                    </a:lnTo>
                    <a:lnTo>
                      <a:pt x="164" y="652"/>
                    </a:lnTo>
                    <a:lnTo>
                      <a:pt x="164" y="652"/>
                    </a:lnTo>
                    <a:lnTo>
                      <a:pt x="182" y="632"/>
                    </a:lnTo>
                    <a:lnTo>
                      <a:pt x="202" y="614"/>
                    </a:lnTo>
                    <a:lnTo>
                      <a:pt x="224" y="600"/>
                    </a:lnTo>
                    <a:lnTo>
                      <a:pt x="248" y="588"/>
                    </a:lnTo>
                    <a:lnTo>
                      <a:pt x="272" y="578"/>
                    </a:lnTo>
                    <a:lnTo>
                      <a:pt x="296" y="570"/>
                    </a:lnTo>
                    <a:lnTo>
                      <a:pt x="322" y="566"/>
                    </a:lnTo>
                    <a:lnTo>
                      <a:pt x="348" y="564"/>
                    </a:lnTo>
                    <a:lnTo>
                      <a:pt x="348" y="564"/>
                    </a:lnTo>
                    <a:lnTo>
                      <a:pt x="372" y="566"/>
                    </a:lnTo>
                    <a:lnTo>
                      <a:pt x="396" y="570"/>
                    </a:lnTo>
                    <a:lnTo>
                      <a:pt x="396" y="570"/>
                    </a:lnTo>
                    <a:lnTo>
                      <a:pt x="416" y="576"/>
                    </a:lnTo>
                    <a:lnTo>
                      <a:pt x="436" y="582"/>
                    </a:lnTo>
                    <a:lnTo>
                      <a:pt x="454" y="592"/>
                    </a:lnTo>
                    <a:lnTo>
                      <a:pt x="472" y="602"/>
                    </a:lnTo>
                    <a:lnTo>
                      <a:pt x="490" y="614"/>
                    </a:lnTo>
                    <a:lnTo>
                      <a:pt x="506" y="628"/>
                    </a:lnTo>
                    <a:lnTo>
                      <a:pt x="520" y="642"/>
                    </a:lnTo>
                    <a:lnTo>
                      <a:pt x="534" y="658"/>
                    </a:lnTo>
                    <a:lnTo>
                      <a:pt x="534" y="658"/>
                    </a:lnTo>
                    <a:lnTo>
                      <a:pt x="534" y="242"/>
                    </a:lnTo>
                    <a:lnTo>
                      <a:pt x="534" y="242"/>
                    </a:lnTo>
                    <a:lnTo>
                      <a:pt x="580" y="242"/>
                    </a:lnTo>
                    <a:lnTo>
                      <a:pt x="580" y="242"/>
                    </a:lnTo>
                    <a:lnTo>
                      <a:pt x="580" y="646"/>
                    </a:lnTo>
                    <a:lnTo>
                      <a:pt x="580" y="646"/>
                    </a:lnTo>
                    <a:lnTo>
                      <a:pt x="582" y="662"/>
                    </a:lnTo>
                    <a:lnTo>
                      <a:pt x="584" y="676"/>
                    </a:lnTo>
                    <a:lnTo>
                      <a:pt x="592" y="692"/>
                    </a:lnTo>
                    <a:lnTo>
                      <a:pt x="600" y="704"/>
                    </a:lnTo>
                    <a:lnTo>
                      <a:pt x="610" y="714"/>
                    </a:lnTo>
                    <a:lnTo>
                      <a:pt x="624" y="722"/>
                    </a:lnTo>
                    <a:lnTo>
                      <a:pt x="630" y="724"/>
                    </a:lnTo>
                    <a:lnTo>
                      <a:pt x="638" y="726"/>
                    </a:lnTo>
                    <a:lnTo>
                      <a:pt x="646" y="726"/>
                    </a:lnTo>
                    <a:lnTo>
                      <a:pt x="654" y="724"/>
                    </a:lnTo>
                    <a:lnTo>
                      <a:pt x="654" y="724"/>
                    </a:lnTo>
                    <a:lnTo>
                      <a:pt x="668" y="722"/>
                    </a:lnTo>
                    <a:lnTo>
                      <a:pt x="678" y="716"/>
                    </a:lnTo>
                    <a:lnTo>
                      <a:pt x="688" y="708"/>
                    </a:lnTo>
                    <a:lnTo>
                      <a:pt x="694" y="698"/>
                    </a:lnTo>
                    <a:lnTo>
                      <a:pt x="700" y="684"/>
                    </a:lnTo>
                    <a:lnTo>
                      <a:pt x="702" y="672"/>
                    </a:lnTo>
                    <a:lnTo>
                      <a:pt x="704" y="658"/>
                    </a:lnTo>
                    <a:lnTo>
                      <a:pt x="704" y="646"/>
                    </a:lnTo>
                    <a:lnTo>
                      <a:pt x="704" y="646"/>
                    </a:lnTo>
                    <a:lnTo>
                      <a:pt x="704" y="438"/>
                    </a:lnTo>
                    <a:lnTo>
                      <a:pt x="704" y="230"/>
                    </a:lnTo>
                    <a:lnTo>
                      <a:pt x="704" y="230"/>
                    </a:lnTo>
                    <a:lnTo>
                      <a:pt x="704" y="182"/>
                    </a:lnTo>
                    <a:lnTo>
                      <a:pt x="700" y="156"/>
                    </a:lnTo>
                    <a:lnTo>
                      <a:pt x="696" y="132"/>
                    </a:lnTo>
                    <a:lnTo>
                      <a:pt x="690" y="108"/>
                    </a:lnTo>
                    <a:lnTo>
                      <a:pt x="680" y="86"/>
                    </a:lnTo>
                    <a:lnTo>
                      <a:pt x="666" y="66"/>
                    </a:lnTo>
                    <a:lnTo>
                      <a:pt x="658" y="58"/>
                    </a:lnTo>
                    <a:lnTo>
                      <a:pt x="648" y="50"/>
                    </a:lnTo>
                    <a:lnTo>
                      <a:pt x="648" y="50"/>
                    </a:lnTo>
                    <a:lnTo>
                      <a:pt x="634" y="38"/>
                    </a:lnTo>
                    <a:lnTo>
                      <a:pt x="620" y="30"/>
                    </a:lnTo>
                    <a:lnTo>
                      <a:pt x="606" y="22"/>
                    </a:lnTo>
                    <a:lnTo>
                      <a:pt x="590" y="16"/>
                    </a:lnTo>
                    <a:lnTo>
                      <a:pt x="558" y="8"/>
                    </a:lnTo>
                    <a:lnTo>
                      <a:pt x="524" y="2"/>
                    </a:lnTo>
                    <a:lnTo>
                      <a:pt x="492" y="0"/>
                    </a:lnTo>
                    <a:lnTo>
                      <a:pt x="458" y="0"/>
                    </a:lnTo>
                    <a:lnTo>
                      <a:pt x="390" y="0"/>
                    </a:lnTo>
                    <a:lnTo>
                      <a:pt x="390" y="0"/>
                    </a:lnTo>
                    <a:lnTo>
                      <a:pt x="352" y="2"/>
                    </a:lnTo>
                    <a:lnTo>
                      <a:pt x="314" y="0"/>
                    </a:lnTo>
                    <a:lnTo>
                      <a:pt x="238" y="0"/>
                    </a:lnTo>
                    <a:lnTo>
                      <a:pt x="200" y="2"/>
                    </a:lnTo>
                    <a:lnTo>
                      <a:pt x="164" y="6"/>
                    </a:lnTo>
                    <a:lnTo>
                      <a:pt x="126" y="12"/>
                    </a:lnTo>
                    <a:lnTo>
                      <a:pt x="108" y="18"/>
                    </a:lnTo>
                    <a:lnTo>
                      <a:pt x="90" y="24"/>
                    </a:lnTo>
                    <a:lnTo>
                      <a:pt x="90" y="24"/>
                    </a:lnTo>
                    <a:lnTo>
                      <a:pt x="70" y="36"/>
                    </a:lnTo>
                    <a:lnTo>
                      <a:pt x="50" y="50"/>
                    </a:lnTo>
                    <a:lnTo>
                      <a:pt x="36" y="66"/>
                    </a:lnTo>
                    <a:lnTo>
                      <a:pt x="22" y="86"/>
                    </a:lnTo>
                    <a:lnTo>
                      <a:pt x="12" y="106"/>
                    </a:lnTo>
                    <a:lnTo>
                      <a:pt x="6" y="130"/>
                    </a:lnTo>
                    <a:lnTo>
                      <a:pt x="2" y="152"/>
                    </a:lnTo>
                    <a:lnTo>
                      <a:pt x="2" y="176"/>
                    </a:lnTo>
                    <a:lnTo>
                      <a:pt x="2" y="176"/>
                    </a:lnTo>
                    <a:lnTo>
                      <a:pt x="0" y="418"/>
                    </a:lnTo>
                    <a:lnTo>
                      <a:pt x="2" y="662"/>
                    </a:lnTo>
                    <a:lnTo>
                      <a:pt x="2" y="662"/>
                    </a:lnTo>
                    <a:lnTo>
                      <a:pt x="2" y="672"/>
                    </a:lnTo>
                    <a:lnTo>
                      <a:pt x="4" y="684"/>
                    </a:lnTo>
                    <a:lnTo>
                      <a:pt x="8" y="694"/>
                    </a:lnTo>
                    <a:lnTo>
                      <a:pt x="14" y="704"/>
                    </a:lnTo>
                    <a:lnTo>
                      <a:pt x="20" y="712"/>
                    </a:lnTo>
                    <a:lnTo>
                      <a:pt x="30" y="720"/>
                    </a:lnTo>
                    <a:lnTo>
                      <a:pt x="40" y="722"/>
                    </a:lnTo>
                    <a:lnTo>
                      <a:pt x="52" y="724"/>
                    </a:lnTo>
                    <a:lnTo>
                      <a:pt x="52"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 name="Group 50"/>
            <p:cNvGrpSpPr/>
            <p:nvPr/>
          </p:nvGrpSpPr>
          <p:grpSpPr>
            <a:xfrm>
              <a:off x="14860588" y="6270625"/>
              <a:ext cx="1289050" cy="2889250"/>
              <a:chOff x="14860588" y="6270625"/>
              <a:chExt cx="1289050" cy="2889250"/>
            </a:xfrm>
            <a:grpFill/>
          </p:grpSpPr>
          <p:sp>
            <p:nvSpPr>
              <p:cNvPr id="52" name="Freeform 21"/>
              <p:cNvSpPr>
                <a:spLocks/>
              </p:cNvSpPr>
              <p:nvPr/>
            </p:nvSpPr>
            <p:spPr bwMode="auto">
              <a:xfrm>
                <a:off x="15270163" y="6270625"/>
                <a:ext cx="473075" cy="466725"/>
              </a:xfrm>
              <a:custGeom>
                <a:avLst/>
                <a:gdLst>
                  <a:gd name="T0" fmla="*/ 178 w 298"/>
                  <a:gd name="T1" fmla="*/ 2 h 294"/>
                  <a:gd name="T2" fmla="*/ 178 w 298"/>
                  <a:gd name="T3" fmla="*/ 2 h 294"/>
                  <a:gd name="T4" fmla="*/ 160 w 298"/>
                  <a:gd name="T5" fmla="*/ 0 h 294"/>
                  <a:gd name="T6" fmla="*/ 142 w 298"/>
                  <a:gd name="T7" fmla="*/ 0 h 294"/>
                  <a:gd name="T8" fmla="*/ 124 w 298"/>
                  <a:gd name="T9" fmla="*/ 2 h 294"/>
                  <a:gd name="T10" fmla="*/ 108 w 298"/>
                  <a:gd name="T11" fmla="*/ 6 h 294"/>
                  <a:gd name="T12" fmla="*/ 90 w 298"/>
                  <a:gd name="T13" fmla="*/ 14 h 294"/>
                  <a:gd name="T14" fmla="*/ 74 w 298"/>
                  <a:gd name="T15" fmla="*/ 22 h 294"/>
                  <a:gd name="T16" fmla="*/ 60 w 298"/>
                  <a:gd name="T17" fmla="*/ 32 h 294"/>
                  <a:gd name="T18" fmla="*/ 46 w 298"/>
                  <a:gd name="T19" fmla="*/ 42 h 294"/>
                  <a:gd name="T20" fmla="*/ 34 w 298"/>
                  <a:gd name="T21" fmla="*/ 56 h 294"/>
                  <a:gd name="T22" fmla="*/ 24 w 298"/>
                  <a:gd name="T23" fmla="*/ 70 h 294"/>
                  <a:gd name="T24" fmla="*/ 14 w 298"/>
                  <a:gd name="T25" fmla="*/ 84 h 294"/>
                  <a:gd name="T26" fmla="*/ 8 w 298"/>
                  <a:gd name="T27" fmla="*/ 100 h 294"/>
                  <a:gd name="T28" fmla="*/ 2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4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6 w 298"/>
                  <a:gd name="T65" fmla="*/ 268 h 294"/>
                  <a:gd name="T66" fmla="*/ 254 w 298"/>
                  <a:gd name="T67" fmla="*/ 254 h 294"/>
                  <a:gd name="T68" fmla="*/ 268 w 298"/>
                  <a:gd name="T69" fmla="*/ 236 h 294"/>
                  <a:gd name="T70" fmla="*/ 268 w 298"/>
                  <a:gd name="T71" fmla="*/ 236 h 294"/>
                  <a:gd name="T72" fmla="*/ 280 w 298"/>
                  <a:gd name="T73" fmla="*/ 220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6 h 294"/>
                  <a:gd name="T88" fmla="*/ 278 w 298"/>
                  <a:gd name="T89" fmla="*/ 80 h 294"/>
                  <a:gd name="T90" fmla="*/ 268 w 298"/>
                  <a:gd name="T91" fmla="*/ 64 h 294"/>
                  <a:gd name="T92" fmla="*/ 258 w 298"/>
                  <a:gd name="T93" fmla="*/ 50 h 294"/>
                  <a:gd name="T94" fmla="*/ 244 w 298"/>
                  <a:gd name="T95" fmla="*/ 36 h 294"/>
                  <a:gd name="T96" fmla="*/ 230 w 298"/>
                  <a:gd name="T97" fmla="*/ 26 h 294"/>
                  <a:gd name="T98" fmla="*/ 214 w 298"/>
                  <a:gd name="T99" fmla="*/ 16 h 294"/>
                  <a:gd name="T100" fmla="*/ 196 w 298"/>
                  <a:gd name="T101" fmla="*/ 8 h 294"/>
                  <a:gd name="T102" fmla="*/ 178 w 298"/>
                  <a:gd name="T103" fmla="*/ 2 h 294"/>
                  <a:gd name="T104" fmla="*/ 178 w 298"/>
                  <a:gd name="T105" fmla="*/ 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2"/>
                    </a:moveTo>
                    <a:lnTo>
                      <a:pt x="178" y="2"/>
                    </a:lnTo>
                    <a:lnTo>
                      <a:pt x="160" y="0"/>
                    </a:lnTo>
                    <a:lnTo>
                      <a:pt x="142" y="0"/>
                    </a:lnTo>
                    <a:lnTo>
                      <a:pt x="124" y="2"/>
                    </a:lnTo>
                    <a:lnTo>
                      <a:pt x="108" y="6"/>
                    </a:lnTo>
                    <a:lnTo>
                      <a:pt x="90" y="14"/>
                    </a:lnTo>
                    <a:lnTo>
                      <a:pt x="74" y="22"/>
                    </a:lnTo>
                    <a:lnTo>
                      <a:pt x="60" y="32"/>
                    </a:lnTo>
                    <a:lnTo>
                      <a:pt x="46" y="42"/>
                    </a:lnTo>
                    <a:lnTo>
                      <a:pt x="34" y="56"/>
                    </a:lnTo>
                    <a:lnTo>
                      <a:pt x="24" y="70"/>
                    </a:lnTo>
                    <a:lnTo>
                      <a:pt x="14" y="84"/>
                    </a:lnTo>
                    <a:lnTo>
                      <a:pt x="8" y="100"/>
                    </a:lnTo>
                    <a:lnTo>
                      <a:pt x="2" y="118"/>
                    </a:lnTo>
                    <a:lnTo>
                      <a:pt x="0" y="136"/>
                    </a:lnTo>
                    <a:lnTo>
                      <a:pt x="0" y="154"/>
                    </a:lnTo>
                    <a:lnTo>
                      <a:pt x="2" y="172"/>
                    </a:lnTo>
                    <a:lnTo>
                      <a:pt x="2" y="172"/>
                    </a:lnTo>
                    <a:lnTo>
                      <a:pt x="6" y="194"/>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6" y="268"/>
                    </a:lnTo>
                    <a:lnTo>
                      <a:pt x="254" y="254"/>
                    </a:lnTo>
                    <a:lnTo>
                      <a:pt x="268" y="236"/>
                    </a:lnTo>
                    <a:lnTo>
                      <a:pt x="268" y="236"/>
                    </a:lnTo>
                    <a:lnTo>
                      <a:pt x="280" y="220"/>
                    </a:lnTo>
                    <a:lnTo>
                      <a:pt x="288" y="204"/>
                    </a:lnTo>
                    <a:lnTo>
                      <a:pt x="294" y="186"/>
                    </a:lnTo>
                    <a:lnTo>
                      <a:pt x="298" y="168"/>
                    </a:lnTo>
                    <a:lnTo>
                      <a:pt x="298" y="150"/>
                    </a:lnTo>
                    <a:lnTo>
                      <a:pt x="296" y="132"/>
                    </a:lnTo>
                    <a:lnTo>
                      <a:pt x="292" y="114"/>
                    </a:lnTo>
                    <a:lnTo>
                      <a:pt x="286" y="96"/>
                    </a:lnTo>
                    <a:lnTo>
                      <a:pt x="278" y="80"/>
                    </a:lnTo>
                    <a:lnTo>
                      <a:pt x="268" y="64"/>
                    </a:lnTo>
                    <a:lnTo>
                      <a:pt x="258" y="50"/>
                    </a:lnTo>
                    <a:lnTo>
                      <a:pt x="244" y="36"/>
                    </a:lnTo>
                    <a:lnTo>
                      <a:pt x="230" y="26"/>
                    </a:lnTo>
                    <a:lnTo>
                      <a:pt x="214" y="16"/>
                    </a:lnTo>
                    <a:lnTo>
                      <a:pt x="196" y="8"/>
                    </a:lnTo>
                    <a:lnTo>
                      <a:pt x="178" y="2"/>
                    </a:lnTo>
                    <a:lnTo>
                      <a:pt x="17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3"/>
              <p:cNvSpPr>
                <a:spLocks/>
              </p:cNvSpPr>
              <p:nvPr/>
            </p:nvSpPr>
            <p:spPr bwMode="auto">
              <a:xfrm>
                <a:off x="14860588" y="6810375"/>
                <a:ext cx="1289050" cy="2349500"/>
              </a:xfrm>
              <a:custGeom>
                <a:avLst/>
                <a:gdLst>
                  <a:gd name="T0" fmla="*/ 624 w 812"/>
                  <a:gd name="T1" fmla="*/ 38 h 1480"/>
                  <a:gd name="T2" fmla="*/ 578 w 812"/>
                  <a:gd name="T3" fmla="*/ 14 h 1480"/>
                  <a:gd name="T4" fmla="*/ 508 w 812"/>
                  <a:gd name="T5" fmla="*/ 2 h 1480"/>
                  <a:gd name="T6" fmla="*/ 400 w 812"/>
                  <a:gd name="T7" fmla="*/ 2 h 1480"/>
                  <a:gd name="T8" fmla="*/ 336 w 812"/>
                  <a:gd name="T9" fmla="*/ 0 h 1480"/>
                  <a:gd name="T10" fmla="*/ 248 w 812"/>
                  <a:gd name="T11" fmla="*/ 12 h 1480"/>
                  <a:gd name="T12" fmla="*/ 196 w 812"/>
                  <a:gd name="T13" fmla="*/ 34 h 1480"/>
                  <a:gd name="T14" fmla="*/ 162 w 812"/>
                  <a:gd name="T15" fmla="*/ 64 h 1480"/>
                  <a:gd name="T16" fmla="*/ 136 w 812"/>
                  <a:gd name="T17" fmla="*/ 112 h 1480"/>
                  <a:gd name="T18" fmla="*/ 96 w 812"/>
                  <a:gd name="T19" fmla="*/ 222 h 1480"/>
                  <a:gd name="T20" fmla="*/ 52 w 812"/>
                  <a:gd name="T21" fmla="*/ 372 h 1480"/>
                  <a:gd name="T22" fmla="*/ 32 w 812"/>
                  <a:gd name="T23" fmla="*/ 434 h 1480"/>
                  <a:gd name="T24" fmla="*/ 6 w 812"/>
                  <a:gd name="T25" fmla="*/ 530 h 1480"/>
                  <a:gd name="T26" fmla="*/ 2 w 812"/>
                  <a:gd name="T27" fmla="*/ 612 h 1480"/>
                  <a:gd name="T28" fmla="*/ 20 w 812"/>
                  <a:gd name="T29" fmla="*/ 632 h 1480"/>
                  <a:gd name="T30" fmla="*/ 66 w 812"/>
                  <a:gd name="T31" fmla="*/ 634 h 1480"/>
                  <a:gd name="T32" fmla="*/ 102 w 812"/>
                  <a:gd name="T33" fmla="*/ 612 h 1480"/>
                  <a:gd name="T34" fmla="*/ 142 w 812"/>
                  <a:gd name="T35" fmla="*/ 508 h 1480"/>
                  <a:gd name="T36" fmla="*/ 226 w 812"/>
                  <a:gd name="T37" fmla="*/ 236 h 1480"/>
                  <a:gd name="T38" fmla="*/ 232 w 812"/>
                  <a:gd name="T39" fmla="*/ 222 h 1480"/>
                  <a:gd name="T40" fmla="*/ 262 w 812"/>
                  <a:gd name="T41" fmla="*/ 190 h 1480"/>
                  <a:gd name="T42" fmla="*/ 166 w 812"/>
                  <a:gd name="T43" fmla="*/ 542 h 1480"/>
                  <a:gd name="T44" fmla="*/ 64 w 812"/>
                  <a:gd name="T45" fmla="*/ 894 h 1480"/>
                  <a:gd name="T46" fmla="*/ 242 w 812"/>
                  <a:gd name="T47" fmla="*/ 1020 h 1480"/>
                  <a:gd name="T48" fmla="*/ 242 w 812"/>
                  <a:gd name="T49" fmla="*/ 1400 h 1480"/>
                  <a:gd name="T50" fmla="*/ 246 w 812"/>
                  <a:gd name="T51" fmla="*/ 1428 h 1480"/>
                  <a:gd name="T52" fmla="*/ 268 w 812"/>
                  <a:gd name="T53" fmla="*/ 1464 h 1480"/>
                  <a:gd name="T54" fmla="*/ 308 w 812"/>
                  <a:gd name="T55" fmla="*/ 1480 h 1480"/>
                  <a:gd name="T56" fmla="*/ 338 w 812"/>
                  <a:gd name="T57" fmla="*/ 1474 h 1480"/>
                  <a:gd name="T58" fmla="*/ 368 w 812"/>
                  <a:gd name="T59" fmla="*/ 1444 h 1480"/>
                  <a:gd name="T60" fmla="*/ 376 w 812"/>
                  <a:gd name="T61" fmla="*/ 1402 h 1480"/>
                  <a:gd name="T62" fmla="*/ 376 w 812"/>
                  <a:gd name="T63" fmla="*/ 1148 h 1480"/>
                  <a:gd name="T64" fmla="*/ 378 w 812"/>
                  <a:gd name="T65" fmla="*/ 894 h 1480"/>
                  <a:gd name="T66" fmla="*/ 420 w 812"/>
                  <a:gd name="T67" fmla="*/ 1026 h 1480"/>
                  <a:gd name="T68" fmla="*/ 422 w 812"/>
                  <a:gd name="T69" fmla="*/ 1420 h 1480"/>
                  <a:gd name="T70" fmla="*/ 428 w 812"/>
                  <a:gd name="T71" fmla="*/ 1446 h 1480"/>
                  <a:gd name="T72" fmla="*/ 454 w 812"/>
                  <a:gd name="T73" fmla="*/ 1470 h 1480"/>
                  <a:gd name="T74" fmla="*/ 488 w 812"/>
                  <a:gd name="T75" fmla="*/ 1478 h 1480"/>
                  <a:gd name="T76" fmla="*/ 520 w 812"/>
                  <a:gd name="T77" fmla="*/ 1470 h 1480"/>
                  <a:gd name="T78" fmla="*/ 546 w 812"/>
                  <a:gd name="T79" fmla="*/ 1444 h 1480"/>
                  <a:gd name="T80" fmla="*/ 554 w 812"/>
                  <a:gd name="T81" fmla="*/ 1420 h 1480"/>
                  <a:gd name="T82" fmla="*/ 554 w 812"/>
                  <a:gd name="T83" fmla="*/ 1026 h 1480"/>
                  <a:gd name="T84" fmla="*/ 732 w 812"/>
                  <a:gd name="T85" fmla="*/ 894 h 1480"/>
                  <a:gd name="T86" fmla="*/ 644 w 812"/>
                  <a:gd name="T87" fmla="*/ 548 h 1480"/>
                  <a:gd name="T88" fmla="*/ 556 w 812"/>
                  <a:gd name="T89" fmla="*/ 202 h 1480"/>
                  <a:gd name="T90" fmla="*/ 598 w 812"/>
                  <a:gd name="T91" fmla="*/ 266 h 1480"/>
                  <a:gd name="T92" fmla="*/ 666 w 812"/>
                  <a:gd name="T93" fmla="*/ 504 h 1480"/>
                  <a:gd name="T94" fmla="*/ 696 w 812"/>
                  <a:gd name="T95" fmla="*/ 598 h 1480"/>
                  <a:gd name="T96" fmla="*/ 712 w 812"/>
                  <a:gd name="T97" fmla="*/ 622 h 1480"/>
                  <a:gd name="T98" fmla="*/ 738 w 812"/>
                  <a:gd name="T99" fmla="*/ 636 h 1480"/>
                  <a:gd name="T100" fmla="*/ 768 w 812"/>
                  <a:gd name="T101" fmla="*/ 636 h 1480"/>
                  <a:gd name="T102" fmla="*/ 796 w 812"/>
                  <a:gd name="T103" fmla="*/ 624 h 1480"/>
                  <a:gd name="T104" fmla="*/ 810 w 812"/>
                  <a:gd name="T105" fmla="*/ 600 h 1480"/>
                  <a:gd name="T106" fmla="*/ 808 w 812"/>
                  <a:gd name="T107" fmla="*/ 552 h 1480"/>
                  <a:gd name="T108" fmla="*/ 782 w 812"/>
                  <a:gd name="T109" fmla="*/ 448 h 1480"/>
                  <a:gd name="T110" fmla="*/ 740 w 812"/>
                  <a:gd name="T111" fmla="*/ 310 h 1480"/>
                  <a:gd name="T112" fmla="*/ 702 w 812"/>
                  <a:gd name="T113" fmla="*/ 174 h 1480"/>
                  <a:gd name="T114" fmla="*/ 660 w 812"/>
                  <a:gd name="T115" fmla="*/ 78 h 1480"/>
                  <a:gd name="T116" fmla="*/ 638 w 812"/>
                  <a:gd name="T117" fmla="*/ 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80">
                    <a:moveTo>
                      <a:pt x="638" y="50"/>
                    </a:moveTo>
                    <a:lnTo>
                      <a:pt x="638" y="50"/>
                    </a:lnTo>
                    <a:lnTo>
                      <a:pt x="624" y="38"/>
                    </a:lnTo>
                    <a:lnTo>
                      <a:pt x="610" y="28"/>
                    </a:lnTo>
                    <a:lnTo>
                      <a:pt x="594" y="20"/>
                    </a:lnTo>
                    <a:lnTo>
                      <a:pt x="578" y="14"/>
                    </a:lnTo>
                    <a:lnTo>
                      <a:pt x="562" y="10"/>
                    </a:lnTo>
                    <a:lnTo>
                      <a:pt x="544" y="6"/>
                    </a:lnTo>
                    <a:lnTo>
                      <a:pt x="508" y="2"/>
                    </a:lnTo>
                    <a:lnTo>
                      <a:pt x="472" y="2"/>
                    </a:lnTo>
                    <a:lnTo>
                      <a:pt x="436" y="2"/>
                    </a:lnTo>
                    <a:lnTo>
                      <a:pt x="400" y="2"/>
                    </a:lnTo>
                    <a:lnTo>
                      <a:pt x="364" y="2"/>
                    </a:lnTo>
                    <a:lnTo>
                      <a:pt x="364" y="2"/>
                    </a:lnTo>
                    <a:lnTo>
                      <a:pt x="336" y="0"/>
                    </a:lnTo>
                    <a:lnTo>
                      <a:pt x="306" y="2"/>
                    </a:lnTo>
                    <a:lnTo>
                      <a:pt x="276" y="4"/>
                    </a:lnTo>
                    <a:lnTo>
                      <a:pt x="248" y="12"/>
                    </a:lnTo>
                    <a:lnTo>
                      <a:pt x="220" y="20"/>
                    </a:lnTo>
                    <a:lnTo>
                      <a:pt x="208" y="28"/>
                    </a:lnTo>
                    <a:lnTo>
                      <a:pt x="196" y="34"/>
                    </a:lnTo>
                    <a:lnTo>
                      <a:pt x="184" y="44"/>
                    </a:lnTo>
                    <a:lnTo>
                      <a:pt x="172" y="54"/>
                    </a:lnTo>
                    <a:lnTo>
                      <a:pt x="162" y="64"/>
                    </a:lnTo>
                    <a:lnTo>
                      <a:pt x="154" y="76"/>
                    </a:lnTo>
                    <a:lnTo>
                      <a:pt x="154" y="76"/>
                    </a:lnTo>
                    <a:lnTo>
                      <a:pt x="136" y="112"/>
                    </a:lnTo>
                    <a:lnTo>
                      <a:pt x="120" y="148"/>
                    </a:lnTo>
                    <a:lnTo>
                      <a:pt x="106" y="184"/>
                    </a:lnTo>
                    <a:lnTo>
                      <a:pt x="96" y="222"/>
                    </a:lnTo>
                    <a:lnTo>
                      <a:pt x="74" y="298"/>
                    </a:lnTo>
                    <a:lnTo>
                      <a:pt x="64" y="334"/>
                    </a:lnTo>
                    <a:lnTo>
                      <a:pt x="52" y="372"/>
                    </a:lnTo>
                    <a:lnTo>
                      <a:pt x="52" y="372"/>
                    </a:lnTo>
                    <a:lnTo>
                      <a:pt x="42" y="404"/>
                    </a:lnTo>
                    <a:lnTo>
                      <a:pt x="32" y="434"/>
                    </a:lnTo>
                    <a:lnTo>
                      <a:pt x="22" y="466"/>
                    </a:lnTo>
                    <a:lnTo>
                      <a:pt x="12" y="498"/>
                    </a:lnTo>
                    <a:lnTo>
                      <a:pt x="6" y="530"/>
                    </a:lnTo>
                    <a:lnTo>
                      <a:pt x="0" y="562"/>
                    </a:lnTo>
                    <a:lnTo>
                      <a:pt x="0" y="594"/>
                    </a:lnTo>
                    <a:lnTo>
                      <a:pt x="2" y="612"/>
                    </a:lnTo>
                    <a:lnTo>
                      <a:pt x="6" y="628"/>
                    </a:lnTo>
                    <a:lnTo>
                      <a:pt x="6" y="628"/>
                    </a:lnTo>
                    <a:lnTo>
                      <a:pt x="20" y="632"/>
                    </a:lnTo>
                    <a:lnTo>
                      <a:pt x="36" y="634"/>
                    </a:lnTo>
                    <a:lnTo>
                      <a:pt x="50" y="636"/>
                    </a:lnTo>
                    <a:lnTo>
                      <a:pt x="66" y="634"/>
                    </a:lnTo>
                    <a:lnTo>
                      <a:pt x="80" y="630"/>
                    </a:lnTo>
                    <a:lnTo>
                      <a:pt x="92" y="622"/>
                    </a:lnTo>
                    <a:lnTo>
                      <a:pt x="102" y="612"/>
                    </a:lnTo>
                    <a:lnTo>
                      <a:pt x="112" y="596"/>
                    </a:lnTo>
                    <a:lnTo>
                      <a:pt x="112" y="596"/>
                    </a:lnTo>
                    <a:lnTo>
                      <a:pt x="142" y="508"/>
                    </a:lnTo>
                    <a:lnTo>
                      <a:pt x="170" y="416"/>
                    </a:lnTo>
                    <a:lnTo>
                      <a:pt x="196" y="326"/>
                    </a:lnTo>
                    <a:lnTo>
                      <a:pt x="226" y="236"/>
                    </a:lnTo>
                    <a:lnTo>
                      <a:pt x="226" y="236"/>
                    </a:lnTo>
                    <a:lnTo>
                      <a:pt x="228" y="228"/>
                    </a:lnTo>
                    <a:lnTo>
                      <a:pt x="232" y="222"/>
                    </a:lnTo>
                    <a:lnTo>
                      <a:pt x="240" y="210"/>
                    </a:lnTo>
                    <a:lnTo>
                      <a:pt x="262" y="190"/>
                    </a:lnTo>
                    <a:lnTo>
                      <a:pt x="262" y="190"/>
                    </a:lnTo>
                    <a:lnTo>
                      <a:pt x="240" y="278"/>
                    </a:lnTo>
                    <a:lnTo>
                      <a:pt x="218" y="366"/>
                    </a:lnTo>
                    <a:lnTo>
                      <a:pt x="166" y="542"/>
                    </a:lnTo>
                    <a:lnTo>
                      <a:pt x="114" y="718"/>
                    </a:lnTo>
                    <a:lnTo>
                      <a:pt x="64" y="894"/>
                    </a:lnTo>
                    <a:lnTo>
                      <a:pt x="64" y="894"/>
                    </a:lnTo>
                    <a:lnTo>
                      <a:pt x="240" y="894"/>
                    </a:lnTo>
                    <a:lnTo>
                      <a:pt x="240" y="894"/>
                    </a:lnTo>
                    <a:lnTo>
                      <a:pt x="242" y="1020"/>
                    </a:lnTo>
                    <a:lnTo>
                      <a:pt x="240" y="1146"/>
                    </a:lnTo>
                    <a:lnTo>
                      <a:pt x="240" y="1272"/>
                    </a:lnTo>
                    <a:lnTo>
                      <a:pt x="242" y="1400"/>
                    </a:lnTo>
                    <a:lnTo>
                      <a:pt x="242" y="1400"/>
                    </a:lnTo>
                    <a:lnTo>
                      <a:pt x="244" y="1414"/>
                    </a:lnTo>
                    <a:lnTo>
                      <a:pt x="246" y="1428"/>
                    </a:lnTo>
                    <a:lnTo>
                      <a:pt x="252" y="1442"/>
                    </a:lnTo>
                    <a:lnTo>
                      <a:pt x="260" y="1454"/>
                    </a:lnTo>
                    <a:lnTo>
                      <a:pt x="268" y="1464"/>
                    </a:lnTo>
                    <a:lnTo>
                      <a:pt x="280" y="1472"/>
                    </a:lnTo>
                    <a:lnTo>
                      <a:pt x="294" y="1478"/>
                    </a:lnTo>
                    <a:lnTo>
                      <a:pt x="308" y="1480"/>
                    </a:lnTo>
                    <a:lnTo>
                      <a:pt x="308" y="1480"/>
                    </a:lnTo>
                    <a:lnTo>
                      <a:pt x="324" y="1478"/>
                    </a:lnTo>
                    <a:lnTo>
                      <a:pt x="338" y="1474"/>
                    </a:lnTo>
                    <a:lnTo>
                      <a:pt x="350" y="1466"/>
                    </a:lnTo>
                    <a:lnTo>
                      <a:pt x="360" y="1456"/>
                    </a:lnTo>
                    <a:lnTo>
                      <a:pt x="368" y="1444"/>
                    </a:lnTo>
                    <a:lnTo>
                      <a:pt x="374" y="1430"/>
                    </a:lnTo>
                    <a:lnTo>
                      <a:pt x="376" y="1416"/>
                    </a:lnTo>
                    <a:lnTo>
                      <a:pt x="376" y="1402"/>
                    </a:lnTo>
                    <a:lnTo>
                      <a:pt x="376" y="1402"/>
                    </a:lnTo>
                    <a:lnTo>
                      <a:pt x="378" y="1274"/>
                    </a:lnTo>
                    <a:lnTo>
                      <a:pt x="376" y="1148"/>
                    </a:lnTo>
                    <a:lnTo>
                      <a:pt x="376" y="1020"/>
                    </a:lnTo>
                    <a:lnTo>
                      <a:pt x="378" y="894"/>
                    </a:lnTo>
                    <a:lnTo>
                      <a:pt x="378" y="894"/>
                    </a:lnTo>
                    <a:lnTo>
                      <a:pt x="418" y="894"/>
                    </a:lnTo>
                    <a:lnTo>
                      <a:pt x="418" y="894"/>
                    </a:lnTo>
                    <a:lnTo>
                      <a:pt x="420" y="1026"/>
                    </a:lnTo>
                    <a:lnTo>
                      <a:pt x="420" y="1158"/>
                    </a:lnTo>
                    <a:lnTo>
                      <a:pt x="420" y="1288"/>
                    </a:lnTo>
                    <a:lnTo>
                      <a:pt x="422" y="1420"/>
                    </a:lnTo>
                    <a:lnTo>
                      <a:pt x="422" y="1420"/>
                    </a:lnTo>
                    <a:lnTo>
                      <a:pt x="424" y="1434"/>
                    </a:lnTo>
                    <a:lnTo>
                      <a:pt x="428" y="1446"/>
                    </a:lnTo>
                    <a:lnTo>
                      <a:pt x="436" y="1456"/>
                    </a:lnTo>
                    <a:lnTo>
                      <a:pt x="444" y="1464"/>
                    </a:lnTo>
                    <a:lnTo>
                      <a:pt x="454" y="1470"/>
                    </a:lnTo>
                    <a:lnTo>
                      <a:pt x="464" y="1474"/>
                    </a:lnTo>
                    <a:lnTo>
                      <a:pt x="476" y="1478"/>
                    </a:lnTo>
                    <a:lnTo>
                      <a:pt x="488" y="1478"/>
                    </a:lnTo>
                    <a:lnTo>
                      <a:pt x="498" y="1476"/>
                    </a:lnTo>
                    <a:lnTo>
                      <a:pt x="510" y="1474"/>
                    </a:lnTo>
                    <a:lnTo>
                      <a:pt x="520" y="1470"/>
                    </a:lnTo>
                    <a:lnTo>
                      <a:pt x="530" y="1464"/>
                    </a:lnTo>
                    <a:lnTo>
                      <a:pt x="540" y="1454"/>
                    </a:lnTo>
                    <a:lnTo>
                      <a:pt x="546" y="1444"/>
                    </a:lnTo>
                    <a:lnTo>
                      <a:pt x="550" y="1434"/>
                    </a:lnTo>
                    <a:lnTo>
                      <a:pt x="554" y="1420"/>
                    </a:lnTo>
                    <a:lnTo>
                      <a:pt x="554" y="1420"/>
                    </a:lnTo>
                    <a:lnTo>
                      <a:pt x="556" y="1288"/>
                    </a:lnTo>
                    <a:lnTo>
                      <a:pt x="556" y="1158"/>
                    </a:lnTo>
                    <a:lnTo>
                      <a:pt x="554" y="1026"/>
                    </a:lnTo>
                    <a:lnTo>
                      <a:pt x="556" y="894"/>
                    </a:lnTo>
                    <a:lnTo>
                      <a:pt x="556" y="894"/>
                    </a:lnTo>
                    <a:lnTo>
                      <a:pt x="732" y="894"/>
                    </a:lnTo>
                    <a:lnTo>
                      <a:pt x="732" y="894"/>
                    </a:lnTo>
                    <a:lnTo>
                      <a:pt x="688" y="720"/>
                    </a:lnTo>
                    <a:lnTo>
                      <a:pt x="644" y="548"/>
                    </a:lnTo>
                    <a:lnTo>
                      <a:pt x="600" y="376"/>
                    </a:lnTo>
                    <a:lnTo>
                      <a:pt x="556" y="202"/>
                    </a:lnTo>
                    <a:lnTo>
                      <a:pt x="556" y="202"/>
                    </a:lnTo>
                    <a:lnTo>
                      <a:pt x="584" y="220"/>
                    </a:lnTo>
                    <a:lnTo>
                      <a:pt x="584" y="220"/>
                    </a:lnTo>
                    <a:lnTo>
                      <a:pt x="598" y="266"/>
                    </a:lnTo>
                    <a:lnTo>
                      <a:pt x="614" y="314"/>
                    </a:lnTo>
                    <a:lnTo>
                      <a:pt x="640" y="408"/>
                    </a:lnTo>
                    <a:lnTo>
                      <a:pt x="666" y="504"/>
                    </a:lnTo>
                    <a:lnTo>
                      <a:pt x="680" y="550"/>
                    </a:lnTo>
                    <a:lnTo>
                      <a:pt x="696" y="598"/>
                    </a:lnTo>
                    <a:lnTo>
                      <a:pt x="696" y="598"/>
                    </a:lnTo>
                    <a:lnTo>
                      <a:pt x="700" y="608"/>
                    </a:lnTo>
                    <a:lnTo>
                      <a:pt x="704" y="616"/>
                    </a:lnTo>
                    <a:lnTo>
                      <a:pt x="712" y="622"/>
                    </a:lnTo>
                    <a:lnTo>
                      <a:pt x="720" y="628"/>
                    </a:lnTo>
                    <a:lnTo>
                      <a:pt x="728" y="632"/>
                    </a:lnTo>
                    <a:lnTo>
                      <a:pt x="738" y="636"/>
                    </a:lnTo>
                    <a:lnTo>
                      <a:pt x="748" y="638"/>
                    </a:lnTo>
                    <a:lnTo>
                      <a:pt x="758" y="638"/>
                    </a:lnTo>
                    <a:lnTo>
                      <a:pt x="768" y="636"/>
                    </a:lnTo>
                    <a:lnTo>
                      <a:pt x="778" y="634"/>
                    </a:lnTo>
                    <a:lnTo>
                      <a:pt x="788" y="630"/>
                    </a:lnTo>
                    <a:lnTo>
                      <a:pt x="796" y="624"/>
                    </a:lnTo>
                    <a:lnTo>
                      <a:pt x="802" y="618"/>
                    </a:lnTo>
                    <a:lnTo>
                      <a:pt x="808" y="608"/>
                    </a:lnTo>
                    <a:lnTo>
                      <a:pt x="810" y="600"/>
                    </a:lnTo>
                    <a:lnTo>
                      <a:pt x="812" y="588"/>
                    </a:lnTo>
                    <a:lnTo>
                      <a:pt x="812" y="588"/>
                    </a:lnTo>
                    <a:lnTo>
                      <a:pt x="808" y="552"/>
                    </a:lnTo>
                    <a:lnTo>
                      <a:pt x="800" y="518"/>
                    </a:lnTo>
                    <a:lnTo>
                      <a:pt x="792" y="482"/>
                    </a:lnTo>
                    <a:lnTo>
                      <a:pt x="782" y="448"/>
                    </a:lnTo>
                    <a:lnTo>
                      <a:pt x="760" y="380"/>
                    </a:lnTo>
                    <a:lnTo>
                      <a:pt x="740" y="310"/>
                    </a:lnTo>
                    <a:lnTo>
                      <a:pt x="740" y="310"/>
                    </a:lnTo>
                    <a:lnTo>
                      <a:pt x="730" y="276"/>
                    </a:lnTo>
                    <a:lnTo>
                      <a:pt x="720" y="242"/>
                    </a:lnTo>
                    <a:lnTo>
                      <a:pt x="702" y="174"/>
                    </a:lnTo>
                    <a:lnTo>
                      <a:pt x="690" y="142"/>
                    </a:lnTo>
                    <a:lnTo>
                      <a:pt x="678" y="110"/>
                    </a:lnTo>
                    <a:lnTo>
                      <a:pt x="660" y="78"/>
                    </a:lnTo>
                    <a:lnTo>
                      <a:pt x="650"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36" name="Straight Connector 35"/>
          <p:cNvCxnSpPr/>
          <p:nvPr/>
        </p:nvCxnSpPr>
        <p:spPr>
          <a:xfrm flipV="1">
            <a:off x="166779" y="3528831"/>
            <a:ext cx="8864966" cy="38483"/>
          </a:xfrm>
          <a:prstGeom prst="line">
            <a:avLst/>
          </a:prstGeom>
          <a:ln>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3500582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ja-JP" altLang="en-US" sz="4500" dirty="0" smtClean="0"/>
              <a:t>デモ</a:t>
            </a:r>
            <a:endParaRPr lang="en-US" sz="4500" dirty="0"/>
          </a:p>
        </p:txBody>
      </p:sp>
    </p:spTree>
    <p:extLst>
      <p:ext uri="{BB962C8B-B14F-4D97-AF65-F5344CB8AC3E}">
        <p14:creationId xmlns:p14="http://schemas.microsoft.com/office/powerpoint/2010/main" val="352812790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sz="4500" dirty="0" smtClean="0"/>
              <a:t>ロードマップ、その他</a:t>
            </a:r>
            <a:endParaRPr lang="en-US" sz="4500" dirty="0"/>
          </a:p>
        </p:txBody>
      </p:sp>
    </p:spTree>
    <p:extLst>
      <p:ext uri="{BB962C8B-B14F-4D97-AF65-F5344CB8AC3E}">
        <p14:creationId xmlns:p14="http://schemas.microsoft.com/office/powerpoint/2010/main" val="352812790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167096379"/>
              </p:ext>
            </p:extLst>
          </p:nvPr>
        </p:nvGraphicFramePr>
        <p:xfrm>
          <a:off x="386966" y="499365"/>
          <a:ext cx="8280057" cy="30739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p:cNvSpPr>
            <a:spLocks noGrp="1"/>
          </p:cNvSpPr>
          <p:nvPr>
            <p:ph type="title"/>
          </p:nvPr>
        </p:nvSpPr>
        <p:spPr>
          <a:xfrm>
            <a:off x="437766" y="133446"/>
            <a:ext cx="8345488" cy="731837"/>
          </a:xfrm>
        </p:spPr>
        <p:txBody>
          <a:bodyPr/>
          <a:lstStyle/>
          <a:p>
            <a:pPr algn="ctr"/>
            <a:r>
              <a:rPr lang="en-US" dirty="0" smtClean="0">
                <a:latin typeface="メイリオ"/>
                <a:ea typeface="メイリオ"/>
                <a:cs typeface="メイリオ"/>
              </a:rPr>
              <a:t>CDO</a:t>
            </a:r>
            <a:r>
              <a:rPr lang="ja-JP" altLang="en-US" dirty="0" smtClean="0">
                <a:latin typeface="メイリオ"/>
                <a:ea typeface="メイリオ"/>
                <a:cs typeface="メイリオ"/>
              </a:rPr>
              <a:t>の</a:t>
            </a:r>
            <a:r>
              <a:rPr lang="en-US" altLang="ja-JP" dirty="0" smtClean="0">
                <a:latin typeface="メイリオ"/>
                <a:ea typeface="メイリオ"/>
                <a:cs typeface="メイリオ"/>
              </a:rPr>
              <a:t> </a:t>
            </a:r>
            <a:r>
              <a:rPr lang="ja-JP" altLang="en-US" dirty="0" smtClean="0">
                <a:latin typeface="メイリオ"/>
                <a:ea typeface="メイリオ"/>
                <a:cs typeface="メイリオ"/>
              </a:rPr>
              <a:t>これまで</a:t>
            </a:r>
            <a:r>
              <a:rPr lang="en-US" altLang="ja-JP" dirty="0" smtClean="0">
                <a:latin typeface="メイリオ"/>
                <a:ea typeface="メイリオ"/>
                <a:cs typeface="メイリオ"/>
              </a:rPr>
              <a:t> </a:t>
            </a:r>
            <a:r>
              <a:rPr lang="ja-JP" altLang="en-US" dirty="0" smtClean="0">
                <a:latin typeface="メイリオ"/>
                <a:ea typeface="メイリオ"/>
                <a:cs typeface="メイリオ"/>
              </a:rPr>
              <a:t>と</a:t>
            </a:r>
            <a:r>
              <a:rPr lang="en-US" altLang="ja-JP" dirty="0" smtClean="0">
                <a:latin typeface="メイリオ"/>
                <a:ea typeface="メイリオ"/>
                <a:cs typeface="メイリオ"/>
              </a:rPr>
              <a:t> </a:t>
            </a:r>
            <a:r>
              <a:rPr lang="ja-JP" altLang="en-US" dirty="0" smtClean="0">
                <a:latin typeface="メイリオ"/>
                <a:ea typeface="メイリオ"/>
                <a:cs typeface="メイリオ"/>
              </a:rPr>
              <a:t>これから</a:t>
            </a:r>
            <a:r>
              <a:rPr lang="en-US" dirty="0" smtClean="0">
                <a:latin typeface="メイリオ"/>
                <a:ea typeface="メイリオ"/>
                <a:cs typeface="メイリオ"/>
              </a:rPr>
              <a:t>!</a:t>
            </a:r>
            <a:endParaRPr lang="en-US" dirty="0">
              <a:latin typeface="メイリオ"/>
              <a:ea typeface="メイリオ"/>
              <a:cs typeface="メイリオ"/>
            </a:endParaRPr>
          </a:p>
        </p:txBody>
      </p:sp>
      <p:sp>
        <p:nvSpPr>
          <p:cNvPr id="7" name="Rounded Rectangle 6"/>
          <p:cNvSpPr/>
          <p:nvPr/>
        </p:nvSpPr>
        <p:spPr>
          <a:xfrm>
            <a:off x="1815889" y="2043210"/>
            <a:ext cx="1905127" cy="407140"/>
          </a:xfrm>
          <a:prstGeom prst="roundRect">
            <a:avLst>
              <a:gd name="adj" fmla="val 934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latin typeface="メイリオ"/>
                <a:ea typeface="メイリオ"/>
                <a:cs typeface="メイリオ"/>
              </a:rPr>
              <a:t>FY16 Q3</a:t>
            </a:r>
          </a:p>
        </p:txBody>
      </p:sp>
      <p:sp>
        <p:nvSpPr>
          <p:cNvPr id="8" name="Rounded Rectangle 7"/>
          <p:cNvSpPr/>
          <p:nvPr/>
        </p:nvSpPr>
        <p:spPr>
          <a:xfrm>
            <a:off x="3594222" y="1992880"/>
            <a:ext cx="1905127" cy="500613"/>
          </a:xfrm>
          <a:prstGeom prst="roundRect">
            <a:avLst>
              <a:gd name="adj" fmla="val 934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latin typeface="メイリオ"/>
                <a:ea typeface="メイリオ"/>
                <a:cs typeface="メイリオ"/>
              </a:rPr>
              <a:t>FY16 Q4</a:t>
            </a:r>
          </a:p>
        </p:txBody>
      </p:sp>
      <p:sp>
        <p:nvSpPr>
          <p:cNvPr id="9" name="Rounded Rectangle 8"/>
          <p:cNvSpPr/>
          <p:nvPr/>
        </p:nvSpPr>
        <p:spPr>
          <a:xfrm>
            <a:off x="5153855" y="1987929"/>
            <a:ext cx="1905127" cy="500613"/>
          </a:xfrm>
          <a:prstGeom prst="roundRect">
            <a:avLst>
              <a:gd name="adj" fmla="val 934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latin typeface="メイリオ"/>
                <a:ea typeface="メイリオ"/>
                <a:cs typeface="メイリオ"/>
              </a:rPr>
              <a:t>FY17 Q1</a:t>
            </a:r>
          </a:p>
        </p:txBody>
      </p:sp>
      <p:sp>
        <p:nvSpPr>
          <p:cNvPr id="10" name="Rounded Rectangle 9"/>
          <p:cNvSpPr/>
          <p:nvPr/>
        </p:nvSpPr>
        <p:spPr>
          <a:xfrm>
            <a:off x="6491686" y="1976627"/>
            <a:ext cx="1905127" cy="500613"/>
          </a:xfrm>
          <a:prstGeom prst="roundRect">
            <a:avLst>
              <a:gd name="adj" fmla="val 934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latin typeface="メイリオ"/>
                <a:ea typeface="メイリオ"/>
                <a:cs typeface="メイリオ"/>
              </a:rPr>
              <a:t>FY17 Q2</a:t>
            </a:r>
          </a:p>
        </p:txBody>
      </p:sp>
      <p:grpSp>
        <p:nvGrpSpPr>
          <p:cNvPr id="3" name="Group 2"/>
          <p:cNvGrpSpPr/>
          <p:nvPr/>
        </p:nvGrpSpPr>
        <p:grpSpPr>
          <a:xfrm>
            <a:off x="2152722" y="3431339"/>
            <a:ext cx="4641278" cy="1410821"/>
            <a:chOff x="682255" y="1472804"/>
            <a:chExt cx="7701326" cy="2197894"/>
          </a:xfrm>
        </p:grpSpPr>
        <p:sp>
          <p:nvSpPr>
            <p:cNvPr id="11" name="Rectangle 10"/>
            <p:cNvSpPr/>
            <p:nvPr/>
          </p:nvSpPr>
          <p:spPr>
            <a:xfrm>
              <a:off x="2938129" y="2873901"/>
              <a:ext cx="3083348" cy="635308"/>
            </a:xfrm>
            <a:prstGeom prst="rect">
              <a:avLst/>
            </a:prstGeom>
            <a:noFill/>
            <a:ln w="25400" cap="flat" cmpd="sng" algn="ctr">
              <a:noFill/>
              <a:prstDash val="solid"/>
            </a:ln>
            <a:effectLst/>
          </p:spPr>
          <p:txBody>
            <a:bodyPr wrap="square" lIns="68577" tIns="34289" rIns="68577" bIns="34289" rtlCol="0" anchor="ctr">
              <a:spAutoFit/>
            </a:bodyPr>
            <a:lstStyle/>
            <a:p>
              <a:pPr algn="ctr" defTabSz="342900">
                <a:defRPr/>
              </a:pPr>
              <a:r>
                <a:rPr lang="en-US" sz="1050" dirty="0">
                  <a:latin typeface="メイリオ"/>
                  <a:ea typeface="メイリオ"/>
                  <a:cs typeface="メイリオ"/>
                </a:rPr>
                <a:t>ASA with FirePOWER Services </a:t>
              </a:r>
            </a:p>
          </p:txBody>
        </p:sp>
        <p:sp>
          <p:nvSpPr>
            <p:cNvPr id="12" name="Rectangle 11"/>
            <p:cNvSpPr/>
            <p:nvPr/>
          </p:nvSpPr>
          <p:spPr>
            <a:xfrm>
              <a:off x="6909621" y="2890343"/>
              <a:ext cx="1473960" cy="371594"/>
            </a:xfrm>
            <a:prstGeom prst="rect">
              <a:avLst/>
            </a:prstGeom>
            <a:noFill/>
            <a:ln w="25400" cap="flat" cmpd="sng" algn="ctr">
              <a:noFill/>
              <a:prstDash val="solid"/>
            </a:ln>
            <a:effectLst/>
          </p:spPr>
          <p:txBody>
            <a:bodyPr wrap="square" lIns="68577" tIns="34289" rIns="68577" bIns="34289" rtlCol="0" anchor="ctr">
              <a:spAutoFit/>
            </a:bodyPr>
            <a:lstStyle/>
            <a:p>
              <a:pPr algn="ctr" defTabSz="342900">
                <a:defRPr/>
              </a:pPr>
              <a:r>
                <a:rPr lang="en-US" sz="1050" dirty="0">
                  <a:latin typeface="メイリオ"/>
                  <a:ea typeface="メイリオ"/>
                  <a:cs typeface="メイリオ"/>
                </a:rPr>
                <a:t>OpenDNS*</a:t>
              </a:r>
            </a:p>
          </p:txBody>
        </p:sp>
        <p:grpSp>
          <p:nvGrpSpPr>
            <p:cNvPr id="13" name="Group 12"/>
            <p:cNvGrpSpPr/>
            <p:nvPr/>
          </p:nvGrpSpPr>
          <p:grpSpPr>
            <a:xfrm>
              <a:off x="3804289" y="1495271"/>
              <a:ext cx="1351026" cy="1351026"/>
              <a:chOff x="5280802" y="1993695"/>
              <a:chExt cx="1801368" cy="1801368"/>
            </a:xfrm>
          </p:grpSpPr>
          <p:sp>
            <p:nvSpPr>
              <p:cNvPr id="14" name="Oval 13"/>
              <p:cNvSpPr/>
              <p:nvPr/>
            </p:nvSpPr>
            <p:spPr>
              <a:xfrm>
                <a:off x="5280802" y="1993695"/>
                <a:ext cx="1801368" cy="1801368"/>
              </a:xfrm>
              <a:prstGeom prst="ellipse">
                <a:avLst/>
              </a:prstGeom>
              <a:solidFill>
                <a:schemeClr val="accent1"/>
              </a:solidFill>
              <a:ln w="38100" cap="flat" cmpd="sng" algn="ctr">
                <a:solidFill>
                  <a:srgbClr val="FFFFFF"/>
                </a:solidFill>
                <a:prstDash val="solid"/>
              </a:ln>
              <a:effectLst/>
            </p:spPr>
            <p:txBody>
              <a:bodyPr rtlCol="0" anchor="ctr"/>
              <a:lstStyle/>
              <a:p>
                <a:pPr algn="ctr" defTabSz="685800" fontAlgn="auto">
                  <a:spcBef>
                    <a:spcPts val="0"/>
                  </a:spcBef>
                  <a:spcAft>
                    <a:spcPts val="0"/>
                  </a:spcAft>
                  <a:defRPr/>
                </a:pPr>
                <a:endParaRPr lang="en-US" sz="1000" b="1" kern="0" dirty="0">
                  <a:solidFill>
                    <a:srgbClr val="FFFFFF"/>
                  </a:solidFill>
                  <a:latin typeface="メイリオ"/>
                  <a:ea typeface="メイリオ"/>
                  <a:cs typeface="メイリオ"/>
                </a:endParaRPr>
              </a:p>
            </p:txBody>
          </p:sp>
          <p:sp>
            <p:nvSpPr>
              <p:cNvPr id="15" name="Freeform 13"/>
              <p:cNvSpPr>
                <a:spLocks noEditPoints="1"/>
              </p:cNvSpPr>
              <p:nvPr/>
            </p:nvSpPr>
            <p:spPr bwMode="auto">
              <a:xfrm>
                <a:off x="5580318" y="2265471"/>
                <a:ext cx="1202338" cy="1056850"/>
              </a:xfrm>
              <a:custGeom>
                <a:avLst/>
                <a:gdLst>
                  <a:gd name="T0" fmla="*/ 1470 w 2149"/>
                  <a:gd name="T1" fmla="*/ 1624 h 1910"/>
                  <a:gd name="T2" fmla="*/ 1662 w 2149"/>
                  <a:gd name="T3" fmla="*/ 1656 h 1910"/>
                  <a:gd name="T4" fmla="*/ 1496 w 2149"/>
                  <a:gd name="T5" fmla="*/ 1895 h 1910"/>
                  <a:gd name="T6" fmla="*/ 1677 w 2149"/>
                  <a:gd name="T7" fmla="*/ 1895 h 1910"/>
                  <a:gd name="T8" fmla="*/ 703 w 2149"/>
                  <a:gd name="T9" fmla="*/ 1314 h 1910"/>
                  <a:gd name="T10" fmla="*/ 389 w 2149"/>
                  <a:gd name="T11" fmla="*/ 1074 h 1910"/>
                  <a:gd name="T12" fmla="*/ 389 w 2149"/>
                  <a:gd name="T13" fmla="*/ 1329 h 1910"/>
                  <a:gd name="T14" fmla="*/ 990 w 2149"/>
                  <a:gd name="T15" fmla="*/ 1624 h 1910"/>
                  <a:gd name="T16" fmla="*/ 1303 w 2149"/>
                  <a:gd name="T17" fmla="*/ 1560 h 1910"/>
                  <a:gd name="T18" fmla="*/ 990 w 2149"/>
                  <a:gd name="T19" fmla="*/ 1369 h 1910"/>
                  <a:gd name="T20" fmla="*/ 990 w 2149"/>
                  <a:gd name="T21" fmla="*/ 1624 h 1910"/>
                  <a:gd name="T22" fmla="*/ 1032 w 2149"/>
                  <a:gd name="T23" fmla="*/ 1093 h 1910"/>
                  <a:gd name="T24" fmla="*/ 748 w 2149"/>
                  <a:gd name="T25" fmla="*/ 1090 h 1910"/>
                  <a:gd name="T26" fmla="*/ 1062 w 2149"/>
                  <a:gd name="T27" fmla="*/ 1329 h 1910"/>
                  <a:gd name="T28" fmla="*/ 1037 w 2149"/>
                  <a:gd name="T29" fmla="*/ 1042 h 1910"/>
                  <a:gd name="T30" fmla="*/ 1049 w 2149"/>
                  <a:gd name="T31" fmla="*/ 983 h 1910"/>
                  <a:gd name="T32" fmla="*/ 1099 w 2149"/>
                  <a:gd name="T33" fmla="*/ 788 h 1910"/>
                  <a:gd name="T34" fmla="*/ 974 w 2149"/>
                  <a:gd name="T35" fmla="*/ 1027 h 1910"/>
                  <a:gd name="T36" fmla="*/ 227 w 2149"/>
                  <a:gd name="T37" fmla="*/ 1385 h 1910"/>
                  <a:gd name="T38" fmla="*/ 541 w 2149"/>
                  <a:gd name="T39" fmla="*/ 1624 h 1910"/>
                  <a:gd name="T40" fmla="*/ 541 w 2149"/>
                  <a:gd name="T41" fmla="*/ 1369 h 1910"/>
                  <a:gd name="T42" fmla="*/ 914 w 2149"/>
                  <a:gd name="T43" fmla="*/ 1042 h 1910"/>
                  <a:gd name="T44" fmla="*/ 914 w 2149"/>
                  <a:gd name="T45" fmla="*/ 788 h 1910"/>
                  <a:gd name="T46" fmla="*/ 601 w 2149"/>
                  <a:gd name="T47" fmla="*/ 1027 h 1910"/>
                  <a:gd name="T48" fmla="*/ 0 w 2149"/>
                  <a:gd name="T49" fmla="*/ 1385 h 1910"/>
                  <a:gd name="T50" fmla="*/ 167 w 2149"/>
                  <a:gd name="T51" fmla="*/ 1624 h 1910"/>
                  <a:gd name="T52" fmla="*/ 167 w 2149"/>
                  <a:gd name="T53" fmla="*/ 1369 h 1910"/>
                  <a:gd name="T54" fmla="*/ 541 w 2149"/>
                  <a:gd name="T55" fmla="*/ 1042 h 1910"/>
                  <a:gd name="T56" fmla="*/ 541 w 2149"/>
                  <a:gd name="T57" fmla="*/ 788 h 1910"/>
                  <a:gd name="T58" fmla="*/ 227 w 2149"/>
                  <a:gd name="T59" fmla="*/ 1027 h 1910"/>
                  <a:gd name="T60" fmla="*/ 167 w 2149"/>
                  <a:gd name="T61" fmla="*/ 1042 h 1910"/>
                  <a:gd name="T62" fmla="*/ 167 w 2149"/>
                  <a:gd name="T63" fmla="*/ 788 h 1910"/>
                  <a:gd name="T64" fmla="*/ 0 w 2149"/>
                  <a:gd name="T65" fmla="*/ 1027 h 1910"/>
                  <a:gd name="T66" fmla="*/ 914 w 2149"/>
                  <a:gd name="T67" fmla="*/ 1624 h 1910"/>
                  <a:gd name="T68" fmla="*/ 914 w 2149"/>
                  <a:gd name="T69" fmla="*/ 1369 h 1910"/>
                  <a:gd name="T70" fmla="*/ 601 w 2149"/>
                  <a:gd name="T71" fmla="*/ 1609 h 1910"/>
                  <a:gd name="T72" fmla="*/ 1137 w 2149"/>
                  <a:gd name="T73" fmla="*/ 1656 h 1910"/>
                  <a:gd name="T74" fmla="*/ 1137 w 2149"/>
                  <a:gd name="T75" fmla="*/ 1910 h 1910"/>
                  <a:gd name="T76" fmla="*/ 1451 w 2149"/>
                  <a:gd name="T77" fmla="*/ 1671 h 1910"/>
                  <a:gd name="T78" fmla="*/ 314 w 2149"/>
                  <a:gd name="T79" fmla="*/ 1329 h 1910"/>
                  <a:gd name="T80" fmla="*/ 314 w 2149"/>
                  <a:gd name="T81" fmla="*/ 1074 h 1910"/>
                  <a:gd name="T82" fmla="*/ 0 w 2149"/>
                  <a:gd name="T83" fmla="*/ 1314 h 1910"/>
                  <a:gd name="T84" fmla="*/ 389 w 2149"/>
                  <a:gd name="T85" fmla="*/ 1656 h 1910"/>
                  <a:gd name="T86" fmla="*/ 389 w 2149"/>
                  <a:gd name="T87" fmla="*/ 1910 h 1910"/>
                  <a:gd name="T88" fmla="*/ 703 w 2149"/>
                  <a:gd name="T89" fmla="*/ 1671 h 1910"/>
                  <a:gd name="T90" fmla="*/ 16 w 2149"/>
                  <a:gd name="T91" fmla="*/ 1656 h 1910"/>
                  <a:gd name="T92" fmla="*/ 16 w 2149"/>
                  <a:gd name="T93" fmla="*/ 1910 h 1910"/>
                  <a:gd name="T94" fmla="*/ 329 w 2149"/>
                  <a:gd name="T95" fmla="*/ 1671 h 1910"/>
                  <a:gd name="T96" fmla="*/ 763 w 2149"/>
                  <a:gd name="T97" fmla="*/ 1656 h 1910"/>
                  <a:gd name="T98" fmla="*/ 763 w 2149"/>
                  <a:gd name="T99" fmla="*/ 1910 h 1910"/>
                  <a:gd name="T100" fmla="*/ 1077 w 2149"/>
                  <a:gd name="T101" fmla="*/ 1671 h 1910"/>
                  <a:gd name="T102" fmla="*/ 2066 w 2149"/>
                  <a:gd name="T103" fmla="*/ 755 h 1910"/>
                  <a:gd name="T104" fmla="*/ 1968 w 2149"/>
                  <a:gd name="T105" fmla="*/ 700 h 1910"/>
                  <a:gd name="T106" fmla="*/ 1816 w 2149"/>
                  <a:gd name="T107" fmla="*/ 809 h 1910"/>
                  <a:gd name="T108" fmla="*/ 1616 w 2149"/>
                  <a:gd name="T109" fmla="*/ 347 h 1910"/>
                  <a:gd name="T110" fmla="*/ 1429 w 2149"/>
                  <a:gd name="T111" fmla="*/ 558 h 1910"/>
                  <a:gd name="T112" fmla="*/ 1348 w 2149"/>
                  <a:gd name="T113" fmla="*/ 846 h 1910"/>
                  <a:gd name="T114" fmla="*/ 1283 w 2149"/>
                  <a:gd name="T115" fmla="*/ 788 h 1910"/>
                  <a:gd name="T116" fmla="*/ 1175 w 2149"/>
                  <a:gd name="T117" fmla="*/ 700 h 1910"/>
                  <a:gd name="T118" fmla="*/ 1121 w 2149"/>
                  <a:gd name="T119" fmla="*/ 1005 h 1910"/>
                  <a:gd name="T120" fmla="*/ 1122 w 2149"/>
                  <a:gd name="T121" fmla="*/ 1210 h 1910"/>
                  <a:gd name="T122" fmla="*/ 1303 w 2149"/>
                  <a:gd name="T123" fmla="*/ 1471 h 1910"/>
                  <a:gd name="T124" fmla="*/ 1677 w 2149"/>
                  <a:gd name="T125" fmla="*/ 1563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9" h="1910">
                    <a:moveTo>
                      <a:pt x="1348" y="1609"/>
                    </a:moveTo>
                    <a:cubicBezTo>
                      <a:pt x="1348" y="1617"/>
                      <a:pt x="1355" y="1624"/>
                      <a:pt x="1363" y="1624"/>
                    </a:cubicBezTo>
                    <a:cubicBezTo>
                      <a:pt x="1470" y="1624"/>
                      <a:pt x="1470" y="1624"/>
                      <a:pt x="1470" y="1624"/>
                    </a:cubicBezTo>
                    <a:cubicBezTo>
                      <a:pt x="1427" y="1614"/>
                      <a:pt x="1387" y="1600"/>
                      <a:pt x="1348" y="1583"/>
                    </a:cubicBezTo>
                    <a:lnTo>
                      <a:pt x="1348" y="1609"/>
                    </a:lnTo>
                    <a:close/>
                    <a:moveTo>
                      <a:pt x="1662" y="1656"/>
                    </a:moveTo>
                    <a:cubicBezTo>
                      <a:pt x="1511" y="1656"/>
                      <a:pt x="1511" y="1656"/>
                      <a:pt x="1511" y="1656"/>
                    </a:cubicBezTo>
                    <a:cubicBezTo>
                      <a:pt x="1502" y="1656"/>
                      <a:pt x="1496" y="1663"/>
                      <a:pt x="1496" y="1671"/>
                    </a:cubicBezTo>
                    <a:cubicBezTo>
                      <a:pt x="1496" y="1895"/>
                      <a:pt x="1496" y="1895"/>
                      <a:pt x="1496" y="1895"/>
                    </a:cubicBezTo>
                    <a:cubicBezTo>
                      <a:pt x="1496" y="1904"/>
                      <a:pt x="1502" y="1910"/>
                      <a:pt x="1511" y="1910"/>
                    </a:cubicBezTo>
                    <a:cubicBezTo>
                      <a:pt x="1662" y="1910"/>
                      <a:pt x="1662" y="1910"/>
                      <a:pt x="1662" y="1910"/>
                    </a:cubicBezTo>
                    <a:cubicBezTo>
                      <a:pt x="1670" y="1910"/>
                      <a:pt x="1677" y="1904"/>
                      <a:pt x="1677" y="1895"/>
                    </a:cubicBezTo>
                    <a:cubicBezTo>
                      <a:pt x="1677" y="1671"/>
                      <a:pt x="1677" y="1671"/>
                      <a:pt x="1677" y="1671"/>
                    </a:cubicBezTo>
                    <a:cubicBezTo>
                      <a:pt x="1677" y="1663"/>
                      <a:pt x="1670" y="1656"/>
                      <a:pt x="1662" y="1656"/>
                    </a:cubicBezTo>
                    <a:close/>
                    <a:moveTo>
                      <a:pt x="703" y="1314"/>
                    </a:moveTo>
                    <a:cubicBezTo>
                      <a:pt x="703" y="1090"/>
                      <a:pt x="703" y="1090"/>
                      <a:pt x="703" y="1090"/>
                    </a:cubicBezTo>
                    <a:cubicBezTo>
                      <a:pt x="703" y="1081"/>
                      <a:pt x="696" y="1074"/>
                      <a:pt x="688" y="1074"/>
                    </a:cubicBezTo>
                    <a:cubicBezTo>
                      <a:pt x="389" y="1074"/>
                      <a:pt x="389" y="1074"/>
                      <a:pt x="389" y="1074"/>
                    </a:cubicBezTo>
                    <a:cubicBezTo>
                      <a:pt x="381" y="1074"/>
                      <a:pt x="374" y="1081"/>
                      <a:pt x="374" y="1090"/>
                    </a:cubicBezTo>
                    <a:cubicBezTo>
                      <a:pt x="374" y="1314"/>
                      <a:pt x="374" y="1314"/>
                      <a:pt x="374" y="1314"/>
                    </a:cubicBezTo>
                    <a:cubicBezTo>
                      <a:pt x="374" y="1322"/>
                      <a:pt x="381" y="1329"/>
                      <a:pt x="389" y="1329"/>
                    </a:cubicBezTo>
                    <a:cubicBezTo>
                      <a:pt x="688" y="1329"/>
                      <a:pt x="688" y="1329"/>
                      <a:pt x="688" y="1329"/>
                    </a:cubicBezTo>
                    <a:cubicBezTo>
                      <a:pt x="696" y="1329"/>
                      <a:pt x="703" y="1322"/>
                      <a:pt x="703" y="1314"/>
                    </a:cubicBezTo>
                    <a:close/>
                    <a:moveTo>
                      <a:pt x="990" y="1624"/>
                    </a:moveTo>
                    <a:cubicBezTo>
                      <a:pt x="1288" y="1624"/>
                      <a:pt x="1288" y="1624"/>
                      <a:pt x="1288" y="1624"/>
                    </a:cubicBezTo>
                    <a:cubicBezTo>
                      <a:pt x="1297" y="1624"/>
                      <a:pt x="1303" y="1617"/>
                      <a:pt x="1303" y="1609"/>
                    </a:cubicBezTo>
                    <a:cubicBezTo>
                      <a:pt x="1303" y="1560"/>
                      <a:pt x="1303" y="1560"/>
                      <a:pt x="1303" y="1560"/>
                    </a:cubicBezTo>
                    <a:cubicBezTo>
                      <a:pt x="1269" y="1540"/>
                      <a:pt x="1238" y="1518"/>
                      <a:pt x="1209" y="1493"/>
                    </a:cubicBezTo>
                    <a:cubicBezTo>
                      <a:pt x="1168" y="1456"/>
                      <a:pt x="1134" y="1415"/>
                      <a:pt x="1107" y="1369"/>
                    </a:cubicBezTo>
                    <a:cubicBezTo>
                      <a:pt x="990" y="1369"/>
                      <a:pt x="990" y="1369"/>
                      <a:pt x="990" y="1369"/>
                    </a:cubicBezTo>
                    <a:cubicBezTo>
                      <a:pt x="981" y="1369"/>
                      <a:pt x="974" y="1376"/>
                      <a:pt x="974" y="1385"/>
                    </a:cubicBezTo>
                    <a:cubicBezTo>
                      <a:pt x="974" y="1609"/>
                      <a:pt x="974" y="1609"/>
                      <a:pt x="974" y="1609"/>
                    </a:cubicBezTo>
                    <a:cubicBezTo>
                      <a:pt x="974" y="1617"/>
                      <a:pt x="981" y="1624"/>
                      <a:pt x="990" y="1624"/>
                    </a:cubicBezTo>
                    <a:close/>
                    <a:moveTo>
                      <a:pt x="1077" y="1314"/>
                    </a:moveTo>
                    <a:cubicBezTo>
                      <a:pt x="1077" y="1311"/>
                      <a:pt x="1077" y="1311"/>
                      <a:pt x="1077" y="1311"/>
                    </a:cubicBezTo>
                    <a:cubicBezTo>
                      <a:pt x="1048" y="1244"/>
                      <a:pt x="1032" y="1171"/>
                      <a:pt x="1032" y="1093"/>
                    </a:cubicBezTo>
                    <a:cubicBezTo>
                      <a:pt x="1032" y="1087"/>
                      <a:pt x="1033" y="1081"/>
                      <a:pt x="1033" y="1074"/>
                    </a:cubicBezTo>
                    <a:cubicBezTo>
                      <a:pt x="763" y="1074"/>
                      <a:pt x="763" y="1074"/>
                      <a:pt x="763" y="1074"/>
                    </a:cubicBezTo>
                    <a:cubicBezTo>
                      <a:pt x="755" y="1074"/>
                      <a:pt x="748" y="1081"/>
                      <a:pt x="748" y="1090"/>
                    </a:cubicBezTo>
                    <a:cubicBezTo>
                      <a:pt x="748" y="1314"/>
                      <a:pt x="748" y="1314"/>
                      <a:pt x="748" y="1314"/>
                    </a:cubicBezTo>
                    <a:cubicBezTo>
                      <a:pt x="748" y="1322"/>
                      <a:pt x="755" y="1329"/>
                      <a:pt x="763" y="1329"/>
                    </a:cubicBezTo>
                    <a:cubicBezTo>
                      <a:pt x="1062" y="1329"/>
                      <a:pt x="1062" y="1329"/>
                      <a:pt x="1062" y="1329"/>
                    </a:cubicBezTo>
                    <a:cubicBezTo>
                      <a:pt x="1070" y="1329"/>
                      <a:pt x="1077" y="1322"/>
                      <a:pt x="1077" y="1314"/>
                    </a:cubicBezTo>
                    <a:close/>
                    <a:moveTo>
                      <a:pt x="990" y="1042"/>
                    </a:moveTo>
                    <a:cubicBezTo>
                      <a:pt x="1037" y="1042"/>
                      <a:pt x="1037" y="1042"/>
                      <a:pt x="1037" y="1042"/>
                    </a:cubicBezTo>
                    <a:cubicBezTo>
                      <a:pt x="1041" y="1013"/>
                      <a:pt x="1047" y="989"/>
                      <a:pt x="1048" y="985"/>
                    </a:cubicBezTo>
                    <a:cubicBezTo>
                      <a:pt x="1048" y="985"/>
                      <a:pt x="1048" y="984"/>
                      <a:pt x="1049" y="984"/>
                    </a:cubicBezTo>
                    <a:cubicBezTo>
                      <a:pt x="1049" y="983"/>
                      <a:pt x="1049" y="983"/>
                      <a:pt x="1049" y="983"/>
                    </a:cubicBezTo>
                    <a:cubicBezTo>
                      <a:pt x="1049" y="982"/>
                      <a:pt x="1049" y="982"/>
                      <a:pt x="1049" y="981"/>
                    </a:cubicBezTo>
                    <a:cubicBezTo>
                      <a:pt x="1053" y="966"/>
                      <a:pt x="1059" y="947"/>
                      <a:pt x="1065" y="926"/>
                    </a:cubicBezTo>
                    <a:cubicBezTo>
                      <a:pt x="1077" y="887"/>
                      <a:pt x="1093" y="836"/>
                      <a:pt x="1099" y="788"/>
                    </a:cubicBezTo>
                    <a:cubicBezTo>
                      <a:pt x="990" y="788"/>
                      <a:pt x="990" y="788"/>
                      <a:pt x="990" y="788"/>
                    </a:cubicBezTo>
                    <a:cubicBezTo>
                      <a:pt x="981" y="788"/>
                      <a:pt x="974" y="795"/>
                      <a:pt x="974" y="803"/>
                    </a:cubicBezTo>
                    <a:cubicBezTo>
                      <a:pt x="974" y="1027"/>
                      <a:pt x="974" y="1027"/>
                      <a:pt x="974" y="1027"/>
                    </a:cubicBezTo>
                    <a:cubicBezTo>
                      <a:pt x="974" y="1035"/>
                      <a:pt x="981" y="1042"/>
                      <a:pt x="990" y="1042"/>
                    </a:cubicBezTo>
                    <a:close/>
                    <a:moveTo>
                      <a:pt x="242" y="1369"/>
                    </a:moveTo>
                    <a:cubicBezTo>
                      <a:pt x="234" y="1369"/>
                      <a:pt x="227" y="1376"/>
                      <a:pt x="227" y="1385"/>
                    </a:cubicBezTo>
                    <a:cubicBezTo>
                      <a:pt x="227" y="1609"/>
                      <a:pt x="227" y="1609"/>
                      <a:pt x="227" y="1609"/>
                    </a:cubicBezTo>
                    <a:cubicBezTo>
                      <a:pt x="227" y="1617"/>
                      <a:pt x="234" y="1624"/>
                      <a:pt x="242" y="1624"/>
                    </a:cubicBezTo>
                    <a:cubicBezTo>
                      <a:pt x="541" y="1624"/>
                      <a:pt x="541" y="1624"/>
                      <a:pt x="541" y="1624"/>
                    </a:cubicBezTo>
                    <a:cubicBezTo>
                      <a:pt x="549" y="1624"/>
                      <a:pt x="556" y="1617"/>
                      <a:pt x="556" y="1609"/>
                    </a:cubicBezTo>
                    <a:cubicBezTo>
                      <a:pt x="556" y="1385"/>
                      <a:pt x="556" y="1385"/>
                      <a:pt x="556" y="1385"/>
                    </a:cubicBezTo>
                    <a:cubicBezTo>
                      <a:pt x="556" y="1376"/>
                      <a:pt x="549" y="1369"/>
                      <a:pt x="541" y="1369"/>
                    </a:cubicBezTo>
                    <a:lnTo>
                      <a:pt x="242" y="1369"/>
                    </a:lnTo>
                    <a:close/>
                    <a:moveTo>
                      <a:pt x="616" y="1042"/>
                    </a:moveTo>
                    <a:cubicBezTo>
                      <a:pt x="914" y="1042"/>
                      <a:pt x="914" y="1042"/>
                      <a:pt x="914" y="1042"/>
                    </a:cubicBezTo>
                    <a:cubicBezTo>
                      <a:pt x="923" y="1042"/>
                      <a:pt x="930" y="1035"/>
                      <a:pt x="930" y="1027"/>
                    </a:cubicBezTo>
                    <a:cubicBezTo>
                      <a:pt x="930" y="803"/>
                      <a:pt x="930" y="803"/>
                      <a:pt x="930" y="803"/>
                    </a:cubicBezTo>
                    <a:cubicBezTo>
                      <a:pt x="930" y="795"/>
                      <a:pt x="923" y="788"/>
                      <a:pt x="914" y="788"/>
                    </a:cubicBezTo>
                    <a:cubicBezTo>
                      <a:pt x="616" y="788"/>
                      <a:pt x="616" y="788"/>
                      <a:pt x="616" y="788"/>
                    </a:cubicBezTo>
                    <a:cubicBezTo>
                      <a:pt x="607" y="788"/>
                      <a:pt x="601" y="795"/>
                      <a:pt x="601" y="803"/>
                    </a:cubicBezTo>
                    <a:cubicBezTo>
                      <a:pt x="601" y="1027"/>
                      <a:pt x="601" y="1027"/>
                      <a:pt x="601" y="1027"/>
                    </a:cubicBezTo>
                    <a:cubicBezTo>
                      <a:pt x="601" y="1035"/>
                      <a:pt x="607" y="1042"/>
                      <a:pt x="616" y="1042"/>
                    </a:cubicBezTo>
                    <a:close/>
                    <a:moveTo>
                      <a:pt x="16" y="1369"/>
                    </a:moveTo>
                    <a:cubicBezTo>
                      <a:pt x="7" y="1369"/>
                      <a:pt x="0" y="1376"/>
                      <a:pt x="0" y="1385"/>
                    </a:cubicBezTo>
                    <a:cubicBezTo>
                      <a:pt x="0" y="1609"/>
                      <a:pt x="0" y="1609"/>
                      <a:pt x="0" y="1609"/>
                    </a:cubicBezTo>
                    <a:cubicBezTo>
                      <a:pt x="0" y="1617"/>
                      <a:pt x="7" y="1624"/>
                      <a:pt x="16" y="1624"/>
                    </a:cubicBezTo>
                    <a:cubicBezTo>
                      <a:pt x="167" y="1624"/>
                      <a:pt x="167" y="1624"/>
                      <a:pt x="167" y="1624"/>
                    </a:cubicBezTo>
                    <a:cubicBezTo>
                      <a:pt x="175" y="1624"/>
                      <a:pt x="182" y="1617"/>
                      <a:pt x="182" y="1609"/>
                    </a:cubicBezTo>
                    <a:cubicBezTo>
                      <a:pt x="182" y="1385"/>
                      <a:pt x="182" y="1385"/>
                      <a:pt x="182" y="1385"/>
                    </a:cubicBezTo>
                    <a:cubicBezTo>
                      <a:pt x="182" y="1376"/>
                      <a:pt x="175" y="1369"/>
                      <a:pt x="167" y="1369"/>
                    </a:cubicBezTo>
                    <a:lnTo>
                      <a:pt x="16" y="1369"/>
                    </a:lnTo>
                    <a:close/>
                    <a:moveTo>
                      <a:pt x="242" y="1042"/>
                    </a:moveTo>
                    <a:cubicBezTo>
                      <a:pt x="541" y="1042"/>
                      <a:pt x="541" y="1042"/>
                      <a:pt x="541" y="1042"/>
                    </a:cubicBezTo>
                    <a:cubicBezTo>
                      <a:pt x="549" y="1042"/>
                      <a:pt x="556" y="1035"/>
                      <a:pt x="556" y="1027"/>
                    </a:cubicBezTo>
                    <a:cubicBezTo>
                      <a:pt x="556" y="803"/>
                      <a:pt x="556" y="803"/>
                      <a:pt x="556" y="803"/>
                    </a:cubicBezTo>
                    <a:cubicBezTo>
                      <a:pt x="556" y="795"/>
                      <a:pt x="549" y="788"/>
                      <a:pt x="541" y="788"/>
                    </a:cubicBezTo>
                    <a:cubicBezTo>
                      <a:pt x="242" y="788"/>
                      <a:pt x="242" y="788"/>
                      <a:pt x="242" y="788"/>
                    </a:cubicBezTo>
                    <a:cubicBezTo>
                      <a:pt x="234" y="788"/>
                      <a:pt x="227" y="795"/>
                      <a:pt x="227" y="803"/>
                    </a:cubicBezTo>
                    <a:cubicBezTo>
                      <a:pt x="227" y="1027"/>
                      <a:pt x="227" y="1027"/>
                      <a:pt x="227" y="1027"/>
                    </a:cubicBezTo>
                    <a:cubicBezTo>
                      <a:pt x="227" y="1035"/>
                      <a:pt x="234" y="1042"/>
                      <a:pt x="242" y="1042"/>
                    </a:cubicBezTo>
                    <a:close/>
                    <a:moveTo>
                      <a:pt x="16" y="1042"/>
                    </a:moveTo>
                    <a:cubicBezTo>
                      <a:pt x="167" y="1042"/>
                      <a:pt x="167" y="1042"/>
                      <a:pt x="167" y="1042"/>
                    </a:cubicBezTo>
                    <a:cubicBezTo>
                      <a:pt x="175" y="1042"/>
                      <a:pt x="182" y="1035"/>
                      <a:pt x="182" y="1027"/>
                    </a:cubicBezTo>
                    <a:cubicBezTo>
                      <a:pt x="182" y="803"/>
                      <a:pt x="182" y="803"/>
                      <a:pt x="182" y="803"/>
                    </a:cubicBezTo>
                    <a:cubicBezTo>
                      <a:pt x="182" y="795"/>
                      <a:pt x="175" y="788"/>
                      <a:pt x="167" y="788"/>
                    </a:cubicBezTo>
                    <a:cubicBezTo>
                      <a:pt x="16" y="788"/>
                      <a:pt x="16" y="788"/>
                      <a:pt x="16" y="788"/>
                    </a:cubicBezTo>
                    <a:cubicBezTo>
                      <a:pt x="7" y="788"/>
                      <a:pt x="0" y="795"/>
                      <a:pt x="0" y="803"/>
                    </a:cubicBezTo>
                    <a:cubicBezTo>
                      <a:pt x="0" y="1027"/>
                      <a:pt x="0" y="1027"/>
                      <a:pt x="0" y="1027"/>
                    </a:cubicBezTo>
                    <a:cubicBezTo>
                      <a:pt x="0" y="1035"/>
                      <a:pt x="7" y="1042"/>
                      <a:pt x="16" y="1042"/>
                    </a:cubicBezTo>
                    <a:close/>
                    <a:moveTo>
                      <a:pt x="616" y="1624"/>
                    </a:moveTo>
                    <a:cubicBezTo>
                      <a:pt x="914" y="1624"/>
                      <a:pt x="914" y="1624"/>
                      <a:pt x="914" y="1624"/>
                    </a:cubicBezTo>
                    <a:cubicBezTo>
                      <a:pt x="923" y="1624"/>
                      <a:pt x="930" y="1617"/>
                      <a:pt x="930" y="1609"/>
                    </a:cubicBezTo>
                    <a:cubicBezTo>
                      <a:pt x="930" y="1385"/>
                      <a:pt x="930" y="1385"/>
                      <a:pt x="930" y="1385"/>
                    </a:cubicBezTo>
                    <a:cubicBezTo>
                      <a:pt x="930" y="1376"/>
                      <a:pt x="923" y="1369"/>
                      <a:pt x="914" y="1369"/>
                    </a:cubicBezTo>
                    <a:cubicBezTo>
                      <a:pt x="616" y="1369"/>
                      <a:pt x="616" y="1369"/>
                      <a:pt x="616" y="1369"/>
                    </a:cubicBezTo>
                    <a:cubicBezTo>
                      <a:pt x="607" y="1369"/>
                      <a:pt x="601" y="1376"/>
                      <a:pt x="601" y="1385"/>
                    </a:cubicBezTo>
                    <a:cubicBezTo>
                      <a:pt x="601" y="1609"/>
                      <a:pt x="601" y="1609"/>
                      <a:pt x="601" y="1609"/>
                    </a:cubicBezTo>
                    <a:cubicBezTo>
                      <a:pt x="601" y="1617"/>
                      <a:pt x="607" y="1624"/>
                      <a:pt x="616" y="1624"/>
                    </a:cubicBezTo>
                    <a:close/>
                    <a:moveTo>
                      <a:pt x="1436" y="1656"/>
                    </a:moveTo>
                    <a:cubicBezTo>
                      <a:pt x="1137" y="1656"/>
                      <a:pt x="1137" y="1656"/>
                      <a:pt x="1137" y="1656"/>
                    </a:cubicBezTo>
                    <a:cubicBezTo>
                      <a:pt x="1129" y="1656"/>
                      <a:pt x="1122" y="1663"/>
                      <a:pt x="1122" y="1671"/>
                    </a:cubicBezTo>
                    <a:cubicBezTo>
                      <a:pt x="1122" y="1895"/>
                      <a:pt x="1122" y="1895"/>
                      <a:pt x="1122" y="1895"/>
                    </a:cubicBezTo>
                    <a:cubicBezTo>
                      <a:pt x="1122" y="1904"/>
                      <a:pt x="1129" y="1910"/>
                      <a:pt x="1137" y="1910"/>
                    </a:cubicBezTo>
                    <a:cubicBezTo>
                      <a:pt x="1436" y="1910"/>
                      <a:pt x="1436" y="1910"/>
                      <a:pt x="1436" y="1910"/>
                    </a:cubicBezTo>
                    <a:cubicBezTo>
                      <a:pt x="1444" y="1910"/>
                      <a:pt x="1451" y="1904"/>
                      <a:pt x="1451" y="1895"/>
                    </a:cubicBezTo>
                    <a:cubicBezTo>
                      <a:pt x="1451" y="1671"/>
                      <a:pt x="1451" y="1671"/>
                      <a:pt x="1451" y="1671"/>
                    </a:cubicBezTo>
                    <a:cubicBezTo>
                      <a:pt x="1451" y="1663"/>
                      <a:pt x="1444" y="1656"/>
                      <a:pt x="1436" y="1656"/>
                    </a:cubicBezTo>
                    <a:close/>
                    <a:moveTo>
                      <a:pt x="16" y="1329"/>
                    </a:moveTo>
                    <a:cubicBezTo>
                      <a:pt x="314" y="1329"/>
                      <a:pt x="314" y="1329"/>
                      <a:pt x="314" y="1329"/>
                    </a:cubicBezTo>
                    <a:cubicBezTo>
                      <a:pt x="323" y="1329"/>
                      <a:pt x="329" y="1322"/>
                      <a:pt x="329" y="1314"/>
                    </a:cubicBezTo>
                    <a:cubicBezTo>
                      <a:pt x="329" y="1090"/>
                      <a:pt x="329" y="1090"/>
                      <a:pt x="329" y="1090"/>
                    </a:cubicBezTo>
                    <a:cubicBezTo>
                      <a:pt x="329" y="1081"/>
                      <a:pt x="323" y="1074"/>
                      <a:pt x="314" y="1074"/>
                    </a:cubicBezTo>
                    <a:cubicBezTo>
                      <a:pt x="16" y="1074"/>
                      <a:pt x="16" y="1074"/>
                      <a:pt x="16" y="1074"/>
                    </a:cubicBezTo>
                    <a:cubicBezTo>
                      <a:pt x="7" y="1074"/>
                      <a:pt x="0" y="1081"/>
                      <a:pt x="0" y="1090"/>
                    </a:cubicBezTo>
                    <a:cubicBezTo>
                      <a:pt x="0" y="1314"/>
                      <a:pt x="0" y="1314"/>
                      <a:pt x="0" y="1314"/>
                    </a:cubicBezTo>
                    <a:cubicBezTo>
                      <a:pt x="0" y="1322"/>
                      <a:pt x="7" y="1329"/>
                      <a:pt x="16" y="1329"/>
                    </a:cubicBezTo>
                    <a:close/>
                    <a:moveTo>
                      <a:pt x="688" y="1656"/>
                    </a:moveTo>
                    <a:cubicBezTo>
                      <a:pt x="389" y="1656"/>
                      <a:pt x="389" y="1656"/>
                      <a:pt x="389" y="1656"/>
                    </a:cubicBezTo>
                    <a:cubicBezTo>
                      <a:pt x="381" y="1656"/>
                      <a:pt x="374" y="1663"/>
                      <a:pt x="374" y="1671"/>
                    </a:cubicBezTo>
                    <a:cubicBezTo>
                      <a:pt x="374" y="1895"/>
                      <a:pt x="374" y="1895"/>
                      <a:pt x="374" y="1895"/>
                    </a:cubicBezTo>
                    <a:cubicBezTo>
                      <a:pt x="374" y="1904"/>
                      <a:pt x="381" y="1910"/>
                      <a:pt x="389" y="1910"/>
                    </a:cubicBezTo>
                    <a:cubicBezTo>
                      <a:pt x="688" y="1910"/>
                      <a:pt x="688" y="1910"/>
                      <a:pt x="688" y="1910"/>
                    </a:cubicBezTo>
                    <a:cubicBezTo>
                      <a:pt x="696" y="1910"/>
                      <a:pt x="703" y="1904"/>
                      <a:pt x="703" y="1895"/>
                    </a:cubicBezTo>
                    <a:cubicBezTo>
                      <a:pt x="703" y="1671"/>
                      <a:pt x="703" y="1671"/>
                      <a:pt x="703" y="1671"/>
                    </a:cubicBezTo>
                    <a:cubicBezTo>
                      <a:pt x="703" y="1663"/>
                      <a:pt x="696" y="1656"/>
                      <a:pt x="688" y="1656"/>
                    </a:cubicBezTo>
                    <a:close/>
                    <a:moveTo>
                      <a:pt x="314" y="1656"/>
                    </a:moveTo>
                    <a:cubicBezTo>
                      <a:pt x="16" y="1656"/>
                      <a:pt x="16" y="1656"/>
                      <a:pt x="16" y="1656"/>
                    </a:cubicBezTo>
                    <a:cubicBezTo>
                      <a:pt x="7" y="1656"/>
                      <a:pt x="0" y="1663"/>
                      <a:pt x="0" y="1671"/>
                    </a:cubicBezTo>
                    <a:cubicBezTo>
                      <a:pt x="0" y="1895"/>
                      <a:pt x="0" y="1895"/>
                      <a:pt x="0" y="1895"/>
                    </a:cubicBezTo>
                    <a:cubicBezTo>
                      <a:pt x="0" y="1904"/>
                      <a:pt x="7" y="1910"/>
                      <a:pt x="16" y="1910"/>
                    </a:cubicBezTo>
                    <a:cubicBezTo>
                      <a:pt x="314" y="1910"/>
                      <a:pt x="314" y="1910"/>
                      <a:pt x="314" y="1910"/>
                    </a:cubicBezTo>
                    <a:cubicBezTo>
                      <a:pt x="323" y="1910"/>
                      <a:pt x="329" y="1904"/>
                      <a:pt x="329" y="1895"/>
                    </a:cubicBezTo>
                    <a:cubicBezTo>
                      <a:pt x="329" y="1671"/>
                      <a:pt x="329" y="1671"/>
                      <a:pt x="329" y="1671"/>
                    </a:cubicBezTo>
                    <a:cubicBezTo>
                      <a:pt x="329" y="1663"/>
                      <a:pt x="323" y="1656"/>
                      <a:pt x="314" y="1656"/>
                    </a:cubicBezTo>
                    <a:close/>
                    <a:moveTo>
                      <a:pt x="1062" y="1656"/>
                    </a:moveTo>
                    <a:cubicBezTo>
                      <a:pt x="763" y="1656"/>
                      <a:pt x="763" y="1656"/>
                      <a:pt x="763" y="1656"/>
                    </a:cubicBezTo>
                    <a:cubicBezTo>
                      <a:pt x="755" y="1656"/>
                      <a:pt x="748" y="1663"/>
                      <a:pt x="748" y="1671"/>
                    </a:cubicBezTo>
                    <a:cubicBezTo>
                      <a:pt x="748" y="1895"/>
                      <a:pt x="748" y="1895"/>
                      <a:pt x="748" y="1895"/>
                    </a:cubicBezTo>
                    <a:cubicBezTo>
                      <a:pt x="748" y="1904"/>
                      <a:pt x="755" y="1910"/>
                      <a:pt x="763" y="1910"/>
                    </a:cubicBezTo>
                    <a:cubicBezTo>
                      <a:pt x="1062" y="1910"/>
                      <a:pt x="1062" y="1910"/>
                      <a:pt x="1062" y="1910"/>
                    </a:cubicBezTo>
                    <a:cubicBezTo>
                      <a:pt x="1070" y="1910"/>
                      <a:pt x="1077" y="1904"/>
                      <a:pt x="1077" y="1895"/>
                    </a:cubicBezTo>
                    <a:cubicBezTo>
                      <a:pt x="1077" y="1671"/>
                      <a:pt x="1077" y="1671"/>
                      <a:pt x="1077" y="1671"/>
                    </a:cubicBezTo>
                    <a:cubicBezTo>
                      <a:pt x="1077" y="1663"/>
                      <a:pt x="1070" y="1656"/>
                      <a:pt x="1062" y="1656"/>
                    </a:cubicBezTo>
                    <a:close/>
                    <a:moveTo>
                      <a:pt x="2135" y="955"/>
                    </a:moveTo>
                    <a:cubicBezTo>
                      <a:pt x="2125" y="887"/>
                      <a:pt x="2101" y="817"/>
                      <a:pt x="2066" y="755"/>
                    </a:cubicBezTo>
                    <a:cubicBezTo>
                      <a:pt x="2052" y="732"/>
                      <a:pt x="2038" y="710"/>
                      <a:pt x="2022" y="689"/>
                    </a:cubicBezTo>
                    <a:cubicBezTo>
                      <a:pt x="1999" y="660"/>
                      <a:pt x="1954" y="625"/>
                      <a:pt x="1917" y="615"/>
                    </a:cubicBezTo>
                    <a:cubicBezTo>
                      <a:pt x="1936" y="620"/>
                      <a:pt x="1963" y="682"/>
                      <a:pt x="1968" y="700"/>
                    </a:cubicBezTo>
                    <a:cubicBezTo>
                      <a:pt x="1975" y="720"/>
                      <a:pt x="1977" y="742"/>
                      <a:pt x="1975" y="762"/>
                    </a:cubicBezTo>
                    <a:cubicBezTo>
                      <a:pt x="1972" y="790"/>
                      <a:pt x="1959" y="816"/>
                      <a:pt x="1934" y="834"/>
                    </a:cubicBezTo>
                    <a:cubicBezTo>
                      <a:pt x="1892" y="864"/>
                      <a:pt x="1846" y="847"/>
                      <a:pt x="1816" y="809"/>
                    </a:cubicBezTo>
                    <a:cubicBezTo>
                      <a:pt x="1813" y="805"/>
                      <a:pt x="1810" y="801"/>
                      <a:pt x="1808" y="797"/>
                    </a:cubicBezTo>
                    <a:cubicBezTo>
                      <a:pt x="1781" y="755"/>
                      <a:pt x="1776" y="706"/>
                      <a:pt x="1769" y="658"/>
                    </a:cubicBezTo>
                    <a:cubicBezTo>
                      <a:pt x="1751" y="540"/>
                      <a:pt x="1653" y="458"/>
                      <a:pt x="1616" y="347"/>
                    </a:cubicBezTo>
                    <a:cubicBezTo>
                      <a:pt x="1578" y="234"/>
                      <a:pt x="1596" y="94"/>
                      <a:pt x="1672" y="0"/>
                    </a:cubicBezTo>
                    <a:cubicBezTo>
                      <a:pt x="1532" y="67"/>
                      <a:pt x="1405" y="217"/>
                      <a:pt x="1404" y="378"/>
                    </a:cubicBezTo>
                    <a:cubicBezTo>
                      <a:pt x="1404" y="439"/>
                      <a:pt x="1414" y="499"/>
                      <a:pt x="1429" y="558"/>
                    </a:cubicBezTo>
                    <a:cubicBezTo>
                      <a:pt x="1446" y="626"/>
                      <a:pt x="1482" y="719"/>
                      <a:pt x="1449" y="788"/>
                    </a:cubicBezTo>
                    <a:cubicBezTo>
                      <a:pt x="1444" y="799"/>
                      <a:pt x="1437" y="809"/>
                      <a:pt x="1428" y="818"/>
                    </a:cubicBezTo>
                    <a:cubicBezTo>
                      <a:pt x="1409" y="838"/>
                      <a:pt x="1377" y="849"/>
                      <a:pt x="1348" y="846"/>
                    </a:cubicBezTo>
                    <a:cubicBezTo>
                      <a:pt x="1335" y="845"/>
                      <a:pt x="1323" y="840"/>
                      <a:pt x="1313" y="833"/>
                    </a:cubicBezTo>
                    <a:cubicBezTo>
                      <a:pt x="1309" y="830"/>
                      <a:pt x="1306" y="827"/>
                      <a:pt x="1303" y="824"/>
                    </a:cubicBezTo>
                    <a:cubicBezTo>
                      <a:pt x="1294" y="814"/>
                      <a:pt x="1288" y="801"/>
                      <a:pt x="1283" y="788"/>
                    </a:cubicBezTo>
                    <a:cubicBezTo>
                      <a:pt x="1279" y="777"/>
                      <a:pt x="1276" y="766"/>
                      <a:pt x="1273" y="755"/>
                    </a:cubicBezTo>
                    <a:cubicBezTo>
                      <a:pt x="1249" y="685"/>
                      <a:pt x="1204" y="636"/>
                      <a:pt x="1133" y="619"/>
                    </a:cubicBezTo>
                    <a:cubicBezTo>
                      <a:pt x="1160" y="630"/>
                      <a:pt x="1171" y="674"/>
                      <a:pt x="1175" y="700"/>
                    </a:cubicBezTo>
                    <a:cubicBezTo>
                      <a:pt x="1179" y="728"/>
                      <a:pt x="1179" y="758"/>
                      <a:pt x="1175" y="788"/>
                    </a:cubicBezTo>
                    <a:cubicBezTo>
                      <a:pt x="1165" y="874"/>
                      <a:pt x="1131" y="960"/>
                      <a:pt x="1122" y="1000"/>
                    </a:cubicBezTo>
                    <a:cubicBezTo>
                      <a:pt x="1122" y="1001"/>
                      <a:pt x="1121" y="1003"/>
                      <a:pt x="1121" y="1005"/>
                    </a:cubicBezTo>
                    <a:cubicBezTo>
                      <a:pt x="1118" y="1014"/>
                      <a:pt x="1115" y="1027"/>
                      <a:pt x="1113" y="1042"/>
                    </a:cubicBezTo>
                    <a:cubicBezTo>
                      <a:pt x="1110" y="1059"/>
                      <a:pt x="1108" y="1077"/>
                      <a:pt x="1108" y="1093"/>
                    </a:cubicBezTo>
                    <a:cubicBezTo>
                      <a:pt x="1108" y="1134"/>
                      <a:pt x="1113" y="1174"/>
                      <a:pt x="1122" y="1210"/>
                    </a:cubicBezTo>
                    <a:cubicBezTo>
                      <a:pt x="1132" y="1253"/>
                      <a:pt x="1149" y="1293"/>
                      <a:pt x="1170" y="1329"/>
                    </a:cubicBezTo>
                    <a:cubicBezTo>
                      <a:pt x="1178" y="1343"/>
                      <a:pt x="1187" y="1356"/>
                      <a:pt x="1197" y="1369"/>
                    </a:cubicBezTo>
                    <a:cubicBezTo>
                      <a:pt x="1227" y="1409"/>
                      <a:pt x="1262" y="1443"/>
                      <a:pt x="1303" y="1471"/>
                    </a:cubicBezTo>
                    <a:cubicBezTo>
                      <a:pt x="1318" y="1481"/>
                      <a:pt x="1333" y="1490"/>
                      <a:pt x="1348" y="1498"/>
                    </a:cubicBezTo>
                    <a:cubicBezTo>
                      <a:pt x="1428" y="1542"/>
                      <a:pt x="1522" y="1565"/>
                      <a:pt x="1623" y="1565"/>
                    </a:cubicBezTo>
                    <a:cubicBezTo>
                      <a:pt x="1642" y="1565"/>
                      <a:pt x="1659" y="1565"/>
                      <a:pt x="1677" y="1563"/>
                    </a:cubicBezTo>
                    <a:cubicBezTo>
                      <a:pt x="1930" y="1542"/>
                      <a:pt x="2128" y="1371"/>
                      <a:pt x="2139" y="1114"/>
                    </a:cubicBezTo>
                    <a:cubicBezTo>
                      <a:pt x="2149" y="1061"/>
                      <a:pt x="2142" y="1001"/>
                      <a:pt x="2135" y="95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grpSp>
        <p:grpSp>
          <p:nvGrpSpPr>
            <p:cNvPr id="16" name="Group 15"/>
            <p:cNvGrpSpPr/>
            <p:nvPr/>
          </p:nvGrpSpPr>
          <p:grpSpPr>
            <a:xfrm>
              <a:off x="851955" y="1495271"/>
              <a:ext cx="1351026" cy="1351026"/>
              <a:chOff x="1201432" y="1993695"/>
              <a:chExt cx="1801368" cy="1801368"/>
            </a:xfrm>
            <a:solidFill>
              <a:schemeClr val="tx2">
                <a:lumMod val="75000"/>
              </a:schemeClr>
            </a:solidFill>
          </p:grpSpPr>
          <p:sp>
            <p:nvSpPr>
              <p:cNvPr id="17" name="Oval 16"/>
              <p:cNvSpPr/>
              <p:nvPr/>
            </p:nvSpPr>
            <p:spPr>
              <a:xfrm>
                <a:off x="1201432" y="1993695"/>
                <a:ext cx="1801368" cy="1801368"/>
              </a:xfrm>
              <a:prstGeom prst="ellipse">
                <a:avLst/>
              </a:prstGeom>
              <a:solidFill>
                <a:schemeClr val="accent1"/>
              </a:solidFill>
              <a:ln w="19050" cap="flat" cmpd="sng" algn="ctr">
                <a:solidFill>
                  <a:srgbClr val="FFFFFF"/>
                </a:solidFill>
                <a:prstDash val="solid"/>
              </a:ln>
              <a:effec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grpSp>
            <p:nvGrpSpPr>
              <p:cNvPr id="18" name="Group 17"/>
              <p:cNvGrpSpPr/>
              <p:nvPr/>
            </p:nvGrpSpPr>
            <p:grpSpPr>
              <a:xfrm>
                <a:off x="1535511" y="2480876"/>
                <a:ext cx="1133210" cy="827006"/>
                <a:chOff x="3056026" y="2256262"/>
                <a:chExt cx="237444" cy="173284"/>
              </a:xfrm>
              <a:grpFill/>
            </p:grpSpPr>
            <p:sp>
              <p:nvSpPr>
                <p:cNvPr id="19" name="Rectangle 49"/>
                <p:cNvSpPr>
                  <a:spLocks noChangeArrowheads="1"/>
                </p:cNvSpPr>
                <p:nvPr/>
              </p:nvSpPr>
              <p:spPr bwMode="auto">
                <a:xfrm>
                  <a:off x="3056026" y="2375152"/>
                  <a:ext cx="158296" cy="54394"/>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sp>
              <p:nvSpPr>
                <p:cNvPr id="20" name="Rectangle 50"/>
                <p:cNvSpPr>
                  <a:spLocks noChangeArrowheads="1"/>
                </p:cNvSpPr>
                <p:nvPr/>
              </p:nvSpPr>
              <p:spPr bwMode="auto">
                <a:xfrm>
                  <a:off x="3135174" y="2315318"/>
                  <a:ext cx="158296" cy="54394"/>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sp>
              <p:nvSpPr>
                <p:cNvPr id="21" name="Rectangle 51"/>
                <p:cNvSpPr>
                  <a:spLocks noChangeArrowheads="1"/>
                </p:cNvSpPr>
                <p:nvPr/>
              </p:nvSpPr>
              <p:spPr bwMode="auto">
                <a:xfrm>
                  <a:off x="3221375" y="2375152"/>
                  <a:ext cx="72095" cy="54394"/>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sp>
              <p:nvSpPr>
                <p:cNvPr id="22" name="Rectangle 52"/>
                <p:cNvSpPr>
                  <a:spLocks noChangeArrowheads="1"/>
                </p:cNvSpPr>
                <p:nvPr/>
              </p:nvSpPr>
              <p:spPr bwMode="auto">
                <a:xfrm>
                  <a:off x="3221375" y="2256262"/>
                  <a:ext cx="72095" cy="53617"/>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sp>
              <p:nvSpPr>
                <p:cNvPr id="23" name="Rectangle 53"/>
                <p:cNvSpPr>
                  <a:spLocks noChangeArrowheads="1"/>
                </p:cNvSpPr>
                <p:nvPr/>
              </p:nvSpPr>
              <p:spPr bwMode="auto">
                <a:xfrm>
                  <a:off x="3056026" y="2315318"/>
                  <a:ext cx="71312" cy="54394"/>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sp>
              <p:nvSpPr>
                <p:cNvPr id="24" name="Rectangle 54"/>
                <p:cNvSpPr>
                  <a:spLocks noChangeArrowheads="1"/>
                </p:cNvSpPr>
                <p:nvPr/>
              </p:nvSpPr>
              <p:spPr bwMode="auto">
                <a:xfrm>
                  <a:off x="3056026" y="2256262"/>
                  <a:ext cx="158296" cy="53617"/>
                </a:xfrm>
                <a:prstGeom prst="rect">
                  <a:avLst/>
                </a:prstGeom>
                <a:solidFill>
                  <a:schemeClr val="accent1"/>
                </a:solidFill>
                <a:ln w="19050" cap="flat" cmpd="sng" algn="ctr">
                  <a:solidFill>
                    <a:srgbClr val="FFFFFF"/>
                  </a:solidFill>
                  <a:prstDash val="solid"/>
                </a:ln>
                <a:effectLst/>
                <a:extLst/>
              </p:spPr>
              <p:txBody>
                <a:bodyPr rtlCol="0" anchor="ctr"/>
                <a:lstStyle/>
                <a:p>
                  <a:pPr algn="ctr" defTabSz="685800" fontAlgn="auto">
                    <a:spcBef>
                      <a:spcPts val="0"/>
                    </a:spcBef>
                    <a:spcAft>
                      <a:spcPts val="0"/>
                    </a:spcAft>
                  </a:pPr>
                  <a:endParaRPr lang="en-US" sz="1000" b="1" kern="0">
                    <a:solidFill>
                      <a:srgbClr val="FFFFFF"/>
                    </a:solidFill>
                    <a:latin typeface="メイリオ"/>
                    <a:ea typeface="メイリオ"/>
                    <a:cs typeface="メイリオ"/>
                  </a:endParaRPr>
                </a:p>
              </p:txBody>
            </p:sp>
          </p:grpSp>
        </p:grpSp>
        <p:sp>
          <p:nvSpPr>
            <p:cNvPr id="25" name="Rectangle 24"/>
            <p:cNvSpPr/>
            <p:nvPr/>
          </p:nvSpPr>
          <p:spPr>
            <a:xfrm>
              <a:off x="682255" y="2760025"/>
              <a:ext cx="1690427" cy="863061"/>
            </a:xfrm>
            <a:prstGeom prst="rect">
              <a:avLst/>
            </a:prstGeom>
            <a:noFill/>
            <a:ln w="25400" cap="flat" cmpd="sng" algn="ctr">
              <a:noFill/>
              <a:prstDash val="solid"/>
            </a:ln>
            <a:effectLst/>
          </p:spPr>
          <p:txBody>
            <a:bodyPr wrap="square" lIns="68577" tIns="34289" rIns="68577" bIns="34289" rtlCol="0" anchor="ctr">
              <a:spAutoFit/>
            </a:bodyPr>
            <a:lstStyle/>
            <a:p>
              <a:pPr algn="ctr" defTabSz="342900">
                <a:defRPr/>
              </a:pPr>
              <a:r>
                <a:rPr lang="en-US" sz="1050" dirty="0">
                  <a:latin typeface="メイリオ"/>
                  <a:ea typeface="メイリオ"/>
                  <a:cs typeface="メイリオ"/>
                </a:rPr>
                <a:t>ASA 5500-X</a:t>
              </a:r>
            </a:p>
            <a:p>
              <a:pPr algn="ctr" defTabSz="342900">
                <a:defRPr/>
              </a:pPr>
              <a:r>
                <a:rPr lang="en-US" sz="1050" dirty="0">
                  <a:latin typeface="メイリオ"/>
                  <a:ea typeface="メイリオ"/>
                  <a:cs typeface="メイリオ"/>
                </a:rPr>
                <a:t>Series Firewalls</a:t>
              </a:r>
            </a:p>
          </p:txBody>
        </p:sp>
        <p:sp>
          <p:nvSpPr>
            <p:cNvPr id="26" name="Freeform 6"/>
            <p:cNvSpPr>
              <a:spLocks/>
            </p:cNvSpPr>
            <p:nvPr/>
          </p:nvSpPr>
          <p:spPr bwMode="auto">
            <a:xfrm>
              <a:off x="1228725" y="1751410"/>
              <a:ext cx="319088" cy="1271588"/>
            </a:xfrm>
            <a:custGeom>
              <a:avLst/>
              <a:gdLst>
                <a:gd name="T0" fmla="*/ 0 w 268"/>
                <a:gd name="T1" fmla="*/ 906 h 1068"/>
                <a:gd name="T2" fmla="*/ 0 w 268"/>
                <a:gd name="T3" fmla="*/ 906 h 1068"/>
                <a:gd name="T4" fmla="*/ 2 w 268"/>
                <a:gd name="T5" fmla="*/ 944 h 1068"/>
                <a:gd name="T6" fmla="*/ 8 w 268"/>
                <a:gd name="T7" fmla="*/ 978 h 1068"/>
                <a:gd name="T8" fmla="*/ 12 w 268"/>
                <a:gd name="T9" fmla="*/ 992 h 1068"/>
                <a:gd name="T10" fmla="*/ 16 w 268"/>
                <a:gd name="T11" fmla="*/ 1006 h 1068"/>
                <a:gd name="T12" fmla="*/ 22 w 268"/>
                <a:gd name="T13" fmla="*/ 1018 h 1068"/>
                <a:gd name="T14" fmla="*/ 30 w 268"/>
                <a:gd name="T15" fmla="*/ 1028 h 1068"/>
                <a:gd name="T16" fmla="*/ 38 w 268"/>
                <a:gd name="T17" fmla="*/ 1038 h 1068"/>
                <a:gd name="T18" fmla="*/ 48 w 268"/>
                <a:gd name="T19" fmla="*/ 1046 h 1068"/>
                <a:gd name="T20" fmla="*/ 58 w 268"/>
                <a:gd name="T21" fmla="*/ 1052 h 1068"/>
                <a:gd name="T22" fmla="*/ 70 w 268"/>
                <a:gd name="T23" fmla="*/ 1058 h 1068"/>
                <a:gd name="T24" fmla="*/ 84 w 268"/>
                <a:gd name="T25" fmla="*/ 1062 h 1068"/>
                <a:gd name="T26" fmla="*/ 100 w 268"/>
                <a:gd name="T27" fmla="*/ 1066 h 1068"/>
                <a:gd name="T28" fmla="*/ 116 w 268"/>
                <a:gd name="T29" fmla="*/ 1068 h 1068"/>
                <a:gd name="T30" fmla="*/ 134 w 268"/>
                <a:gd name="T31" fmla="*/ 1068 h 1068"/>
                <a:gd name="T32" fmla="*/ 134 w 268"/>
                <a:gd name="T33" fmla="*/ 1068 h 1068"/>
                <a:gd name="T34" fmla="*/ 152 w 268"/>
                <a:gd name="T35" fmla="*/ 1068 h 1068"/>
                <a:gd name="T36" fmla="*/ 170 w 268"/>
                <a:gd name="T37" fmla="*/ 1066 h 1068"/>
                <a:gd name="T38" fmla="*/ 184 w 268"/>
                <a:gd name="T39" fmla="*/ 1062 h 1068"/>
                <a:gd name="T40" fmla="*/ 198 w 268"/>
                <a:gd name="T41" fmla="*/ 1058 h 1068"/>
                <a:gd name="T42" fmla="*/ 210 w 268"/>
                <a:gd name="T43" fmla="*/ 1052 h 1068"/>
                <a:gd name="T44" fmla="*/ 222 w 268"/>
                <a:gd name="T45" fmla="*/ 1046 h 1068"/>
                <a:gd name="T46" fmla="*/ 232 w 268"/>
                <a:gd name="T47" fmla="*/ 1038 h 1068"/>
                <a:gd name="T48" fmla="*/ 240 w 268"/>
                <a:gd name="T49" fmla="*/ 1028 h 1068"/>
                <a:gd name="T50" fmla="*/ 246 w 268"/>
                <a:gd name="T51" fmla="*/ 1018 h 1068"/>
                <a:gd name="T52" fmla="*/ 254 w 268"/>
                <a:gd name="T53" fmla="*/ 1006 h 1068"/>
                <a:gd name="T54" fmla="*/ 258 w 268"/>
                <a:gd name="T55" fmla="*/ 992 h 1068"/>
                <a:gd name="T56" fmla="*/ 262 w 268"/>
                <a:gd name="T57" fmla="*/ 978 h 1068"/>
                <a:gd name="T58" fmla="*/ 268 w 268"/>
                <a:gd name="T59" fmla="*/ 944 h 1068"/>
                <a:gd name="T60" fmla="*/ 268 w 268"/>
                <a:gd name="T61" fmla="*/ 906 h 1068"/>
                <a:gd name="T62" fmla="*/ 268 w 268"/>
                <a:gd name="T63" fmla="*/ 162 h 1068"/>
                <a:gd name="T64" fmla="*/ 268 w 268"/>
                <a:gd name="T65" fmla="*/ 162 h 1068"/>
                <a:gd name="T66" fmla="*/ 268 w 268"/>
                <a:gd name="T67" fmla="*/ 124 h 1068"/>
                <a:gd name="T68" fmla="*/ 262 w 268"/>
                <a:gd name="T69" fmla="*/ 92 h 1068"/>
                <a:gd name="T70" fmla="*/ 258 w 268"/>
                <a:gd name="T71" fmla="*/ 76 h 1068"/>
                <a:gd name="T72" fmla="*/ 254 w 268"/>
                <a:gd name="T73" fmla="*/ 64 h 1068"/>
                <a:gd name="T74" fmla="*/ 246 w 268"/>
                <a:gd name="T75" fmla="*/ 52 h 1068"/>
                <a:gd name="T76" fmla="*/ 240 w 268"/>
                <a:gd name="T77" fmla="*/ 40 h 1068"/>
                <a:gd name="T78" fmla="*/ 232 w 268"/>
                <a:gd name="T79" fmla="*/ 32 h 1068"/>
                <a:gd name="T80" fmla="*/ 222 w 268"/>
                <a:gd name="T81" fmla="*/ 24 h 1068"/>
                <a:gd name="T82" fmla="*/ 210 w 268"/>
                <a:gd name="T83" fmla="*/ 16 h 1068"/>
                <a:gd name="T84" fmla="*/ 198 w 268"/>
                <a:gd name="T85" fmla="*/ 10 h 1068"/>
                <a:gd name="T86" fmla="*/ 184 w 268"/>
                <a:gd name="T87" fmla="*/ 6 h 1068"/>
                <a:gd name="T88" fmla="*/ 170 w 268"/>
                <a:gd name="T89" fmla="*/ 4 h 1068"/>
                <a:gd name="T90" fmla="*/ 152 w 268"/>
                <a:gd name="T91" fmla="*/ 2 h 1068"/>
                <a:gd name="T92" fmla="*/ 134 w 268"/>
                <a:gd name="T93" fmla="*/ 0 h 1068"/>
                <a:gd name="T94" fmla="*/ 134 w 268"/>
                <a:gd name="T95" fmla="*/ 0 h 1068"/>
                <a:gd name="T96" fmla="*/ 116 w 268"/>
                <a:gd name="T97" fmla="*/ 2 h 1068"/>
                <a:gd name="T98" fmla="*/ 100 w 268"/>
                <a:gd name="T99" fmla="*/ 4 h 1068"/>
                <a:gd name="T100" fmla="*/ 84 w 268"/>
                <a:gd name="T101" fmla="*/ 6 h 1068"/>
                <a:gd name="T102" fmla="*/ 70 w 268"/>
                <a:gd name="T103" fmla="*/ 10 h 1068"/>
                <a:gd name="T104" fmla="*/ 58 w 268"/>
                <a:gd name="T105" fmla="*/ 16 h 1068"/>
                <a:gd name="T106" fmla="*/ 48 w 268"/>
                <a:gd name="T107" fmla="*/ 24 h 1068"/>
                <a:gd name="T108" fmla="*/ 38 w 268"/>
                <a:gd name="T109" fmla="*/ 32 h 1068"/>
                <a:gd name="T110" fmla="*/ 30 w 268"/>
                <a:gd name="T111" fmla="*/ 40 h 1068"/>
                <a:gd name="T112" fmla="*/ 22 w 268"/>
                <a:gd name="T113" fmla="*/ 52 h 1068"/>
                <a:gd name="T114" fmla="*/ 16 w 268"/>
                <a:gd name="T115" fmla="*/ 64 h 1068"/>
                <a:gd name="T116" fmla="*/ 12 w 268"/>
                <a:gd name="T117" fmla="*/ 76 h 1068"/>
                <a:gd name="T118" fmla="*/ 8 w 268"/>
                <a:gd name="T119" fmla="*/ 92 h 1068"/>
                <a:gd name="T120" fmla="*/ 2 w 268"/>
                <a:gd name="T121" fmla="*/ 124 h 1068"/>
                <a:gd name="T122" fmla="*/ 0 w 268"/>
                <a:gd name="T123" fmla="*/ 162 h 1068"/>
                <a:gd name="T124" fmla="*/ 0 w 268"/>
                <a:gd name="T125" fmla="*/ 906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1068">
                  <a:moveTo>
                    <a:pt x="0" y="906"/>
                  </a:moveTo>
                  <a:lnTo>
                    <a:pt x="0" y="906"/>
                  </a:lnTo>
                  <a:lnTo>
                    <a:pt x="2" y="944"/>
                  </a:lnTo>
                  <a:lnTo>
                    <a:pt x="8" y="978"/>
                  </a:lnTo>
                  <a:lnTo>
                    <a:pt x="12" y="992"/>
                  </a:lnTo>
                  <a:lnTo>
                    <a:pt x="16" y="1006"/>
                  </a:lnTo>
                  <a:lnTo>
                    <a:pt x="22" y="1018"/>
                  </a:lnTo>
                  <a:lnTo>
                    <a:pt x="30" y="1028"/>
                  </a:lnTo>
                  <a:lnTo>
                    <a:pt x="38" y="1038"/>
                  </a:lnTo>
                  <a:lnTo>
                    <a:pt x="48" y="1046"/>
                  </a:lnTo>
                  <a:lnTo>
                    <a:pt x="58" y="1052"/>
                  </a:lnTo>
                  <a:lnTo>
                    <a:pt x="70" y="1058"/>
                  </a:lnTo>
                  <a:lnTo>
                    <a:pt x="84" y="1062"/>
                  </a:lnTo>
                  <a:lnTo>
                    <a:pt x="100" y="1066"/>
                  </a:lnTo>
                  <a:lnTo>
                    <a:pt x="116" y="1068"/>
                  </a:lnTo>
                  <a:lnTo>
                    <a:pt x="134" y="1068"/>
                  </a:lnTo>
                  <a:lnTo>
                    <a:pt x="134" y="1068"/>
                  </a:lnTo>
                  <a:lnTo>
                    <a:pt x="152" y="1068"/>
                  </a:lnTo>
                  <a:lnTo>
                    <a:pt x="170" y="1066"/>
                  </a:lnTo>
                  <a:lnTo>
                    <a:pt x="184" y="1062"/>
                  </a:lnTo>
                  <a:lnTo>
                    <a:pt x="198" y="1058"/>
                  </a:lnTo>
                  <a:lnTo>
                    <a:pt x="210" y="1052"/>
                  </a:lnTo>
                  <a:lnTo>
                    <a:pt x="222" y="1046"/>
                  </a:lnTo>
                  <a:lnTo>
                    <a:pt x="232" y="1038"/>
                  </a:lnTo>
                  <a:lnTo>
                    <a:pt x="240" y="1028"/>
                  </a:lnTo>
                  <a:lnTo>
                    <a:pt x="246" y="1018"/>
                  </a:lnTo>
                  <a:lnTo>
                    <a:pt x="254" y="1006"/>
                  </a:lnTo>
                  <a:lnTo>
                    <a:pt x="258" y="992"/>
                  </a:lnTo>
                  <a:lnTo>
                    <a:pt x="262" y="978"/>
                  </a:lnTo>
                  <a:lnTo>
                    <a:pt x="268" y="944"/>
                  </a:lnTo>
                  <a:lnTo>
                    <a:pt x="268" y="906"/>
                  </a:lnTo>
                  <a:lnTo>
                    <a:pt x="268" y="162"/>
                  </a:lnTo>
                  <a:lnTo>
                    <a:pt x="268" y="162"/>
                  </a:lnTo>
                  <a:lnTo>
                    <a:pt x="268" y="124"/>
                  </a:lnTo>
                  <a:lnTo>
                    <a:pt x="262" y="92"/>
                  </a:lnTo>
                  <a:lnTo>
                    <a:pt x="258" y="76"/>
                  </a:lnTo>
                  <a:lnTo>
                    <a:pt x="254" y="64"/>
                  </a:lnTo>
                  <a:lnTo>
                    <a:pt x="246" y="52"/>
                  </a:lnTo>
                  <a:lnTo>
                    <a:pt x="240" y="40"/>
                  </a:lnTo>
                  <a:lnTo>
                    <a:pt x="232" y="32"/>
                  </a:lnTo>
                  <a:lnTo>
                    <a:pt x="222" y="24"/>
                  </a:lnTo>
                  <a:lnTo>
                    <a:pt x="210" y="16"/>
                  </a:lnTo>
                  <a:lnTo>
                    <a:pt x="198" y="10"/>
                  </a:lnTo>
                  <a:lnTo>
                    <a:pt x="184" y="6"/>
                  </a:lnTo>
                  <a:lnTo>
                    <a:pt x="170" y="4"/>
                  </a:lnTo>
                  <a:lnTo>
                    <a:pt x="152" y="2"/>
                  </a:lnTo>
                  <a:lnTo>
                    <a:pt x="134" y="0"/>
                  </a:lnTo>
                  <a:lnTo>
                    <a:pt x="134" y="0"/>
                  </a:lnTo>
                  <a:lnTo>
                    <a:pt x="116" y="2"/>
                  </a:lnTo>
                  <a:lnTo>
                    <a:pt x="100" y="4"/>
                  </a:lnTo>
                  <a:lnTo>
                    <a:pt x="84" y="6"/>
                  </a:lnTo>
                  <a:lnTo>
                    <a:pt x="70" y="10"/>
                  </a:lnTo>
                  <a:lnTo>
                    <a:pt x="58" y="16"/>
                  </a:lnTo>
                  <a:lnTo>
                    <a:pt x="48" y="24"/>
                  </a:lnTo>
                  <a:lnTo>
                    <a:pt x="38" y="32"/>
                  </a:lnTo>
                  <a:lnTo>
                    <a:pt x="30" y="40"/>
                  </a:lnTo>
                  <a:lnTo>
                    <a:pt x="22" y="52"/>
                  </a:lnTo>
                  <a:lnTo>
                    <a:pt x="16" y="64"/>
                  </a:lnTo>
                  <a:lnTo>
                    <a:pt x="12" y="76"/>
                  </a:lnTo>
                  <a:lnTo>
                    <a:pt x="8" y="92"/>
                  </a:lnTo>
                  <a:lnTo>
                    <a:pt x="2" y="124"/>
                  </a:lnTo>
                  <a:lnTo>
                    <a:pt x="0" y="162"/>
                  </a:lnTo>
                  <a:lnTo>
                    <a:pt x="0" y="9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27" name="Freeform 7"/>
            <p:cNvSpPr>
              <a:spLocks/>
            </p:cNvSpPr>
            <p:nvPr/>
          </p:nvSpPr>
          <p:spPr bwMode="auto">
            <a:xfrm>
              <a:off x="931069" y="1491854"/>
              <a:ext cx="916781" cy="1793081"/>
            </a:xfrm>
            <a:custGeom>
              <a:avLst/>
              <a:gdLst>
                <a:gd name="T0" fmla="*/ 0 w 770"/>
                <a:gd name="T1" fmla="*/ 374 h 1506"/>
                <a:gd name="T2" fmla="*/ 4 w 770"/>
                <a:gd name="T3" fmla="*/ 300 h 1506"/>
                <a:gd name="T4" fmla="*/ 22 w 770"/>
                <a:gd name="T5" fmla="*/ 228 h 1506"/>
                <a:gd name="T6" fmla="*/ 52 w 770"/>
                <a:gd name="T7" fmla="*/ 166 h 1506"/>
                <a:gd name="T8" fmla="*/ 92 w 770"/>
                <a:gd name="T9" fmla="*/ 110 h 1506"/>
                <a:gd name="T10" fmla="*/ 146 w 770"/>
                <a:gd name="T11" fmla="*/ 64 h 1506"/>
                <a:gd name="T12" fmla="*/ 214 w 770"/>
                <a:gd name="T13" fmla="*/ 28 h 1506"/>
                <a:gd name="T14" fmla="*/ 292 w 770"/>
                <a:gd name="T15" fmla="*/ 6 h 1506"/>
                <a:gd name="T16" fmla="*/ 384 w 770"/>
                <a:gd name="T17" fmla="*/ 0 h 1506"/>
                <a:gd name="T18" fmla="*/ 432 w 770"/>
                <a:gd name="T19" fmla="*/ 2 h 1506"/>
                <a:gd name="T20" fmla="*/ 518 w 770"/>
                <a:gd name="T21" fmla="*/ 16 h 1506"/>
                <a:gd name="T22" fmla="*/ 592 w 770"/>
                <a:gd name="T23" fmla="*/ 44 h 1506"/>
                <a:gd name="T24" fmla="*/ 652 w 770"/>
                <a:gd name="T25" fmla="*/ 86 h 1506"/>
                <a:gd name="T26" fmla="*/ 698 w 770"/>
                <a:gd name="T27" fmla="*/ 136 h 1506"/>
                <a:gd name="T28" fmla="*/ 734 w 770"/>
                <a:gd name="T29" fmla="*/ 196 h 1506"/>
                <a:gd name="T30" fmla="*/ 758 w 770"/>
                <a:gd name="T31" fmla="*/ 264 h 1506"/>
                <a:gd name="T32" fmla="*/ 768 w 770"/>
                <a:gd name="T33" fmla="*/ 336 h 1506"/>
                <a:gd name="T34" fmla="*/ 770 w 770"/>
                <a:gd name="T35" fmla="*/ 1130 h 1506"/>
                <a:gd name="T36" fmla="*/ 768 w 770"/>
                <a:gd name="T37" fmla="*/ 1168 h 1506"/>
                <a:gd name="T38" fmla="*/ 758 w 770"/>
                <a:gd name="T39" fmla="*/ 1242 h 1506"/>
                <a:gd name="T40" fmla="*/ 734 w 770"/>
                <a:gd name="T41" fmla="*/ 1308 h 1506"/>
                <a:gd name="T42" fmla="*/ 698 w 770"/>
                <a:gd name="T43" fmla="*/ 1368 h 1506"/>
                <a:gd name="T44" fmla="*/ 652 w 770"/>
                <a:gd name="T45" fmla="*/ 1420 h 1506"/>
                <a:gd name="T46" fmla="*/ 592 w 770"/>
                <a:gd name="T47" fmla="*/ 1460 h 1506"/>
                <a:gd name="T48" fmla="*/ 518 w 770"/>
                <a:gd name="T49" fmla="*/ 1488 h 1506"/>
                <a:gd name="T50" fmla="*/ 432 w 770"/>
                <a:gd name="T51" fmla="*/ 1504 h 1506"/>
                <a:gd name="T52" fmla="*/ 384 w 770"/>
                <a:gd name="T53" fmla="*/ 1506 h 1506"/>
                <a:gd name="T54" fmla="*/ 292 w 770"/>
                <a:gd name="T55" fmla="*/ 1498 h 1506"/>
                <a:gd name="T56" fmla="*/ 214 w 770"/>
                <a:gd name="T57" fmla="*/ 1476 h 1506"/>
                <a:gd name="T58" fmla="*/ 146 w 770"/>
                <a:gd name="T59" fmla="*/ 1442 h 1506"/>
                <a:gd name="T60" fmla="*/ 92 w 770"/>
                <a:gd name="T61" fmla="*/ 1396 h 1506"/>
                <a:gd name="T62" fmla="*/ 52 w 770"/>
                <a:gd name="T63" fmla="*/ 1340 h 1506"/>
                <a:gd name="T64" fmla="*/ 22 w 770"/>
                <a:gd name="T65" fmla="*/ 1276 h 1506"/>
                <a:gd name="T66" fmla="*/ 4 w 770"/>
                <a:gd name="T67" fmla="*/ 1206 h 1506"/>
                <a:gd name="T68" fmla="*/ 0 w 770"/>
                <a:gd name="T69" fmla="*/ 113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0" h="1506">
                  <a:moveTo>
                    <a:pt x="0" y="374"/>
                  </a:moveTo>
                  <a:lnTo>
                    <a:pt x="0" y="374"/>
                  </a:lnTo>
                  <a:lnTo>
                    <a:pt x="0" y="336"/>
                  </a:lnTo>
                  <a:lnTo>
                    <a:pt x="4" y="300"/>
                  </a:lnTo>
                  <a:lnTo>
                    <a:pt x="12" y="264"/>
                  </a:lnTo>
                  <a:lnTo>
                    <a:pt x="22" y="228"/>
                  </a:lnTo>
                  <a:lnTo>
                    <a:pt x="36" y="196"/>
                  </a:lnTo>
                  <a:lnTo>
                    <a:pt x="52" y="166"/>
                  </a:lnTo>
                  <a:lnTo>
                    <a:pt x="70" y="136"/>
                  </a:lnTo>
                  <a:lnTo>
                    <a:pt x="92" y="110"/>
                  </a:lnTo>
                  <a:lnTo>
                    <a:pt x="118" y="86"/>
                  </a:lnTo>
                  <a:lnTo>
                    <a:pt x="146" y="64"/>
                  </a:lnTo>
                  <a:lnTo>
                    <a:pt x="178" y="44"/>
                  </a:lnTo>
                  <a:lnTo>
                    <a:pt x="214" y="28"/>
                  </a:lnTo>
                  <a:lnTo>
                    <a:pt x="252" y="16"/>
                  </a:lnTo>
                  <a:lnTo>
                    <a:pt x="292" y="6"/>
                  </a:lnTo>
                  <a:lnTo>
                    <a:pt x="336" y="2"/>
                  </a:lnTo>
                  <a:lnTo>
                    <a:pt x="384" y="0"/>
                  </a:lnTo>
                  <a:lnTo>
                    <a:pt x="384" y="0"/>
                  </a:lnTo>
                  <a:lnTo>
                    <a:pt x="432" y="2"/>
                  </a:lnTo>
                  <a:lnTo>
                    <a:pt x="478" y="6"/>
                  </a:lnTo>
                  <a:lnTo>
                    <a:pt x="518" y="16"/>
                  </a:lnTo>
                  <a:lnTo>
                    <a:pt x="556" y="28"/>
                  </a:lnTo>
                  <a:lnTo>
                    <a:pt x="592" y="44"/>
                  </a:lnTo>
                  <a:lnTo>
                    <a:pt x="622" y="64"/>
                  </a:lnTo>
                  <a:lnTo>
                    <a:pt x="652" y="86"/>
                  </a:lnTo>
                  <a:lnTo>
                    <a:pt x="676" y="110"/>
                  </a:lnTo>
                  <a:lnTo>
                    <a:pt x="698" y="136"/>
                  </a:lnTo>
                  <a:lnTo>
                    <a:pt x="718" y="166"/>
                  </a:lnTo>
                  <a:lnTo>
                    <a:pt x="734" y="196"/>
                  </a:lnTo>
                  <a:lnTo>
                    <a:pt x="748" y="228"/>
                  </a:lnTo>
                  <a:lnTo>
                    <a:pt x="758" y="264"/>
                  </a:lnTo>
                  <a:lnTo>
                    <a:pt x="764" y="300"/>
                  </a:lnTo>
                  <a:lnTo>
                    <a:pt x="768" y="336"/>
                  </a:lnTo>
                  <a:lnTo>
                    <a:pt x="770" y="374"/>
                  </a:lnTo>
                  <a:lnTo>
                    <a:pt x="770" y="1130"/>
                  </a:lnTo>
                  <a:lnTo>
                    <a:pt x="770" y="1130"/>
                  </a:lnTo>
                  <a:lnTo>
                    <a:pt x="768" y="1168"/>
                  </a:lnTo>
                  <a:lnTo>
                    <a:pt x="764" y="1206"/>
                  </a:lnTo>
                  <a:lnTo>
                    <a:pt x="758" y="1242"/>
                  </a:lnTo>
                  <a:lnTo>
                    <a:pt x="748" y="1276"/>
                  </a:lnTo>
                  <a:lnTo>
                    <a:pt x="734" y="1308"/>
                  </a:lnTo>
                  <a:lnTo>
                    <a:pt x="718" y="1340"/>
                  </a:lnTo>
                  <a:lnTo>
                    <a:pt x="698" y="1368"/>
                  </a:lnTo>
                  <a:lnTo>
                    <a:pt x="676" y="1396"/>
                  </a:lnTo>
                  <a:lnTo>
                    <a:pt x="652" y="1420"/>
                  </a:lnTo>
                  <a:lnTo>
                    <a:pt x="622" y="1442"/>
                  </a:lnTo>
                  <a:lnTo>
                    <a:pt x="592" y="1460"/>
                  </a:lnTo>
                  <a:lnTo>
                    <a:pt x="556" y="1476"/>
                  </a:lnTo>
                  <a:lnTo>
                    <a:pt x="518" y="1488"/>
                  </a:lnTo>
                  <a:lnTo>
                    <a:pt x="478" y="1498"/>
                  </a:lnTo>
                  <a:lnTo>
                    <a:pt x="432" y="1504"/>
                  </a:lnTo>
                  <a:lnTo>
                    <a:pt x="384" y="1506"/>
                  </a:lnTo>
                  <a:lnTo>
                    <a:pt x="384" y="1506"/>
                  </a:lnTo>
                  <a:lnTo>
                    <a:pt x="336" y="1504"/>
                  </a:lnTo>
                  <a:lnTo>
                    <a:pt x="292" y="1498"/>
                  </a:lnTo>
                  <a:lnTo>
                    <a:pt x="252" y="1488"/>
                  </a:lnTo>
                  <a:lnTo>
                    <a:pt x="214" y="1476"/>
                  </a:lnTo>
                  <a:lnTo>
                    <a:pt x="178" y="1460"/>
                  </a:lnTo>
                  <a:lnTo>
                    <a:pt x="146" y="1442"/>
                  </a:lnTo>
                  <a:lnTo>
                    <a:pt x="118" y="1420"/>
                  </a:lnTo>
                  <a:lnTo>
                    <a:pt x="92" y="1396"/>
                  </a:lnTo>
                  <a:lnTo>
                    <a:pt x="70" y="1368"/>
                  </a:lnTo>
                  <a:lnTo>
                    <a:pt x="52" y="1340"/>
                  </a:lnTo>
                  <a:lnTo>
                    <a:pt x="36" y="1308"/>
                  </a:lnTo>
                  <a:lnTo>
                    <a:pt x="22" y="1276"/>
                  </a:lnTo>
                  <a:lnTo>
                    <a:pt x="12" y="1242"/>
                  </a:lnTo>
                  <a:lnTo>
                    <a:pt x="4" y="1206"/>
                  </a:lnTo>
                  <a:lnTo>
                    <a:pt x="0" y="1168"/>
                  </a:lnTo>
                  <a:lnTo>
                    <a:pt x="0" y="1130"/>
                  </a:lnTo>
                  <a:lnTo>
                    <a:pt x="0" y="3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28" name="Freeform 9"/>
            <p:cNvSpPr>
              <a:spLocks/>
            </p:cNvSpPr>
            <p:nvPr/>
          </p:nvSpPr>
          <p:spPr bwMode="auto">
            <a:xfrm>
              <a:off x="2314575" y="2158604"/>
              <a:ext cx="285750" cy="902494"/>
            </a:xfrm>
            <a:custGeom>
              <a:avLst/>
              <a:gdLst>
                <a:gd name="T0" fmla="*/ 0 w 240"/>
                <a:gd name="T1" fmla="*/ 702 h 758"/>
                <a:gd name="T2" fmla="*/ 0 w 240"/>
                <a:gd name="T3" fmla="*/ 702 h 758"/>
                <a:gd name="T4" fmla="*/ 32 w 240"/>
                <a:gd name="T5" fmla="*/ 724 h 758"/>
                <a:gd name="T6" fmla="*/ 64 w 240"/>
                <a:gd name="T7" fmla="*/ 742 h 758"/>
                <a:gd name="T8" fmla="*/ 80 w 240"/>
                <a:gd name="T9" fmla="*/ 750 h 758"/>
                <a:gd name="T10" fmla="*/ 96 w 240"/>
                <a:gd name="T11" fmla="*/ 754 h 758"/>
                <a:gd name="T12" fmla="*/ 114 w 240"/>
                <a:gd name="T13" fmla="*/ 758 h 758"/>
                <a:gd name="T14" fmla="*/ 130 w 240"/>
                <a:gd name="T15" fmla="*/ 758 h 758"/>
                <a:gd name="T16" fmla="*/ 130 w 240"/>
                <a:gd name="T17" fmla="*/ 758 h 758"/>
                <a:gd name="T18" fmla="*/ 152 w 240"/>
                <a:gd name="T19" fmla="*/ 758 h 758"/>
                <a:gd name="T20" fmla="*/ 162 w 240"/>
                <a:gd name="T21" fmla="*/ 754 h 758"/>
                <a:gd name="T22" fmla="*/ 172 w 240"/>
                <a:gd name="T23" fmla="*/ 752 h 758"/>
                <a:gd name="T24" fmla="*/ 182 w 240"/>
                <a:gd name="T25" fmla="*/ 746 h 758"/>
                <a:gd name="T26" fmla="*/ 192 w 240"/>
                <a:gd name="T27" fmla="*/ 740 h 758"/>
                <a:gd name="T28" fmla="*/ 200 w 240"/>
                <a:gd name="T29" fmla="*/ 734 h 758"/>
                <a:gd name="T30" fmla="*/ 208 w 240"/>
                <a:gd name="T31" fmla="*/ 724 h 758"/>
                <a:gd name="T32" fmla="*/ 214 w 240"/>
                <a:gd name="T33" fmla="*/ 714 h 758"/>
                <a:gd name="T34" fmla="*/ 220 w 240"/>
                <a:gd name="T35" fmla="*/ 702 h 758"/>
                <a:gd name="T36" fmla="*/ 226 w 240"/>
                <a:gd name="T37" fmla="*/ 686 h 758"/>
                <a:gd name="T38" fmla="*/ 230 w 240"/>
                <a:gd name="T39" fmla="*/ 670 h 758"/>
                <a:gd name="T40" fmla="*/ 234 w 240"/>
                <a:gd name="T41" fmla="*/ 652 h 758"/>
                <a:gd name="T42" fmla="*/ 238 w 240"/>
                <a:gd name="T43" fmla="*/ 632 h 758"/>
                <a:gd name="T44" fmla="*/ 238 w 240"/>
                <a:gd name="T45" fmla="*/ 608 h 758"/>
                <a:gd name="T46" fmla="*/ 240 w 240"/>
                <a:gd name="T47" fmla="*/ 582 h 758"/>
                <a:gd name="T48" fmla="*/ 240 w 240"/>
                <a:gd name="T49" fmla="*/ 176 h 758"/>
                <a:gd name="T50" fmla="*/ 240 w 240"/>
                <a:gd name="T51" fmla="*/ 176 h 758"/>
                <a:gd name="T52" fmla="*/ 238 w 240"/>
                <a:gd name="T53" fmla="*/ 150 h 758"/>
                <a:gd name="T54" fmla="*/ 238 w 240"/>
                <a:gd name="T55" fmla="*/ 128 h 758"/>
                <a:gd name="T56" fmla="*/ 234 w 240"/>
                <a:gd name="T57" fmla="*/ 106 h 758"/>
                <a:gd name="T58" fmla="*/ 230 w 240"/>
                <a:gd name="T59" fmla="*/ 88 h 758"/>
                <a:gd name="T60" fmla="*/ 226 w 240"/>
                <a:gd name="T61" fmla="*/ 72 h 758"/>
                <a:gd name="T62" fmla="*/ 220 w 240"/>
                <a:gd name="T63" fmla="*/ 56 h 758"/>
                <a:gd name="T64" fmla="*/ 214 w 240"/>
                <a:gd name="T65" fmla="*/ 44 h 758"/>
                <a:gd name="T66" fmla="*/ 208 w 240"/>
                <a:gd name="T67" fmla="*/ 34 h 758"/>
                <a:gd name="T68" fmla="*/ 200 w 240"/>
                <a:gd name="T69" fmla="*/ 24 h 758"/>
                <a:gd name="T70" fmla="*/ 192 w 240"/>
                <a:gd name="T71" fmla="*/ 18 h 758"/>
                <a:gd name="T72" fmla="*/ 182 w 240"/>
                <a:gd name="T73" fmla="*/ 12 h 758"/>
                <a:gd name="T74" fmla="*/ 172 w 240"/>
                <a:gd name="T75" fmla="*/ 6 h 758"/>
                <a:gd name="T76" fmla="*/ 162 w 240"/>
                <a:gd name="T77" fmla="*/ 4 h 758"/>
                <a:gd name="T78" fmla="*/ 152 w 240"/>
                <a:gd name="T79" fmla="*/ 2 h 758"/>
                <a:gd name="T80" fmla="*/ 130 w 240"/>
                <a:gd name="T81" fmla="*/ 0 h 758"/>
                <a:gd name="T82" fmla="*/ 130 w 240"/>
                <a:gd name="T83" fmla="*/ 0 h 758"/>
                <a:gd name="T84" fmla="*/ 114 w 240"/>
                <a:gd name="T85" fmla="*/ 0 h 758"/>
                <a:gd name="T86" fmla="*/ 96 w 240"/>
                <a:gd name="T87" fmla="*/ 4 h 758"/>
                <a:gd name="T88" fmla="*/ 80 w 240"/>
                <a:gd name="T89" fmla="*/ 8 h 758"/>
                <a:gd name="T90" fmla="*/ 64 w 240"/>
                <a:gd name="T91" fmla="*/ 16 h 758"/>
                <a:gd name="T92" fmla="*/ 32 w 240"/>
                <a:gd name="T93" fmla="*/ 34 h 758"/>
                <a:gd name="T94" fmla="*/ 0 w 240"/>
                <a:gd name="T95" fmla="*/ 56 h 758"/>
                <a:gd name="T96" fmla="*/ 0 w 240"/>
                <a:gd name="T97" fmla="*/ 702 h 758"/>
                <a:gd name="T98" fmla="*/ 0 w 240"/>
                <a:gd name="T99" fmla="*/ 702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758">
                  <a:moveTo>
                    <a:pt x="0" y="702"/>
                  </a:moveTo>
                  <a:lnTo>
                    <a:pt x="0" y="702"/>
                  </a:lnTo>
                  <a:lnTo>
                    <a:pt x="32" y="724"/>
                  </a:lnTo>
                  <a:lnTo>
                    <a:pt x="64" y="742"/>
                  </a:lnTo>
                  <a:lnTo>
                    <a:pt x="80" y="750"/>
                  </a:lnTo>
                  <a:lnTo>
                    <a:pt x="96" y="754"/>
                  </a:lnTo>
                  <a:lnTo>
                    <a:pt x="114" y="758"/>
                  </a:lnTo>
                  <a:lnTo>
                    <a:pt x="130" y="758"/>
                  </a:lnTo>
                  <a:lnTo>
                    <a:pt x="130" y="758"/>
                  </a:lnTo>
                  <a:lnTo>
                    <a:pt x="152" y="758"/>
                  </a:lnTo>
                  <a:lnTo>
                    <a:pt x="162" y="754"/>
                  </a:lnTo>
                  <a:lnTo>
                    <a:pt x="172" y="752"/>
                  </a:lnTo>
                  <a:lnTo>
                    <a:pt x="182" y="746"/>
                  </a:lnTo>
                  <a:lnTo>
                    <a:pt x="192" y="740"/>
                  </a:lnTo>
                  <a:lnTo>
                    <a:pt x="200" y="734"/>
                  </a:lnTo>
                  <a:lnTo>
                    <a:pt x="208" y="724"/>
                  </a:lnTo>
                  <a:lnTo>
                    <a:pt x="214" y="714"/>
                  </a:lnTo>
                  <a:lnTo>
                    <a:pt x="220" y="702"/>
                  </a:lnTo>
                  <a:lnTo>
                    <a:pt x="226" y="686"/>
                  </a:lnTo>
                  <a:lnTo>
                    <a:pt x="230" y="670"/>
                  </a:lnTo>
                  <a:lnTo>
                    <a:pt x="234" y="652"/>
                  </a:lnTo>
                  <a:lnTo>
                    <a:pt x="238" y="632"/>
                  </a:lnTo>
                  <a:lnTo>
                    <a:pt x="238" y="608"/>
                  </a:lnTo>
                  <a:lnTo>
                    <a:pt x="240" y="582"/>
                  </a:lnTo>
                  <a:lnTo>
                    <a:pt x="240" y="176"/>
                  </a:lnTo>
                  <a:lnTo>
                    <a:pt x="240" y="176"/>
                  </a:lnTo>
                  <a:lnTo>
                    <a:pt x="238" y="150"/>
                  </a:lnTo>
                  <a:lnTo>
                    <a:pt x="238" y="128"/>
                  </a:lnTo>
                  <a:lnTo>
                    <a:pt x="234" y="106"/>
                  </a:lnTo>
                  <a:lnTo>
                    <a:pt x="230" y="88"/>
                  </a:lnTo>
                  <a:lnTo>
                    <a:pt x="226" y="72"/>
                  </a:lnTo>
                  <a:lnTo>
                    <a:pt x="220" y="56"/>
                  </a:lnTo>
                  <a:lnTo>
                    <a:pt x="214" y="44"/>
                  </a:lnTo>
                  <a:lnTo>
                    <a:pt x="208" y="34"/>
                  </a:lnTo>
                  <a:lnTo>
                    <a:pt x="200" y="24"/>
                  </a:lnTo>
                  <a:lnTo>
                    <a:pt x="192" y="18"/>
                  </a:lnTo>
                  <a:lnTo>
                    <a:pt x="182" y="12"/>
                  </a:lnTo>
                  <a:lnTo>
                    <a:pt x="172" y="6"/>
                  </a:lnTo>
                  <a:lnTo>
                    <a:pt x="162" y="4"/>
                  </a:lnTo>
                  <a:lnTo>
                    <a:pt x="152" y="2"/>
                  </a:lnTo>
                  <a:lnTo>
                    <a:pt x="130" y="0"/>
                  </a:lnTo>
                  <a:lnTo>
                    <a:pt x="130" y="0"/>
                  </a:lnTo>
                  <a:lnTo>
                    <a:pt x="114" y="0"/>
                  </a:lnTo>
                  <a:lnTo>
                    <a:pt x="96" y="4"/>
                  </a:lnTo>
                  <a:lnTo>
                    <a:pt x="80" y="8"/>
                  </a:lnTo>
                  <a:lnTo>
                    <a:pt x="64" y="16"/>
                  </a:lnTo>
                  <a:lnTo>
                    <a:pt x="32" y="34"/>
                  </a:lnTo>
                  <a:lnTo>
                    <a:pt x="0" y="56"/>
                  </a:lnTo>
                  <a:lnTo>
                    <a:pt x="0" y="702"/>
                  </a:lnTo>
                  <a:lnTo>
                    <a:pt x="0" y="7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29" name="Freeform 10"/>
            <p:cNvSpPr>
              <a:spLocks/>
            </p:cNvSpPr>
            <p:nvPr/>
          </p:nvSpPr>
          <p:spPr bwMode="auto">
            <a:xfrm>
              <a:off x="2043113" y="1934767"/>
              <a:ext cx="827485" cy="1735931"/>
            </a:xfrm>
            <a:custGeom>
              <a:avLst/>
              <a:gdLst>
                <a:gd name="T0" fmla="*/ 216 w 695"/>
                <a:gd name="T1" fmla="*/ 22 h 1458"/>
                <a:gd name="T2" fmla="*/ 216 w 695"/>
                <a:gd name="T3" fmla="*/ 134 h 1458"/>
                <a:gd name="T4" fmla="*/ 220 w 695"/>
                <a:gd name="T5" fmla="*/ 134 h 1458"/>
                <a:gd name="T6" fmla="*/ 220 w 695"/>
                <a:gd name="T7" fmla="*/ 134 h 1458"/>
                <a:gd name="T8" fmla="*/ 248 w 695"/>
                <a:gd name="T9" fmla="*/ 102 h 1458"/>
                <a:gd name="T10" fmla="*/ 274 w 695"/>
                <a:gd name="T11" fmla="*/ 74 h 1458"/>
                <a:gd name="T12" fmla="*/ 300 w 695"/>
                <a:gd name="T13" fmla="*/ 50 h 1458"/>
                <a:gd name="T14" fmla="*/ 328 w 695"/>
                <a:gd name="T15" fmla="*/ 32 h 1458"/>
                <a:gd name="T16" fmla="*/ 342 w 695"/>
                <a:gd name="T17" fmla="*/ 24 h 1458"/>
                <a:gd name="T18" fmla="*/ 356 w 695"/>
                <a:gd name="T19" fmla="*/ 18 h 1458"/>
                <a:gd name="T20" fmla="*/ 372 w 695"/>
                <a:gd name="T21" fmla="*/ 12 h 1458"/>
                <a:gd name="T22" fmla="*/ 388 w 695"/>
                <a:gd name="T23" fmla="*/ 8 h 1458"/>
                <a:gd name="T24" fmla="*/ 424 w 695"/>
                <a:gd name="T25" fmla="*/ 2 h 1458"/>
                <a:gd name="T26" fmla="*/ 464 w 695"/>
                <a:gd name="T27" fmla="*/ 0 h 1458"/>
                <a:gd name="T28" fmla="*/ 464 w 695"/>
                <a:gd name="T29" fmla="*/ 0 h 1458"/>
                <a:gd name="T30" fmla="*/ 490 w 695"/>
                <a:gd name="T31" fmla="*/ 2 h 1458"/>
                <a:gd name="T32" fmla="*/ 514 w 695"/>
                <a:gd name="T33" fmla="*/ 6 h 1458"/>
                <a:gd name="T34" fmla="*/ 538 w 695"/>
                <a:gd name="T35" fmla="*/ 12 h 1458"/>
                <a:gd name="T36" fmla="*/ 560 w 695"/>
                <a:gd name="T37" fmla="*/ 20 h 1458"/>
                <a:gd name="T38" fmla="*/ 580 w 695"/>
                <a:gd name="T39" fmla="*/ 32 h 1458"/>
                <a:gd name="T40" fmla="*/ 601 w 695"/>
                <a:gd name="T41" fmla="*/ 44 h 1458"/>
                <a:gd name="T42" fmla="*/ 617 w 695"/>
                <a:gd name="T43" fmla="*/ 60 h 1458"/>
                <a:gd name="T44" fmla="*/ 633 w 695"/>
                <a:gd name="T45" fmla="*/ 78 h 1458"/>
                <a:gd name="T46" fmla="*/ 647 w 695"/>
                <a:gd name="T47" fmla="*/ 98 h 1458"/>
                <a:gd name="T48" fmla="*/ 661 w 695"/>
                <a:gd name="T49" fmla="*/ 122 h 1458"/>
                <a:gd name="T50" fmla="*/ 671 w 695"/>
                <a:gd name="T51" fmla="*/ 146 h 1458"/>
                <a:gd name="T52" fmla="*/ 679 w 695"/>
                <a:gd name="T53" fmla="*/ 174 h 1458"/>
                <a:gd name="T54" fmla="*/ 687 w 695"/>
                <a:gd name="T55" fmla="*/ 204 h 1458"/>
                <a:gd name="T56" fmla="*/ 691 w 695"/>
                <a:gd name="T57" fmla="*/ 236 h 1458"/>
                <a:gd name="T58" fmla="*/ 695 w 695"/>
                <a:gd name="T59" fmla="*/ 270 h 1458"/>
                <a:gd name="T60" fmla="*/ 695 w 695"/>
                <a:gd name="T61" fmla="*/ 306 h 1458"/>
                <a:gd name="T62" fmla="*/ 695 w 695"/>
                <a:gd name="T63" fmla="*/ 830 h 1458"/>
                <a:gd name="T64" fmla="*/ 695 w 695"/>
                <a:gd name="T65" fmla="*/ 830 h 1458"/>
                <a:gd name="T66" fmla="*/ 695 w 695"/>
                <a:gd name="T67" fmla="*/ 866 h 1458"/>
                <a:gd name="T68" fmla="*/ 691 w 695"/>
                <a:gd name="T69" fmla="*/ 900 h 1458"/>
                <a:gd name="T70" fmla="*/ 687 w 695"/>
                <a:gd name="T71" fmla="*/ 932 h 1458"/>
                <a:gd name="T72" fmla="*/ 679 w 695"/>
                <a:gd name="T73" fmla="*/ 960 h 1458"/>
                <a:gd name="T74" fmla="*/ 671 w 695"/>
                <a:gd name="T75" fmla="*/ 988 h 1458"/>
                <a:gd name="T76" fmla="*/ 661 w 695"/>
                <a:gd name="T77" fmla="*/ 1012 h 1458"/>
                <a:gd name="T78" fmla="*/ 647 w 695"/>
                <a:gd name="T79" fmla="*/ 1036 h 1458"/>
                <a:gd name="T80" fmla="*/ 633 w 695"/>
                <a:gd name="T81" fmla="*/ 1056 h 1458"/>
                <a:gd name="T82" fmla="*/ 617 w 695"/>
                <a:gd name="T83" fmla="*/ 1074 h 1458"/>
                <a:gd name="T84" fmla="*/ 601 w 695"/>
                <a:gd name="T85" fmla="*/ 1090 h 1458"/>
                <a:gd name="T86" fmla="*/ 580 w 695"/>
                <a:gd name="T87" fmla="*/ 1102 h 1458"/>
                <a:gd name="T88" fmla="*/ 560 w 695"/>
                <a:gd name="T89" fmla="*/ 1114 h 1458"/>
                <a:gd name="T90" fmla="*/ 538 w 695"/>
                <a:gd name="T91" fmla="*/ 1122 h 1458"/>
                <a:gd name="T92" fmla="*/ 514 w 695"/>
                <a:gd name="T93" fmla="*/ 1128 h 1458"/>
                <a:gd name="T94" fmla="*/ 490 w 695"/>
                <a:gd name="T95" fmla="*/ 1132 h 1458"/>
                <a:gd name="T96" fmla="*/ 464 w 695"/>
                <a:gd name="T97" fmla="*/ 1134 h 1458"/>
                <a:gd name="T98" fmla="*/ 464 w 695"/>
                <a:gd name="T99" fmla="*/ 1134 h 1458"/>
                <a:gd name="T100" fmla="*/ 428 w 695"/>
                <a:gd name="T101" fmla="*/ 1132 h 1458"/>
                <a:gd name="T102" fmla="*/ 398 w 695"/>
                <a:gd name="T103" fmla="*/ 1126 h 1458"/>
                <a:gd name="T104" fmla="*/ 368 w 695"/>
                <a:gd name="T105" fmla="*/ 1116 h 1458"/>
                <a:gd name="T106" fmla="*/ 342 w 695"/>
                <a:gd name="T107" fmla="*/ 1104 h 1458"/>
                <a:gd name="T108" fmla="*/ 316 w 695"/>
                <a:gd name="T109" fmla="*/ 1088 h 1458"/>
                <a:gd name="T110" fmla="*/ 288 w 695"/>
                <a:gd name="T111" fmla="*/ 1068 h 1458"/>
                <a:gd name="T112" fmla="*/ 228 w 695"/>
                <a:gd name="T113" fmla="*/ 1020 h 1458"/>
                <a:gd name="T114" fmla="*/ 228 w 695"/>
                <a:gd name="T115" fmla="*/ 1458 h 1458"/>
                <a:gd name="T116" fmla="*/ 0 w 695"/>
                <a:gd name="T117" fmla="*/ 1458 h 1458"/>
                <a:gd name="T118" fmla="*/ 0 w 695"/>
                <a:gd name="T119" fmla="*/ 22 h 1458"/>
                <a:gd name="T120" fmla="*/ 216 w 695"/>
                <a:gd name="T121" fmla="*/ 22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5" h="1458">
                  <a:moveTo>
                    <a:pt x="216" y="22"/>
                  </a:moveTo>
                  <a:lnTo>
                    <a:pt x="216" y="134"/>
                  </a:lnTo>
                  <a:lnTo>
                    <a:pt x="220" y="134"/>
                  </a:lnTo>
                  <a:lnTo>
                    <a:pt x="220" y="134"/>
                  </a:lnTo>
                  <a:lnTo>
                    <a:pt x="248" y="102"/>
                  </a:lnTo>
                  <a:lnTo>
                    <a:pt x="274" y="74"/>
                  </a:lnTo>
                  <a:lnTo>
                    <a:pt x="300" y="50"/>
                  </a:lnTo>
                  <a:lnTo>
                    <a:pt x="328" y="32"/>
                  </a:lnTo>
                  <a:lnTo>
                    <a:pt x="342" y="24"/>
                  </a:lnTo>
                  <a:lnTo>
                    <a:pt x="356" y="18"/>
                  </a:lnTo>
                  <a:lnTo>
                    <a:pt x="372" y="12"/>
                  </a:lnTo>
                  <a:lnTo>
                    <a:pt x="388" y="8"/>
                  </a:lnTo>
                  <a:lnTo>
                    <a:pt x="424" y="2"/>
                  </a:lnTo>
                  <a:lnTo>
                    <a:pt x="464" y="0"/>
                  </a:lnTo>
                  <a:lnTo>
                    <a:pt x="464" y="0"/>
                  </a:lnTo>
                  <a:lnTo>
                    <a:pt x="490" y="2"/>
                  </a:lnTo>
                  <a:lnTo>
                    <a:pt x="514" y="6"/>
                  </a:lnTo>
                  <a:lnTo>
                    <a:pt x="538" y="12"/>
                  </a:lnTo>
                  <a:lnTo>
                    <a:pt x="560" y="20"/>
                  </a:lnTo>
                  <a:lnTo>
                    <a:pt x="580" y="32"/>
                  </a:lnTo>
                  <a:lnTo>
                    <a:pt x="601" y="44"/>
                  </a:lnTo>
                  <a:lnTo>
                    <a:pt x="617" y="60"/>
                  </a:lnTo>
                  <a:lnTo>
                    <a:pt x="633" y="78"/>
                  </a:lnTo>
                  <a:lnTo>
                    <a:pt x="647" y="98"/>
                  </a:lnTo>
                  <a:lnTo>
                    <a:pt x="661" y="122"/>
                  </a:lnTo>
                  <a:lnTo>
                    <a:pt x="671" y="146"/>
                  </a:lnTo>
                  <a:lnTo>
                    <a:pt x="679" y="174"/>
                  </a:lnTo>
                  <a:lnTo>
                    <a:pt x="687" y="204"/>
                  </a:lnTo>
                  <a:lnTo>
                    <a:pt x="691" y="236"/>
                  </a:lnTo>
                  <a:lnTo>
                    <a:pt x="695" y="270"/>
                  </a:lnTo>
                  <a:lnTo>
                    <a:pt x="695" y="306"/>
                  </a:lnTo>
                  <a:lnTo>
                    <a:pt x="695" y="830"/>
                  </a:lnTo>
                  <a:lnTo>
                    <a:pt x="695" y="830"/>
                  </a:lnTo>
                  <a:lnTo>
                    <a:pt x="695" y="866"/>
                  </a:lnTo>
                  <a:lnTo>
                    <a:pt x="691" y="900"/>
                  </a:lnTo>
                  <a:lnTo>
                    <a:pt x="687" y="932"/>
                  </a:lnTo>
                  <a:lnTo>
                    <a:pt x="679" y="960"/>
                  </a:lnTo>
                  <a:lnTo>
                    <a:pt x="671" y="988"/>
                  </a:lnTo>
                  <a:lnTo>
                    <a:pt x="661" y="1012"/>
                  </a:lnTo>
                  <a:lnTo>
                    <a:pt x="647" y="1036"/>
                  </a:lnTo>
                  <a:lnTo>
                    <a:pt x="633" y="1056"/>
                  </a:lnTo>
                  <a:lnTo>
                    <a:pt x="617" y="1074"/>
                  </a:lnTo>
                  <a:lnTo>
                    <a:pt x="601" y="1090"/>
                  </a:lnTo>
                  <a:lnTo>
                    <a:pt x="580" y="1102"/>
                  </a:lnTo>
                  <a:lnTo>
                    <a:pt x="560" y="1114"/>
                  </a:lnTo>
                  <a:lnTo>
                    <a:pt x="538" y="1122"/>
                  </a:lnTo>
                  <a:lnTo>
                    <a:pt x="514" y="1128"/>
                  </a:lnTo>
                  <a:lnTo>
                    <a:pt x="490" y="1132"/>
                  </a:lnTo>
                  <a:lnTo>
                    <a:pt x="464" y="1134"/>
                  </a:lnTo>
                  <a:lnTo>
                    <a:pt x="464" y="1134"/>
                  </a:lnTo>
                  <a:lnTo>
                    <a:pt x="428" y="1132"/>
                  </a:lnTo>
                  <a:lnTo>
                    <a:pt x="398" y="1126"/>
                  </a:lnTo>
                  <a:lnTo>
                    <a:pt x="368" y="1116"/>
                  </a:lnTo>
                  <a:lnTo>
                    <a:pt x="342" y="1104"/>
                  </a:lnTo>
                  <a:lnTo>
                    <a:pt x="316" y="1088"/>
                  </a:lnTo>
                  <a:lnTo>
                    <a:pt x="288" y="1068"/>
                  </a:lnTo>
                  <a:lnTo>
                    <a:pt x="228" y="1020"/>
                  </a:lnTo>
                  <a:lnTo>
                    <a:pt x="228" y="1458"/>
                  </a:lnTo>
                  <a:lnTo>
                    <a:pt x="0" y="1458"/>
                  </a:lnTo>
                  <a:lnTo>
                    <a:pt x="0" y="22"/>
                  </a:lnTo>
                  <a:lnTo>
                    <a:pt x="216"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0" name="Freeform 12"/>
            <p:cNvSpPr>
              <a:spLocks/>
            </p:cNvSpPr>
            <p:nvPr/>
          </p:nvSpPr>
          <p:spPr bwMode="auto">
            <a:xfrm>
              <a:off x="3327797" y="2158603"/>
              <a:ext cx="300038" cy="280988"/>
            </a:xfrm>
            <a:custGeom>
              <a:avLst/>
              <a:gdLst>
                <a:gd name="T0" fmla="*/ 252 w 252"/>
                <a:gd name="T1" fmla="*/ 236 h 236"/>
                <a:gd name="T2" fmla="*/ 252 w 252"/>
                <a:gd name="T3" fmla="*/ 178 h 236"/>
                <a:gd name="T4" fmla="*/ 252 w 252"/>
                <a:gd name="T5" fmla="*/ 178 h 236"/>
                <a:gd name="T6" fmla="*/ 250 w 252"/>
                <a:gd name="T7" fmla="*/ 134 h 236"/>
                <a:gd name="T8" fmla="*/ 246 w 252"/>
                <a:gd name="T9" fmla="*/ 114 h 236"/>
                <a:gd name="T10" fmla="*/ 244 w 252"/>
                <a:gd name="T11" fmla="*/ 98 h 236"/>
                <a:gd name="T12" fmla="*/ 238 w 252"/>
                <a:gd name="T13" fmla="*/ 80 h 236"/>
                <a:gd name="T14" fmla="*/ 234 w 252"/>
                <a:gd name="T15" fmla="*/ 66 h 236"/>
                <a:gd name="T16" fmla="*/ 226 w 252"/>
                <a:gd name="T17" fmla="*/ 54 h 236"/>
                <a:gd name="T18" fmla="*/ 220 w 252"/>
                <a:gd name="T19" fmla="*/ 42 h 236"/>
                <a:gd name="T20" fmla="*/ 210 w 252"/>
                <a:gd name="T21" fmla="*/ 32 h 236"/>
                <a:gd name="T22" fmla="*/ 202 w 252"/>
                <a:gd name="T23" fmla="*/ 22 h 236"/>
                <a:gd name="T24" fmla="*/ 190 w 252"/>
                <a:gd name="T25" fmla="*/ 16 h 236"/>
                <a:gd name="T26" fmla="*/ 180 w 252"/>
                <a:gd name="T27" fmla="*/ 10 h 236"/>
                <a:gd name="T28" fmla="*/ 168 w 252"/>
                <a:gd name="T29" fmla="*/ 6 h 236"/>
                <a:gd name="T30" fmla="*/ 154 w 252"/>
                <a:gd name="T31" fmla="*/ 2 h 236"/>
                <a:gd name="T32" fmla="*/ 140 w 252"/>
                <a:gd name="T33" fmla="*/ 0 h 236"/>
                <a:gd name="T34" fmla="*/ 126 w 252"/>
                <a:gd name="T35" fmla="*/ 0 h 236"/>
                <a:gd name="T36" fmla="*/ 126 w 252"/>
                <a:gd name="T37" fmla="*/ 0 h 236"/>
                <a:gd name="T38" fmla="*/ 110 w 252"/>
                <a:gd name="T39" fmla="*/ 0 h 236"/>
                <a:gd name="T40" fmla="*/ 98 w 252"/>
                <a:gd name="T41" fmla="*/ 2 h 236"/>
                <a:gd name="T42" fmla="*/ 84 w 252"/>
                <a:gd name="T43" fmla="*/ 6 h 236"/>
                <a:gd name="T44" fmla="*/ 72 w 252"/>
                <a:gd name="T45" fmla="*/ 10 h 236"/>
                <a:gd name="T46" fmla="*/ 60 w 252"/>
                <a:gd name="T47" fmla="*/ 16 h 236"/>
                <a:gd name="T48" fmla="*/ 50 w 252"/>
                <a:gd name="T49" fmla="*/ 22 h 236"/>
                <a:gd name="T50" fmla="*/ 40 w 252"/>
                <a:gd name="T51" fmla="*/ 32 h 236"/>
                <a:gd name="T52" fmla="*/ 32 w 252"/>
                <a:gd name="T53" fmla="*/ 42 h 236"/>
                <a:gd name="T54" fmla="*/ 24 w 252"/>
                <a:gd name="T55" fmla="*/ 54 h 236"/>
                <a:gd name="T56" fmla="*/ 18 w 252"/>
                <a:gd name="T57" fmla="*/ 66 h 236"/>
                <a:gd name="T58" fmla="*/ 12 w 252"/>
                <a:gd name="T59" fmla="*/ 80 h 236"/>
                <a:gd name="T60" fmla="*/ 8 w 252"/>
                <a:gd name="T61" fmla="*/ 98 h 236"/>
                <a:gd name="T62" fmla="*/ 4 w 252"/>
                <a:gd name="T63" fmla="*/ 114 h 236"/>
                <a:gd name="T64" fmla="*/ 2 w 252"/>
                <a:gd name="T65" fmla="*/ 134 h 236"/>
                <a:gd name="T66" fmla="*/ 0 w 252"/>
                <a:gd name="T67" fmla="*/ 178 h 236"/>
                <a:gd name="T68" fmla="*/ 0 w 252"/>
                <a:gd name="T69" fmla="*/ 236 h 236"/>
                <a:gd name="T70" fmla="*/ 252 w 252"/>
                <a:gd name="T7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2" h="236">
                  <a:moveTo>
                    <a:pt x="252" y="236"/>
                  </a:moveTo>
                  <a:lnTo>
                    <a:pt x="252" y="178"/>
                  </a:lnTo>
                  <a:lnTo>
                    <a:pt x="252" y="178"/>
                  </a:lnTo>
                  <a:lnTo>
                    <a:pt x="250" y="134"/>
                  </a:lnTo>
                  <a:lnTo>
                    <a:pt x="246" y="114"/>
                  </a:lnTo>
                  <a:lnTo>
                    <a:pt x="244" y="98"/>
                  </a:lnTo>
                  <a:lnTo>
                    <a:pt x="238" y="80"/>
                  </a:lnTo>
                  <a:lnTo>
                    <a:pt x="234" y="66"/>
                  </a:lnTo>
                  <a:lnTo>
                    <a:pt x="226" y="54"/>
                  </a:lnTo>
                  <a:lnTo>
                    <a:pt x="220" y="42"/>
                  </a:lnTo>
                  <a:lnTo>
                    <a:pt x="210" y="32"/>
                  </a:lnTo>
                  <a:lnTo>
                    <a:pt x="202" y="22"/>
                  </a:lnTo>
                  <a:lnTo>
                    <a:pt x="190" y="16"/>
                  </a:lnTo>
                  <a:lnTo>
                    <a:pt x="180" y="10"/>
                  </a:lnTo>
                  <a:lnTo>
                    <a:pt x="168" y="6"/>
                  </a:lnTo>
                  <a:lnTo>
                    <a:pt x="154" y="2"/>
                  </a:lnTo>
                  <a:lnTo>
                    <a:pt x="140" y="0"/>
                  </a:lnTo>
                  <a:lnTo>
                    <a:pt x="126" y="0"/>
                  </a:lnTo>
                  <a:lnTo>
                    <a:pt x="126" y="0"/>
                  </a:lnTo>
                  <a:lnTo>
                    <a:pt x="110" y="0"/>
                  </a:lnTo>
                  <a:lnTo>
                    <a:pt x="98" y="2"/>
                  </a:lnTo>
                  <a:lnTo>
                    <a:pt x="84" y="6"/>
                  </a:lnTo>
                  <a:lnTo>
                    <a:pt x="72" y="10"/>
                  </a:lnTo>
                  <a:lnTo>
                    <a:pt x="60" y="16"/>
                  </a:lnTo>
                  <a:lnTo>
                    <a:pt x="50" y="22"/>
                  </a:lnTo>
                  <a:lnTo>
                    <a:pt x="40" y="32"/>
                  </a:lnTo>
                  <a:lnTo>
                    <a:pt x="32" y="42"/>
                  </a:lnTo>
                  <a:lnTo>
                    <a:pt x="24" y="54"/>
                  </a:lnTo>
                  <a:lnTo>
                    <a:pt x="18" y="66"/>
                  </a:lnTo>
                  <a:lnTo>
                    <a:pt x="12" y="80"/>
                  </a:lnTo>
                  <a:lnTo>
                    <a:pt x="8" y="98"/>
                  </a:lnTo>
                  <a:lnTo>
                    <a:pt x="4" y="114"/>
                  </a:lnTo>
                  <a:lnTo>
                    <a:pt x="2" y="134"/>
                  </a:lnTo>
                  <a:lnTo>
                    <a:pt x="0" y="178"/>
                  </a:lnTo>
                  <a:lnTo>
                    <a:pt x="0" y="236"/>
                  </a:lnTo>
                  <a:lnTo>
                    <a:pt x="252" y="2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1" name="Freeform 13"/>
            <p:cNvSpPr>
              <a:spLocks/>
            </p:cNvSpPr>
            <p:nvPr/>
          </p:nvSpPr>
          <p:spPr bwMode="auto">
            <a:xfrm>
              <a:off x="3056335" y="1934766"/>
              <a:ext cx="840581" cy="1350169"/>
            </a:xfrm>
            <a:custGeom>
              <a:avLst/>
              <a:gdLst>
                <a:gd name="T0" fmla="*/ 228 w 706"/>
                <a:gd name="T1" fmla="*/ 610 h 1134"/>
                <a:gd name="T2" fmla="*/ 228 w 706"/>
                <a:gd name="T3" fmla="*/ 768 h 1134"/>
                <a:gd name="T4" fmla="*/ 232 w 706"/>
                <a:gd name="T5" fmla="*/ 832 h 1134"/>
                <a:gd name="T6" fmla="*/ 240 w 706"/>
                <a:gd name="T7" fmla="*/ 866 h 1134"/>
                <a:gd name="T8" fmla="*/ 252 w 706"/>
                <a:gd name="T9" fmla="*/ 894 h 1134"/>
                <a:gd name="T10" fmla="*/ 268 w 706"/>
                <a:gd name="T11" fmla="*/ 914 h 1134"/>
                <a:gd name="T12" fmla="*/ 288 w 706"/>
                <a:gd name="T13" fmla="*/ 930 h 1134"/>
                <a:gd name="T14" fmla="*/ 312 w 706"/>
                <a:gd name="T15" fmla="*/ 942 h 1134"/>
                <a:gd name="T16" fmla="*/ 338 w 706"/>
                <a:gd name="T17" fmla="*/ 946 h 1134"/>
                <a:gd name="T18" fmla="*/ 354 w 706"/>
                <a:gd name="T19" fmla="*/ 946 h 1134"/>
                <a:gd name="T20" fmla="*/ 382 w 706"/>
                <a:gd name="T21" fmla="*/ 944 h 1134"/>
                <a:gd name="T22" fmla="*/ 408 w 706"/>
                <a:gd name="T23" fmla="*/ 936 h 1134"/>
                <a:gd name="T24" fmla="*/ 430 w 706"/>
                <a:gd name="T25" fmla="*/ 924 h 1134"/>
                <a:gd name="T26" fmla="*/ 448 w 706"/>
                <a:gd name="T27" fmla="*/ 904 h 1134"/>
                <a:gd name="T28" fmla="*/ 462 w 706"/>
                <a:gd name="T29" fmla="*/ 880 h 1134"/>
                <a:gd name="T30" fmla="*/ 472 w 706"/>
                <a:gd name="T31" fmla="*/ 850 h 1134"/>
                <a:gd name="T32" fmla="*/ 478 w 706"/>
                <a:gd name="T33" fmla="*/ 812 h 1134"/>
                <a:gd name="T34" fmla="*/ 480 w 706"/>
                <a:gd name="T35" fmla="*/ 744 h 1134"/>
                <a:gd name="T36" fmla="*/ 706 w 706"/>
                <a:gd name="T37" fmla="*/ 744 h 1134"/>
                <a:gd name="T38" fmla="*/ 702 w 706"/>
                <a:gd name="T39" fmla="*/ 826 h 1134"/>
                <a:gd name="T40" fmla="*/ 686 w 706"/>
                <a:gd name="T41" fmla="*/ 902 h 1134"/>
                <a:gd name="T42" fmla="*/ 660 w 706"/>
                <a:gd name="T43" fmla="*/ 968 h 1134"/>
                <a:gd name="T44" fmla="*/ 624 w 706"/>
                <a:gd name="T45" fmla="*/ 1026 h 1134"/>
                <a:gd name="T46" fmla="*/ 576 w 706"/>
                <a:gd name="T47" fmla="*/ 1072 h 1134"/>
                <a:gd name="T48" fmla="*/ 516 w 706"/>
                <a:gd name="T49" fmla="*/ 1106 h 1134"/>
                <a:gd name="T50" fmla="*/ 442 w 706"/>
                <a:gd name="T51" fmla="*/ 1126 h 1134"/>
                <a:gd name="T52" fmla="*/ 354 w 706"/>
                <a:gd name="T53" fmla="*/ 1134 h 1134"/>
                <a:gd name="T54" fmla="*/ 306 w 706"/>
                <a:gd name="T55" fmla="*/ 1132 h 1134"/>
                <a:gd name="T56" fmla="*/ 224 w 706"/>
                <a:gd name="T57" fmla="*/ 1116 h 1134"/>
                <a:gd name="T58" fmla="*/ 156 w 706"/>
                <a:gd name="T59" fmla="*/ 1088 h 1134"/>
                <a:gd name="T60" fmla="*/ 102 w 706"/>
                <a:gd name="T61" fmla="*/ 1046 h 1134"/>
                <a:gd name="T62" fmla="*/ 60 w 706"/>
                <a:gd name="T63" fmla="*/ 992 h 1134"/>
                <a:gd name="T64" fmla="*/ 30 w 706"/>
                <a:gd name="T65" fmla="*/ 928 h 1134"/>
                <a:gd name="T66" fmla="*/ 10 w 706"/>
                <a:gd name="T67" fmla="*/ 854 h 1134"/>
                <a:gd name="T68" fmla="*/ 2 w 706"/>
                <a:gd name="T69" fmla="*/ 772 h 1134"/>
                <a:gd name="T70" fmla="*/ 0 w 706"/>
                <a:gd name="T71" fmla="*/ 406 h 1134"/>
                <a:gd name="T72" fmla="*/ 2 w 706"/>
                <a:gd name="T73" fmla="*/ 362 h 1134"/>
                <a:gd name="T74" fmla="*/ 10 w 706"/>
                <a:gd name="T75" fmla="*/ 280 h 1134"/>
                <a:gd name="T76" fmla="*/ 30 w 706"/>
                <a:gd name="T77" fmla="*/ 206 h 1134"/>
                <a:gd name="T78" fmla="*/ 60 w 706"/>
                <a:gd name="T79" fmla="*/ 142 h 1134"/>
                <a:gd name="T80" fmla="*/ 102 w 706"/>
                <a:gd name="T81" fmla="*/ 88 h 1134"/>
                <a:gd name="T82" fmla="*/ 156 w 706"/>
                <a:gd name="T83" fmla="*/ 46 h 1134"/>
                <a:gd name="T84" fmla="*/ 224 w 706"/>
                <a:gd name="T85" fmla="*/ 18 h 1134"/>
                <a:gd name="T86" fmla="*/ 306 w 706"/>
                <a:gd name="T87" fmla="*/ 2 h 1134"/>
                <a:gd name="T88" fmla="*/ 354 w 706"/>
                <a:gd name="T89" fmla="*/ 0 h 1134"/>
                <a:gd name="T90" fmla="*/ 444 w 706"/>
                <a:gd name="T91" fmla="*/ 8 h 1134"/>
                <a:gd name="T92" fmla="*/ 518 w 706"/>
                <a:gd name="T93" fmla="*/ 30 h 1134"/>
                <a:gd name="T94" fmla="*/ 580 w 706"/>
                <a:gd name="T95" fmla="*/ 66 h 1134"/>
                <a:gd name="T96" fmla="*/ 628 w 706"/>
                <a:gd name="T97" fmla="*/ 114 h 1134"/>
                <a:gd name="T98" fmla="*/ 664 w 706"/>
                <a:gd name="T99" fmla="*/ 174 h 1134"/>
                <a:gd name="T100" fmla="*/ 688 w 706"/>
                <a:gd name="T101" fmla="*/ 242 h 1134"/>
                <a:gd name="T102" fmla="*/ 702 w 706"/>
                <a:gd name="T103" fmla="*/ 320 h 1134"/>
                <a:gd name="T104" fmla="*/ 706 w 706"/>
                <a:gd name="T105" fmla="*/ 40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6" h="1134">
                  <a:moveTo>
                    <a:pt x="706" y="610"/>
                  </a:moveTo>
                  <a:lnTo>
                    <a:pt x="228" y="610"/>
                  </a:lnTo>
                  <a:lnTo>
                    <a:pt x="228" y="768"/>
                  </a:lnTo>
                  <a:lnTo>
                    <a:pt x="228" y="768"/>
                  </a:lnTo>
                  <a:lnTo>
                    <a:pt x="230" y="812"/>
                  </a:lnTo>
                  <a:lnTo>
                    <a:pt x="232" y="832"/>
                  </a:lnTo>
                  <a:lnTo>
                    <a:pt x="236" y="850"/>
                  </a:lnTo>
                  <a:lnTo>
                    <a:pt x="240" y="866"/>
                  </a:lnTo>
                  <a:lnTo>
                    <a:pt x="246" y="880"/>
                  </a:lnTo>
                  <a:lnTo>
                    <a:pt x="252" y="894"/>
                  </a:lnTo>
                  <a:lnTo>
                    <a:pt x="260" y="904"/>
                  </a:lnTo>
                  <a:lnTo>
                    <a:pt x="268" y="914"/>
                  </a:lnTo>
                  <a:lnTo>
                    <a:pt x="278" y="924"/>
                  </a:lnTo>
                  <a:lnTo>
                    <a:pt x="288" y="930"/>
                  </a:lnTo>
                  <a:lnTo>
                    <a:pt x="300" y="936"/>
                  </a:lnTo>
                  <a:lnTo>
                    <a:pt x="312" y="942"/>
                  </a:lnTo>
                  <a:lnTo>
                    <a:pt x="326" y="944"/>
                  </a:lnTo>
                  <a:lnTo>
                    <a:pt x="338" y="946"/>
                  </a:lnTo>
                  <a:lnTo>
                    <a:pt x="354" y="946"/>
                  </a:lnTo>
                  <a:lnTo>
                    <a:pt x="354" y="946"/>
                  </a:lnTo>
                  <a:lnTo>
                    <a:pt x="368" y="946"/>
                  </a:lnTo>
                  <a:lnTo>
                    <a:pt x="382" y="944"/>
                  </a:lnTo>
                  <a:lnTo>
                    <a:pt x="396" y="942"/>
                  </a:lnTo>
                  <a:lnTo>
                    <a:pt x="408" y="936"/>
                  </a:lnTo>
                  <a:lnTo>
                    <a:pt x="418" y="930"/>
                  </a:lnTo>
                  <a:lnTo>
                    <a:pt x="430" y="924"/>
                  </a:lnTo>
                  <a:lnTo>
                    <a:pt x="438" y="914"/>
                  </a:lnTo>
                  <a:lnTo>
                    <a:pt x="448" y="904"/>
                  </a:lnTo>
                  <a:lnTo>
                    <a:pt x="454" y="894"/>
                  </a:lnTo>
                  <a:lnTo>
                    <a:pt x="462" y="880"/>
                  </a:lnTo>
                  <a:lnTo>
                    <a:pt x="466" y="866"/>
                  </a:lnTo>
                  <a:lnTo>
                    <a:pt x="472" y="850"/>
                  </a:lnTo>
                  <a:lnTo>
                    <a:pt x="474" y="832"/>
                  </a:lnTo>
                  <a:lnTo>
                    <a:pt x="478" y="812"/>
                  </a:lnTo>
                  <a:lnTo>
                    <a:pt x="480" y="768"/>
                  </a:lnTo>
                  <a:lnTo>
                    <a:pt x="480" y="744"/>
                  </a:lnTo>
                  <a:lnTo>
                    <a:pt x="706" y="744"/>
                  </a:lnTo>
                  <a:lnTo>
                    <a:pt x="706" y="744"/>
                  </a:lnTo>
                  <a:lnTo>
                    <a:pt x="706" y="786"/>
                  </a:lnTo>
                  <a:lnTo>
                    <a:pt x="702" y="826"/>
                  </a:lnTo>
                  <a:lnTo>
                    <a:pt x="694" y="866"/>
                  </a:lnTo>
                  <a:lnTo>
                    <a:pt x="686" y="902"/>
                  </a:lnTo>
                  <a:lnTo>
                    <a:pt x="674" y="936"/>
                  </a:lnTo>
                  <a:lnTo>
                    <a:pt x="660" y="968"/>
                  </a:lnTo>
                  <a:lnTo>
                    <a:pt x="644" y="998"/>
                  </a:lnTo>
                  <a:lnTo>
                    <a:pt x="624" y="1026"/>
                  </a:lnTo>
                  <a:lnTo>
                    <a:pt x="602" y="1050"/>
                  </a:lnTo>
                  <a:lnTo>
                    <a:pt x="576" y="1072"/>
                  </a:lnTo>
                  <a:lnTo>
                    <a:pt x="548" y="1090"/>
                  </a:lnTo>
                  <a:lnTo>
                    <a:pt x="516" y="1106"/>
                  </a:lnTo>
                  <a:lnTo>
                    <a:pt x="480" y="1118"/>
                  </a:lnTo>
                  <a:lnTo>
                    <a:pt x="442" y="1126"/>
                  </a:lnTo>
                  <a:lnTo>
                    <a:pt x="400" y="1132"/>
                  </a:lnTo>
                  <a:lnTo>
                    <a:pt x="354" y="1134"/>
                  </a:lnTo>
                  <a:lnTo>
                    <a:pt x="354" y="1134"/>
                  </a:lnTo>
                  <a:lnTo>
                    <a:pt x="306" y="1132"/>
                  </a:lnTo>
                  <a:lnTo>
                    <a:pt x="264" y="1126"/>
                  </a:lnTo>
                  <a:lnTo>
                    <a:pt x="224" y="1116"/>
                  </a:lnTo>
                  <a:lnTo>
                    <a:pt x="188" y="1104"/>
                  </a:lnTo>
                  <a:lnTo>
                    <a:pt x="156" y="1088"/>
                  </a:lnTo>
                  <a:lnTo>
                    <a:pt x="128" y="1068"/>
                  </a:lnTo>
                  <a:lnTo>
                    <a:pt x="102" y="1046"/>
                  </a:lnTo>
                  <a:lnTo>
                    <a:pt x="80" y="1020"/>
                  </a:lnTo>
                  <a:lnTo>
                    <a:pt x="60" y="992"/>
                  </a:lnTo>
                  <a:lnTo>
                    <a:pt x="44" y="962"/>
                  </a:lnTo>
                  <a:lnTo>
                    <a:pt x="30" y="928"/>
                  </a:lnTo>
                  <a:lnTo>
                    <a:pt x="20" y="892"/>
                  </a:lnTo>
                  <a:lnTo>
                    <a:pt x="10" y="854"/>
                  </a:lnTo>
                  <a:lnTo>
                    <a:pt x="6" y="814"/>
                  </a:lnTo>
                  <a:lnTo>
                    <a:pt x="2" y="772"/>
                  </a:lnTo>
                  <a:lnTo>
                    <a:pt x="0" y="728"/>
                  </a:lnTo>
                  <a:lnTo>
                    <a:pt x="0" y="406"/>
                  </a:lnTo>
                  <a:lnTo>
                    <a:pt x="0" y="406"/>
                  </a:lnTo>
                  <a:lnTo>
                    <a:pt x="2" y="362"/>
                  </a:lnTo>
                  <a:lnTo>
                    <a:pt x="6" y="320"/>
                  </a:lnTo>
                  <a:lnTo>
                    <a:pt x="10" y="280"/>
                  </a:lnTo>
                  <a:lnTo>
                    <a:pt x="20" y="242"/>
                  </a:lnTo>
                  <a:lnTo>
                    <a:pt x="30" y="206"/>
                  </a:lnTo>
                  <a:lnTo>
                    <a:pt x="44" y="174"/>
                  </a:lnTo>
                  <a:lnTo>
                    <a:pt x="60" y="142"/>
                  </a:lnTo>
                  <a:lnTo>
                    <a:pt x="80" y="114"/>
                  </a:lnTo>
                  <a:lnTo>
                    <a:pt x="102" y="88"/>
                  </a:lnTo>
                  <a:lnTo>
                    <a:pt x="128" y="66"/>
                  </a:lnTo>
                  <a:lnTo>
                    <a:pt x="156" y="46"/>
                  </a:lnTo>
                  <a:lnTo>
                    <a:pt x="188" y="30"/>
                  </a:lnTo>
                  <a:lnTo>
                    <a:pt x="224" y="18"/>
                  </a:lnTo>
                  <a:lnTo>
                    <a:pt x="264" y="8"/>
                  </a:lnTo>
                  <a:lnTo>
                    <a:pt x="306" y="2"/>
                  </a:lnTo>
                  <a:lnTo>
                    <a:pt x="354" y="0"/>
                  </a:lnTo>
                  <a:lnTo>
                    <a:pt x="354" y="0"/>
                  </a:lnTo>
                  <a:lnTo>
                    <a:pt x="400" y="2"/>
                  </a:lnTo>
                  <a:lnTo>
                    <a:pt x="444" y="8"/>
                  </a:lnTo>
                  <a:lnTo>
                    <a:pt x="482" y="18"/>
                  </a:lnTo>
                  <a:lnTo>
                    <a:pt x="518" y="30"/>
                  </a:lnTo>
                  <a:lnTo>
                    <a:pt x="550" y="46"/>
                  </a:lnTo>
                  <a:lnTo>
                    <a:pt x="580" y="66"/>
                  </a:lnTo>
                  <a:lnTo>
                    <a:pt x="606" y="88"/>
                  </a:lnTo>
                  <a:lnTo>
                    <a:pt x="628" y="114"/>
                  </a:lnTo>
                  <a:lnTo>
                    <a:pt x="648" y="142"/>
                  </a:lnTo>
                  <a:lnTo>
                    <a:pt x="664" y="174"/>
                  </a:lnTo>
                  <a:lnTo>
                    <a:pt x="678" y="206"/>
                  </a:lnTo>
                  <a:lnTo>
                    <a:pt x="688" y="242"/>
                  </a:lnTo>
                  <a:lnTo>
                    <a:pt x="696" y="280"/>
                  </a:lnTo>
                  <a:lnTo>
                    <a:pt x="702" y="320"/>
                  </a:lnTo>
                  <a:lnTo>
                    <a:pt x="706" y="362"/>
                  </a:lnTo>
                  <a:lnTo>
                    <a:pt x="706" y="406"/>
                  </a:lnTo>
                  <a:lnTo>
                    <a:pt x="706" y="6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2" name="Freeform 15"/>
            <p:cNvSpPr>
              <a:spLocks/>
            </p:cNvSpPr>
            <p:nvPr/>
          </p:nvSpPr>
          <p:spPr bwMode="auto">
            <a:xfrm>
              <a:off x="4070748" y="1934767"/>
              <a:ext cx="812006" cy="1326356"/>
            </a:xfrm>
            <a:custGeom>
              <a:avLst/>
              <a:gdLst>
                <a:gd name="T0" fmla="*/ 0 w 682"/>
                <a:gd name="T1" fmla="*/ 1114 h 1114"/>
                <a:gd name="T2" fmla="*/ 0 w 682"/>
                <a:gd name="T3" fmla="*/ 22 h 1114"/>
                <a:gd name="T4" fmla="*/ 216 w 682"/>
                <a:gd name="T5" fmla="*/ 22 h 1114"/>
                <a:gd name="T6" fmla="*/ 216 w 682"/>
                <a:gd name="T7" fmla="*/ 130 h 1114"/>
                <a:gd name="T8" fmla="*/ 216 w 682"/>
                <a:gd name="T9" fmla="*/ 130 h 1114"/>
                <a:gd name="T10" fmla="*/ 280 w 682"/>
                <a:gd name="T11" fmla="*/ 76 h 1114"/>
                <a:gd name="T12" fmla="*/ 310 w 682"/>
                <a:gd name="T13" fmla="*/ 54 h 1114"/>
                <a:gd name="T14" fmla="*/ 340 w 682"/>
                <a:gd name="T15" fmla="*/ 36 h 1114"/>
                <a:gd name="T16" fmla="*/ 372 w 682"/>
                <a:gd name="T17" fmla="*/ 20 h 1114"/>
                <a:gd name="T18" fmla="*/ 388 w 682"/>
                <a:gd name="T19" fmla="*/ 14 h 1114"/>
                <a:gd name="T20" fmla="*/ 406 w 682"/>
                <a:gd name="T21" fmla="*/ 10 h 1114"/>
                <a:gd name="T22" fmla="*/ 426 w 682"/>
                <a:gd name="T23" fmla="*/ 6 h 1114"/>
                <a:gd name="T24" fmla="*/ 446 w 682"/>
                <a:gd name="T25" fmla="*/ 4 h 1114"/>
                <a:gd name="T26" fmla="*/ 468 w 682"/>
                <a:gd name="T27" fmla="*/ 2 h 1114"/>
                <a:gd name="T28" fmla="*/ 492 w 682"/>
                <a:gd name="T29" fmla="*/ 0 h 1114"/>
                <a:gd name="T30" fmla="*/ 492 w 682"/>
                <a:gd name="T31" fmla="*/ 0 h 1114"/>
                <a:gd name="T32" fmla="*/ 514 w 682"/>
                <a:gd name="T33" fmla="*/ 2 h 1114"/>
                <a:gd name="T34" fmla="*/ 534 w 682"/>
                <a:gd name="T35" fmla="*/ 4 h 1114"/>
                <a:gd name="T36" fmla="*/ 554 w 682"/>
                <a:gd name="T37" fmla="*/ 10 h 1114"/>
                <a:gd name="T38" fmla="*/ 572 w 682"/>
                <a:gd name="T39" fmla="*/ 16 h 1114"/>
                <a:gd name="T40" fmla="*/ 588 w 682"/>
                <a:gd name="T41" fmla="*/ 26 h 1114"/>
                <a:gd name="T42" fmla="*/ 604 w 682"/>
                <a:gd name="T43" fmla="*/ 36 h 1114"/>
                <a:gd name="T44" fmla="*/ 618 w 682"/>
                <a:gd name="T45" fmla="*/ 48 h 1114"/>
                <a:gd name="T46" fmla="*/ 632 w 682"/>
                <a:gd name="T47" fmla="*/ 62 h 1114"/>
                <a:gd name="T48" fmla="*/ 644 w 682"/>
                <a:gd name="T49" fmla="*/ 78 h 1114"/>
                <a:gd name="T50" fmla="*/ 654 w 682"/>
                <a:gd name="T51" fmla="*/ 96 h 1114"/>
                <a:gd name="T52" fmla="*/ 662 w 682"/>
                <a:gd name="T53" fmla="*/ 114 h 1114"/>
                <a:gd name="T54" fmla="*/ 670 w 682"/>
                <a:gd name="T55" fmla="*/ 134 h 1114"/>
                <a:gd name="T56" fmla="*/ 676 w 682"/>
                <a:gd name="T57" fmla="*/ 156 h 1114"/>
                <a:gd name="T58" fmla="*/ 680 w 682"/>
                <a:gd name="T59" fmla="*/ 180 h 1114"/>
                <a:gd name="T60" fmla="*/ 682 w 682"/>
                <a:gd name="T61" fmla="*/ 204 h 1114"/>
                <a:gd name="T62" fmla="*/ 682 w 682"/>
                <a:gd name="T63" fmla="*/ 230 h 1114"/>
                <a:gd name="T64" fmla="*/ 682 w 682"/>
                <a:gd name="T65" fmla="*/ 1114 h 1114"/>
                <a:gd name="T66" fmla="*/ 456 w 682"/>
                <a:gd name="T67" fmla="*/ 1114 h 1114"/>
                <a:gd name="T68" fmla="*/ 456 w 682"/>
                <a:gd name="T69" fmla="*/ 266 h 1114"/>
                <a:gd name="T70" fmla="*/ 456 w 682"/>
                <a:gd name="T71" fmla="*/ 266 h 1114"/>
                <a:gd name="T72" fmla="*/ 454 w 682"/>
                <a:gd name="T73" fmla="*/ 248 h 1114"/>
                <a:gd name="T74" fmla="*/ 450 w 682"/>
                <a:gd name="T75" fmla="*/ 232 h 1114"/>
                <a:gd name="T76" fmla="*/ 442 w 682"/>
                <a:gd name="T77" fmla="*/ 218 h 1114"/>
                <a:gd name="T78" fmla="*/ 432 w 682"/>
                <a:gd name="T79" fmla="*/ 206 h 1114"/>
                <a:gd name="T80" fmla="*/ 420 w 682"/>
                <a:gd name="T81" fmla="*/ 198 h 1114"/>
                <a:gd name="T82" fmla="*/ 408 w 682"/>
                <a:gd name="T83" fmla="*/ 192 h 1114"/>
                <a:gd name="T84" fmla="*/ 392 w 682"/>
                <a:gd name="T85" fmla="*/ 188 h 1114"/>
                <a:gd name="T86" fmla="*/ 374 w 682"/>
                <a:gd name="T87" fmla="*/ 188 h 1114"/>
                <a:gd name="T88" fmla="*/ 374 w 682"/>
                <a:gd name="T89" fmla="*/ 188 h 1114"/>
                <a:gd name="T90" fmla="*/ 356 w 682"/>
                <a:gd name="T91" fmla="*/ 188 h 1114"/>
                <a:gd name="T92" fmla="*/ 338 w 682"/>
                <a:gd name="T93" fmla="*/ 192 h 1114"/>
                <a:gd name="T94" fmla="*/ 320 w 682"/>
                <a:gd name="T95" fmla="*/ 200 h 1114"/>
                <a:gd name="T96" fmla="*/ 302 w 682"/>
                <a:gd name="T97" fmla="*/ 208 h 1114"/>
                <a:gd name="T98" fmla="*/ 284 w 682"/>
                <a:gd name="T99" fmla="*/ 218 h 1114"/>
                <a:gd name="T100" fmla="*/ 266 w 682"/>
                <a:gd name="T101" fmla="*/ 230 h 1114"/>
                <a:gd name="T102" fmla="*/ 228 w 682"/>
                <a:gd name="T103" fmla="*/ 256 h 1114"/>
                <a:gd name="T104" fmla="*/ 228 w 682"/>
                <a:gd name="T105" fmla="*/ 1114 h 1114"/>
                <a:gd name="T106" fmla="*/ 0 w 682"/>
                <a:gd name="T107" fmla="*/ 111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2" h="1114">
                  <a:moveTo>
                    <a:pt x="0" y="1114"/>
                  </a:moveTo>
                  <a:lnTo>
                    <a:pt x="0" y="22"/>
                  </a:lnTo>
                  <a:lnTo>
                    <a:pt x="216" y="22"/>
                  </a:lnTo>
                  <a:lnTo>
                    <a:pt x="216" y="130"/>
                  </a:lnTo>
                  <a:lnTo>
                    <a:pt x="216" y="130"/>
                  </a:lnTo>
                  <a:lnTo>
                    <a:pt x="280" y="76"/>
                  </a:lnTo>
                  <a:lnTo>
                    <a:pt x="310" y="54"/>
                  </a:lnTo>
                  <a:lnTo>
                    <a:pt x="340" y="36"/>
                  </a:lnTo>
                  <a:lnTo>
                    <a:pt x="372" y="20"/>
                  </a:lnTo>
                  <a:lnTo>
                    <a:pt x="388" y="14"/>
                  </a:lnTo>
                  <a:lnTo>
                    <a:pt x="406" y="10"/>
                  </a:lnTo>
                  <a:lnTo>
                    <a:pt x="426" y="6"/>
                  </a:lnTo>
                  <a:lnTo>
                    <a:pt x="446" y="4"/>
                  </a:lnTo>
                  <a:lnTo>
                    <a:pt x="468" y="2"/>
                  </a:lnTo>
                  <a:lnTo>
                    <a:pt x="492" y="0"/>
                  </a:lnTo>
                  <a:lnTo>
                    <a:pt x="492" y="0"/>
                  </a:lnTo>
                  <a:lnTo>
                    <a:pt x="514" y="2"/>
                  </a:lnTo>
                  <a:lnTo>
                    <a:pt x="534" y="4"/>
                  </a:lnTo>
                  <a:lnTo>
                    <a:pt x="554" y="10"/>
                  </a:lnTo>
                  <a:lnTo>
                    <a:pt x="572" y="16"/>
                  </a:lnTo>
                  <a:lnTo>
                    <a:pt x="588" y="26"/>
                  </a:lnTo>
                  <a:lnTo>
                    <a:pt x="604" y="36"/>
                  </a:lnTo>
                  <a:lnTo>
                    <a:pt x="618" y="48"/>
                  </a:lnTo>
                  <a:lnTo>
                    <a:pt x="632" y="62"/>
                  </a:lnTo>
                  <a:lnTo>
                    <a:pt x="644" y="78"/>
                  </a:lnTo>
                  <a:lnTo>
                    <a:pt x="654" y="96"/>
                  </a:lnTo>
                  <a:lnTo>
                    <a:pt x="662" y="114"/>
                  </a:lnTo>
                  <a:lnTo>
                    <a:pt x="670" y="134"/>
                  </a:lnTo>
                  <a:lnTo>
                    <a:pt x="676" y="156"/>
                  </a:lnTo>
                  <a:lnTo>
                    <a:pt x="680" y="180"/>
                  </a:lnTo>
                  <a:lnTo>
                    <a:pt x="682" y="204"/>
                  </a:lnTo>
                  <a:lnTo>
                    <a:pt x="682" y="230"/>
                  </a:lnTo>
                  <a:lnTo>
                    <a:pt x="682" y="1114"/>
                  </a:lnTo>
                  <a:lnTo>
                    <a:pt x="456" y="1114"/>
                  </a:lnTo>
                  <a:lnTo>
                    <a:pt x="456" y="266"/>
                  </a:lnTo>
                  <a:lnTo>
                    <a:pt x="456" y="266"/>
                  </a:lnTo>
                  <a:lnTo>
                    <a:pt x="454" y="248"/>
                  </a:lnTo>
                  <a:lnTo>
                    <a:pt x="450" y="232"/>
                  </a:lnTo>
                  <a:lnTo>
                    <a:pt x="442" y="218"/>
                  </a:lnTo>
                  <a:lnTo>
                    <a:pt x="432" y="206"/>
                  </a:lnTo>
                  <a:lnTo>
                    <a:pt x="420" y="198"/>
                  </a:lnTo>
                  <a:lnTo>
                    <a:pt x="408" y="192"/>
                  </a:lnTo>
                  <a:lnTo>
                    <a:pt x="392" y="188"/>
                  </a:lnTo>
                  <a:lnTo>
                    <a:pt x="374" y="188"/>
                  </a:lnTo>
                  <a:lnTo>
                    <a:pt x="374" y="188"/>
                  </a:lnTo>
                  <a:lnTo>
                    <a:pt x="356" y="188"/>
                  </a:lnTo>
                  <a:lnTo>
                    <a:pt x="338" y="192"/>
                  </a:lnTo>
                  <a:lnTo>
                    <a:pt x="320" y="200"/>
                  </a:lnTo>
                  <a:lnTo>
                    <a:pt x="302" y="208"/>
                  </a:lnTo>
                  <a:lnTo>
                    <a:pt x="284" y="218"/>
                  </a:lnTo>
                  <a:lnTo>
                    <a:pt x="266" y="230"/>
                  </a:lnTo>
                  <a:lnTo>
                    <a:pt x="228" y="256"/>
                  </a:lnTo>
                  <a:lnTo>
                    <a:pt x="228" y="1114"/>
                  </a:lnTo>
                  <a:lnTo>
                    <a:pt x="0" y="1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3" name="Freeform 17"/>
            <p:cNvSpPr>
              <a:spLocks/>
            </p:cNvSpPr>
            <p:nvPr/>
          </p:nvSpPr>
          <p:spPr bwMode="auto">
            <a:xfrm>
              <a:off x="5385197" y="1760935"/>
              <a:ext cx="319088" cy="1252538"/>
            </a:xfrm>
            <a:custGeom>
              <a:avLst/>
              <a:gdLst>
                <a:gd name="T0" fmla="*/ 0 w 268"/>
                <a:gd name="T1" fmla="*/ 1052 h 1052"/>
                <a:gd name="T2" fmla="*/ 88 w 268"/>
                <a:gd name="T3" fmla="*/ 1052 h 1052"/>
                <a:gd name="T4" fmla="*/ 88 w 268"/>
                <a:gd name="T5" fmla="*/ 1052 h 1052"/>
                <a:gd name="T6" fmla="*/ 112 w 268"/>
                <a:gd name="T7" fmla="*/ 1052 h 1052"/>
                <a:gd name="T8" fmla="*/ 134 w 268"/>
                <a:gd name="T9" fmla="*/ 1050 h 1052"/>
                <a:gd name="T10" fmla="*/ 154 w 268"/>
                <a:gd name="T11" fmla="*/ 1046 h 1052"/>
                <a:gd name="T12" fmla="*/ 172 w 268"/>
                <a:gd name="T13" fmla="*/ 1042 h 1052"/>
                <a:gd name="T14" fmla="*/ 188 w 268"/>
                <a:gd name="T15" fmla="*/ 1036 h 1052"/>
                <a:gd name="T16" fmla="*/ 204 w 268"/>
                <a:gd name="T17" fmla="*/ 1028 h 1052"/>
                <a:gd name="T18" fmla="*/ 216 w 268"/>
                <a:gd name="T19" fmla="*/ 1018 h 1052"/>
                <a:gd name="T20" fmla="*/ 228 w 268"/>
                <a:gd name="T21" fmla="*/ 1008 h 1052"/>
                <a:gd name="T22" fmla="*/ 238 w 268"/>
                <a:gd name="T23" fmla="*/ 994 h 1052"/>
                <a:gd name="T24" fmla="*/ 246 w 268"/>
                <a:gd name="T25" fmla="*/ 980 h 1052"/>
                <a:gd name="T26" fmla="*/ 252 w 268"/>
                <a:gd name="T27" fmla="*/ 964 h 1052"/>
                <a:gd name="T28" fmla="*/ 258 w 268"/>
                <a:gd name="T29" fmla="*/ 944 h 1052"/>
                <a:gd name="T30" fmla="*/ 262 w 268"/>
                <a:gd name="T31" fmla="*/ 924 h 1052"/>
                <a:gd name="T32" fmla="*/ 266 w 268"/>
                <a:gd name="T33" fmla="*/ 900 h 1052"/>
                <a:gd name="T34" fmla="*/ 268 w 268"/>
                <a:gd name="T35" fmla="*/ 874 h 1052"/>
                <a:gd name="T36" fmla="*/ 268 w 268"/>
                <a:gd name="T37" fmla="*/ 848 h 1052"/>
                <a:gd name="T38" fmla="*/ 268 w 268"/>
                <a:gd name="T39" fmla="*/ 206 h 1052"/>
                <a:gd name="T40" fmla="*/ 268 w 268"/>
                <a:gd name="T41" fmla="*/ 206 h 1052"/>
                <a:gd name="T42" fmla="*/ 268 w 268"/>
                <a:gd name="T43" fmla="*/ 178 h 1052"/>
                <a:gd name="T44" fmla="*/ 266 w 268"/>
                <a:gd name="T45" fmla="*/ 152 h 1052"/>
                <a:gd name="T46" fmla="*/ 262 w 268"/>
                <a:gd name="T47" fmla="*/ 130 h 1052"/>
                <a:gd name="T48" fmla="*/ 258 w 268"/>
                <a:gd name="T49" fmla="*/ 108 h 1052"/>
                <a:gd name="T50" fmla="*/ 252 w 268"/>
                <a:gd name="T51" fmla="*/ 90 h 1052"/>
                <a:gd name="T52" fmla="*/ 246 w 268"/>
                <a:gd name="T53" fmla="*/ 72 h 1052"/>
                <a:gd name="T54" fmla="*/ 238 w 268"/>
                <a:gd name="T55" fmla="*/ 58 h 1052"/>
                <a:gd name="T56" fmla="*/ 228 w 268"/>
                <a:gd name="T57" fmla="*/ 46 h 1052"/>
                <a:gd name="T58" fmla="*/ 216 w 268"/>
                <a:gd name="T59" fmla="*/ 34 h 1052"/>
                <a:gd name="T60" fmla="*/ 204 w 268"/>
                <a:gd name="T61" fmla="*/ 24 h 1052"/>
                <a:gd name="T62" fmla="*/ 188 w 268"/>
                <a:gd name="T63" fmla="*/ 18 h 1052"/>
                <a:gd name="T64" fmla="*/ 172 w 268"/>
                <a:gd name="T65" fmla="*/ 10 h 1052"/>
                <a:gd name="T66" fmla="*/ 154 w 268"/>
                <a:gd name="T67" fmla="*/ 6 h 1052"/>
                <a:gd name="T68" fmla="*/ 134 w 268"/>
                <a:gd name="T69" fmla="*/ 4 h 1052"/>
                <a:gd name="T70" fmla="*/ 112 w 268"/>
                <a:gd name="T71" fmla="*/ 2 h 1052"/>
                <a:gd name="T72" fmla="*/ 88 w 268"/>
                <a:gd name="T73" fmla="*/ 0 h 1052"/>
                <a:gd name="T74" fmla="*/ 0 w 268"/>
                <a:gd name="T75" fmla="*/ 0 h 1052"/>
                <a:gd name="T76" fmla="*/ 0 w 268"/>
                <a:gd name="T77" fmla="*/ 105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8" h="1052">
                  <a:moveTo>
                    <a:pt x="0" y="1052"/>
                  </a:moveTo>
                  <a:lnTo>
                    <a:pt x="88" y="1052"/>
                  </a:lnTo>
                  <a:lnTo>
                    <a:pt x="88" y="1052"/>
                  </a:lnTo>
                  <a:lnTo>
                    <a:pt x="112" y="1052"/>
                  </a:lnTo>
                  <a:lnTo>
                    <a:pt x="134" y="1050"/>
                  </a:lnTo>
                  <a:lnTo>
                    <a:pt x="154" y="1046"/>
                  </a:lnTo>
                  <a:lnTo>
                    <a:pt x="172" y="1042"/>
                  </a:lnTo>
                  <a:lnTo>
                    <a:pt x="188" y="1036"/>
                  </a:lnTo>
                  <a:lnTo>
                    <a:pt x="204" y="1028"/>
                  </a:lnTo>
                  <a:lnTo>
                    <a:pt x="216" y="1018"/>
                  </a:lnTo>
                  <a:lnTo>
                    <a:pt x="228" y="1008"/>
                  </a:lnTo>
                  <a:lnTo>
                    <a:pt x="238" y="994"/>
                  </a:lnTo>
                  <a:lnTo>
                    <a:pt x="246" y="980"/>
                  </a:lnTo>
                  <a:lnTo>
                    <a:pt x="252" y="964"/>
                  </a:lnTo>
                  <a:lnTo>
                    <a:pt x="258" y="944"/>
                  </a:lnTo>
                  <a:lnTo>
                    <a:pt x="262" y="924"/>
                  </a:lnTo>
                  <a:lnTo>
                    <a:pt x="266" y="900"/>
                  </a:lnTo>
                  <a:lnTo>
                    <a:pt x="268" y="874"/>
                  </a:lnTo>
                  <a:lnTo>
                    <a:pt x="268" y="848"/>
                  </a:lnTo>
                  <a:lnTo>
                    <a:pt x="268" y="206"/>
                  </a:lnTo>
                  <a:lnTo>
                    <a:pt x="268" y="206"/>
                  </a:lnTo>
                  <a:lnTo>
                    <a:pt x="268" y="178"/>
                  </a:lnTo>
                  <a:lnTo>
                    <a:pt x="266" y="152"/>
                  </a:lnTo>
                  <a:lnTo>
                    <a:pt x="262" y="130"/>
                  </a:lnTo>
                  <a:lnTo>
                    <a:pt x="258" y="108"/>
                  </a:lnTo>
                  <a:lnTo>
                    <a:pt x="252" y="90"/>
                  </a:lnTo>
                  <a:lnTo>
                    <a:pt x="246" y="72"/>
                  </a:lnTo>
                  <a:lnTo>
                    <a:pt x="238" y="58"/>
                  </a:lnTo>
                  <a:lnTo>
                    <a:pt x="228" y="46"/>
                  </a:lnTo>
                  <a:lnTo>
                    <a:pt x="216" y="34"/>
                  </a:lnTo>
                  <a:lnTo>
                    <a:pt x="204" y="24"/>
                  </a:lnTo>
                  <a:lnTo>
                    <a:pt x="188" y="18"/>
                  </a:lnTo>
                  <a:lnTo>
                    <a:pt x="172" y="10"/>
                  </a:lnTo>
                  <a:lnTo>
                    <a:pt x="154" y="6"/>
                  </a:lnTo>
                  <a:lnTo>
                    <a:pt x="134" y="4"/>
                  </a:lnTo>
                  <a:lnTo>
                    <a:pt x="112" y="2"/>
                  </a:lnTo>
                  <a:lnTo>
                    <a:pt x="88" y="0"/>
                  </a:lnTo>
                  <a:lnTo>
                    <a:pt x="0" y="0"/>
                  </a:lnTo>
                  <a:lnTo>
                    <a:pt x="0" y="10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4" name="Freeform 18"/>
            <p:cNvSpPr>
              <a:spLocks/>
            </p:cNvSpPr>
            <p:nvPr/>
          </p:nvSpPr>
          <p:spPr bwMode="auto">
            <a:xfrm>
              <a:off x="5085160" y="1515667"/>
              <a:ext cx="919163" cy="1745456"/>
            </a:xfrm>
            <a:custGeom>
              <a:avLst/>
              <a:gdLst>
                <a:gd name="T0" fmla="*/ 0 w 772"/>
                <a:gd name="T1" fmla="*/ 0 h 1466"/>
                <a:gd name="T2" fmla="*/ 374 w 772"/>
                <a:gd name="T3" fmla="*/ 0 h 1466"/>
                <a:gd name="T4" fmla="*/ 374 w 772"/>
                <a:gd name="T5" fmla="*/ 0 h 1466"/>
                <a:gd name="T6" fmla="*/ 420 w 772"/>
                <a:gd name="T7" fmla="*/ 2 h 1466"/>
                <a:gd name="T8" fmla="*/ 466 w 772"/>
                <a:gd name="T9" fmla="*/ 6 h 1466"/>
                <a:gd name="T10" fmla="*/ 506 w 772"/>
                <a:gd name="T11" fmla="*/ 14 h 1466"/>
                <a:gd name="T12" fmla="*/ 546 w 772"/>
                <a:gd name="T13" fmla="*/ 26 h 1466"/>
                <a:gd name="T14" fmla="*/ 582 w 772"/>
                <a:gd name="T15" fmla="*/ 42 h 1466"/>
                <a:gd name="T16" fmla="*/ 614 w 772"/>
                <a:gd name="T17" fmla="*/ 60 h 1466"/>
                <a:gd name="T18" fmla="*/ 644 w 772"/>
                <a:gd name="T19" fmla="*/ 82 h 1466"/>
                <a:gd name="T20" fmla="*/ 670 w 772"/>
                <a:gd name="T21" fmla="*/ 108 h 1466"/>
                <a:gd name="T22" fmla="*/ 694 w 772"/>
                <a:gd name="T23" fmla="*/ 138 h 1466"/>
                <a:gd name="T24" fmla="*/ 714 w 772"/>
                <a:gd name="T25" fmla="*/ 170 h 1466"/>
                <a:gd name="T26" fmla="*/ 732 w 772"/>
                <a:gd name="T27" fmla="*/ 206 h 1466"/>
                <a:gd name="T28" fmla="*/ 746 w 772"/>
                <a:gd name="T29" fmla="*/ 246 h 1466"/>
                <a:gd name="T30" fmla="*/ 758 w 772"/>
                <a:gd name="T31" fmla="*/ 290 h 1466"/>
                <a:gd name="T32" fmla="*/ 766 w 772"/>
                <a:gd name="T33" fmla="*/ 336 h 1466"/>
                <a:gd name="T34" fmla="*/ 770 w 772"/>
                <a:gd name="T35" fmla="*/ 388 h 1466"/>
                <a:gd name="T36" fmla="*/ 772 w 772"/>
                <a:gd name="T37" fmla="*/ 442 h 1466"/>
                <a:gd name="T38" fmla="*/ 772 w 772"/>
                <a:gd name="T39" fmla="*/ 1022 h 1466"/>
                <a:gd name="T40" fmla="*/ 772 w 772"/>
                <a:gd name="T41" fmla="*/ 1022 h 1466"/>
                <a:gd name="T42" fmla="*/ 770 w 772"/>
                <a:gd name="T43" fmla="*/ 1078 h 1466"/>
                <a:gd name="T44" fmla="*/ 766 w 772"/>
                <a:gd name="T45" fmla="*/ 1128 h 1466"/>
                <a:gd name="T46" fmla="*/ 758 w 772"/>
                <a:gd name="T47" fmla="*/ 1176 h 1466"/>
                <a:gd name="T48" fmla="*/ 746 w 772"/>
                <a:gd name="T49" fmla="*/ 1218 h 1466"/>
                <a:gd name="T50" fmla="*/ 732 w 772"/>
                <a:gd name="T51" fmla="*/ 1258 h 1466"/>
                <a:gd name="T52" fmla="*/ 714 w 772"/>
                <a:gd name="T53" fmla="*/ 1294 h 1466"/>
                <a:gd name="T54" fmla="*/ 694 w 772"/>
                <a:gd name="T55" fmla="*/ 1328 h 1466"/>
                <a:gd name="T56" fmla="*/ 670 w 772"/>
                <a:gd name="T57" fmla="*/ 1356 h 1466"/>
                <a:gd name="T58" fmla="*/ 644 w 772"/>
                <a:gd name="T59" fmla="*/ 1382 h 1466"/>
                <a:gd name="T60" fmla="*/ 614 w 772"/>
                <a:gd name="T61" fmla="*/ 1404 h 1466"/>
                <a:gd name="T62" fmla="*/ 582 w 772"/>
                <a:gd name="T63" fmla="*/ 1424 h 1466"/>
                <a:gd name="T64" fmla="*/ 546 w 772"/>
                <a:gd name="T65" fmla="*/ 1438 h 1466"/>
                <a:gd name="T66" fmla="*/ 506 w 772"/>
                <a:gd name="T67" fmla="*/ 1450 h 1466"/>
                <a:gd name="T68" fmla="*/ 466 w 772"/>
                <a:gd name="T69" fmla="*/ 1458 h 1466"/>
                <a:gd name="T70" fmla="*/ 420 w 772"/>
                <a:gd name="T71" fmla="*/ 1464 h 1466"/>
                <a:gd name="T72" fmla="*/ 374 w 772"/>
                <a:gd name="T73" fmla="*/ 1466 h 1466"/>
                <a:gd name="T74" fmla="*/ 0 w 772"/>
                <a:gd name="T75" fmla="*/ 1466 h 1466"/>
                <a:gd name="T76" fmla="*/ 0 w 772"/>
                <a:gd name="T7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2" h="1466">
                  <a:moveTo>
                    <a:pt x="0" y="0"/>
                  </a:moveTo>
                  <a:lnTo>
                    <a:pt x="374" y="0"/>
                  </a:lnTo>
                  <a:lnTo>
                    <a:pt x="374" y="0"/>
                  </a:lnTo>
                  <a:lnTo>
                    <a:pt x="420" y="2"/>
                  </a:lnTo>
                  <a:lnTo>
                    <a:pt x="466" y="6"/>
                  </a:lnTo>
                  <a:lnTo>
                    <a:pt x="506" y="14"/>
                  </a:lnTo>
                  <a:lnTo>
                    <a:pt x="546" y="26"/>
                  </a:lnTo>
                  <a:lnTo>
                    <a:pt x="582" y="42"/>
                  </a:lnTo>
                  <a:lnTo>
                    <a:pt x="614" y="60"/>
                  </a:lnTo>
                  <a:lnTo>
                    <a:pt x="644" y="82"/>
                  </a:lnTo>
                  <a:lnTo>
                    <a:pt x="670" y="108"/>
                  </a:lnTo>
                  <a:lnTo>
                    <a:pt x="694" y="138"/>
                  </a:lnTo>
                  <a:lnTo>
                    <a:pt x="714" y="170"/>
                  </a:lnTo>
                  <a:lnTo>
                    <a:pt x="732" y="206"/>
                  </a:lnTo>
                  <a:lnTo>
                    <a:pt x="746" y="246"/>
                  </a:lnTo>
                  <a:lnTo>
                    <a:pt x="758" y="290"/>
                  </a:lnTo>
                  <a:lnTo>
                    <a:pt x="766" y="336"/>
                  </a:lnTo>
                  <a:lnTo>
                    <a:pt x="770" y="388"/>
                  </a:lnTo>
                  <a:lnTo>
                    <a:pt x="772" y="442"/>
                  </a:lnTo>
                  <a:lnTo>
                    <a:pt x="772" y="1022"/>
                  </a:lnTo>
                  <a:lnTo>
                    <a:pt x="772" y="1022"/>
                  </a:lnTo>
                  <a:lnTo>
                    <a:pt x="770" y="1078"/>
                  </a:lnTo>
                  <a:lnTo>
                    <a:pt x="766" y="1128"/>
                  </a:lnTo>
                  <a:lnTo>
                    <a:pt x="758" y="1176"/>
                  </a:lnTo>
                  <a:lnTo>
                    <a:pt x="746" y="1218"/>
                  </a:lnTo>
                  <a:lnTo>
                    <a:pt x="732" y="1258"/>
                  </a:lnTo>
                  <a:lnTo>
                    <a:pt x="714" y="1294"/>
                  </a:lnTo>
                  <a:lnTo>
                    <a:pt x="694" y="1328"/>
                  </a:lnTo>
                  <a:lnTo>
                    <a:pt x="670" y="1356"/>
                  </a:lnTo>
                  <a:lnTo>
                    <a:pt x="644" y="1382"/>
                  </a:lnTo>
                  <a:lnTo>
                    <a:pt x="614" y="1404"/>
                  </a:lnTo>
                  <a:lnTo>
                    <a:pt x="582" y="1424"/>
                  </a:lnTo>
                  <a:lnTo>
                    <a:pt x="546" y="1438"/>
                  </a:lnTo>
                  <a:lnTo>
                    <a:pt x="506" y="1450"/>
                  </a:lnTo>
                  <a:lnTo>
                    <a:pt x="466" y="1458"/>
                  </a:lnTo>
                  <a:lnTo>
                    <a:pt x="420" y="1464"/>
                  </a:lnTo>
                  <a:lnTo>
                    <a:pt x="374" y="1466"/>
                  </a:lnTo>
                  <a:lnTo>
                    <a:pt x="0" y="146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sp>
          <p:nvSpPr>
            <p:cNvPr id="35" name="Freeform 20"/>
            <p:cNvSpPr>
              <a:spLocks/>
            </p:cNvSpPr>
            <p:nvPr/>
          </p:nvSpPr>
          <p:spPr bwMode="auto">
            <a:xfrm>
              <a:off x="6199585" y="1515667"/>
              <a:ext cx="917972" cy="1745456"/>
            </a:xfrm>
            <a:custGeom>
              <a:avLst/>
              <a:gdLst>
                <a:gd name="T0" fmla="*/ 0 w 771"/>
                <a:gd name="T1" fmla="*/ 1466 h 1466"/>
                <a:gd name="T2" fmla="*/ 0 w 771"/>
                <a:gd name="T3" fmla="*/ 0 h 1466"/>
                <a:gd name="T4" fmla="*/ 233 w 771"/>
                <a:gd name="T5" fmla="*/ 0 h 1466"/>
                <a:gd name="T6" fmla="*/ 541 w 771"/>
                <a:gd name="T7" fmla="*/ 838 h 1466"/>
                <a:gd name="T8" fmla="*/ 545 w 771"/>
                <a:gd name="T9" fmla="*/ 838 h 1466"/>
                <a:gd name="T10" fmla="*/ 545 w 771"/>
                <a:gd name="T11" fmla="*/ 0 h 1466"/>
                <a:gd name="T12" fmla="*/ 771 w 771"/>
                <a:gd name="T13" fmla="*/ 0 h 1466"/>
                <a:gd name="T14" fmla="*/ 771 w 771"/>
                <a:gd name="T15" fmla="*/ 1466 h 1466"/>
                <a:gd name="T16" fmla="*/ 553 w 771"/>
                <a:gd name="T17" fmla="*/ 1466 h 1466"/>
                <a:gd name="T18" fmla="*/ 231 w 771"/>
                <a:gd name="T19" fmla="*/ 550 h 1466"/>
                <a:gd name="T20" fmla="*/ 227 w 771"/>
                <a:gd name="T21" fmla="*/ 550 h 1466"/>
                <a:gd name="T22" fmla="*/ 227 w 771"/>
                <a:gd name="T23" fmla="*/ 1466 h 1466"/>
                <a:gd name="T24" fmla="*/ 0 w 771"/>
                <a:gd name="T25" fmla="*/ 146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1" h="1466">
                  <a:moveTo>
                    <a:pt x="0" y="1466"/>
                  </a:moveTo>
                  <a:lnTo>
                    <a:pt x="0" y="0"/>
                  </a:lnTo>
                  <a:lnTo>
                    <a:pt x="233" y="0"/>
                  </a:lnTo>
                  <a:lnTo>
                    <a:pt x="541" y="838"/>
                  </a:lnTo>
                  <a:lnTo>
                    <a:pt x="545" y="838"/>
                  </a:lnTo>
                  <a:lnTo>
                    <a:pt x="545" y="0"/>
                  </a:lnTo>
                  <a:lnTo>
                    <a:pt x="771" y="0"/>
                  </a:lnTo>
                  <a:lnTo>
                    <a:pt x="771" y="1466"/>
                  </a:lnTo>
                  <a:lnTo>
                    <a:pt x="553" y="1466"/>
                  </a:lnTo>
                  <a:lnTo>
                    <a:pt x="231" y="550"/>
                  </a:lnTo>
                  <a:lnTo>
                    <a:pt x="227" y="550"/>
                  </a:lnTo>
                  <a:lnTo>
                    <a:pt x="227" y="1466"/>
                  </a:lnTo>
                  <a:lnTo>
                    <a:pt x="0" y="14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grpSp>
          <p:nvGrpSpPr>
            <p:cNvPr id="36" name="Group 35"/>
            <p:cNvGrpSpPr/>
            <p:nvPr/>
          </p:nvGrpSpPr>
          <p:grpSpPr>
            <a:xfrm>
              <a:off x="6971088" y="1495271"/>
              <a:ext cx="1351026" cy="1351026"/>
              <a:chOff x="9312850" y="1993695"/>
              <a:chExt cx="1801368" cy="1801368"/>
            </a:xfrm>
          </p:grpSpPr>
          <p:sp>
            <p:nvSpPr>
              <p:cNvPr id="37" name="Oval 36"/>
              <p:cNvSpPr/>
              <p:nvPr/>
            </p:nvSpPr>
            <p:spPr>
              <a:xfrm>
                <a:off x="9312850" y="1993695"/>
                <a:ext cx="1801368" cy="1801368"/>
              </a:xfrm>
              <a:prstGeom prst="ellipse">
                <a:avLst/>
              </a:prstGeom>
              <a:solidFill>
                <a:schemeClr val="accent1"/>
              </a:solidFill>
              <a:ln w="38100" cap="flat" cmpd="sng" algn="ctr">
                <a:solidFill>
                  <a:srgbClr val="FFFFFF"/>
                </a:solidFill>
                <a:prstDash val="solid"/>
              </a:ln>
              <a:effectLst/>
            </p:spPr>
            <p:txBody>
              <a:bodyPr rtlCol="0" anchor="ctr"/>
              <a:lstStyle/>
              <a:p>
                <a:pPr algn="ctr"/>
                <a:endParaRPr lang="en-US" sz="1400" b="1" kern="0" dirty="0">
                  <a:solidFill>
                    <a:srgbClr val="FFFFFF"/>
                  </a:solidFill>
                  <a:latin typeface="メイリオ"/>
                  <a:ea typeface="メイリオ"/>
                  <a:cs typeface="メイリオ"/>
                </a:endParaRPr>
              </a:p>
            </p:txBody>
          </p:sp>
          <p:grpSp>
            <p:nvGrpSpPr>
              <p:cNvPr id="38" name="Group 37"/>
              <p:cNvGrpSpPr/>
              <p:nvPr/>
            </p:nvGrpSpPr>
            <p:grpSpPr>
              <a:xfrm>
                <a:off x="9522937" y="2685935"/>
                <a:ext cx="1381195" cy="416888"/>
                <a:chOff x="1241425" y="1963738"/>
                <a:chExt cx="9709150" cy="2930525"/>
              </a:xfrm>
              <a:solidFill>
                <a:schemeClr val="bg1"/>
              </a:solidFill>
            </p:grpSpPr>
            <p:sp>
              <p:nvSpPr>
                <p:cNvPr id="39" name="Freeform 5"/>
                <p:cNvSpPr>
                  <a:spLocks noEditPoints="1"/>
                </p:cNvSpPr>
                <p:nvPr/>
              </p:nvSpPr>
              <p:spPr bwMode="auto">
                <a:xfrm>
                  <a:off x="1241425" y="1989138"/>
                  <a:ext cx="1222375" cy="2390775"/>
                </a:xfrm>
                <a:custGeom>
                  <a:avLst/>
                  <a:gdLst>
                    <a:gd name="T0" fmla="*/ 252 w 770"/>
                    <a:gd name="T1" fmla="*/ 1162 h 1506"/>
                    <a:gd name="T2" fmla="*/ 266 w 770"/>
                    <a:gd name="T3" fmla="*/ 1224 h 1506"/>
                    <a:gd name="T4" fmla="*/ 288 w 770"/>
                    <a:gd name="T5" fmla="*/ 1256 h 1506"/>
                    <a:gd name="T6" fmla="*/ 320 w 770"/>
                    <a:gd name="T7" fmla="*/ 1276 h 1506"/>
                    <a:gd name="T8" fmla="*/ 366 w 770"/>
                    <a:gd name="T9" fmla="*/ 1286 h 1506"/>
                    <a:gd name="T10" fmla="*/ 402 w 770"/>
                    <a:gd name="T11" fmla="*/ 1286 h 1506"/>
                    <a:gd name="T12" fmla="*/ 448 w 770"/>
                    <a:gd name="T13" fmla="*/ 1276 h 1506"/>
                    <a:gd name="T14" fmla="*/ 482 w 770"/>
                    <a:gd name="T15" fmla="*/ 1256 h 1506"/>
                    <a:gd name="T16" fmla="*/ 504 w 770"/>
                    <a:gd name="T17" fmla="*/ 1224 h 1506"/>
                    <a:gd name="T18" fmla="*/ 518 w 770"/>
                    <a:gd name="T19" fmla="*/ 1162 h 1506"/>
                    <a:gd name="T20" fmla="*/ 518 w 770"/>
                    <a:gd name="T21" fmla="*/ 380 h 1506"/>
                    <a:gd name="T22" fmla="*/ 508 w 770"/>
                    <a:gd name="T23" fmla="*/ 294 h 1506"/>
                    <a:gd name="T24" fmla="*/ 490 w 770"/>
                    <a:gd name="T25" fmla="*/ 258 h 1506"/>
                    <a:gd name="T26" fmla="*/ 460 w 770"/>
                    <a:gd name="T27" fmla="*/ 234 h 1506"/>
                    <a:gd name="T28" fmla="*/ 420 w 770"/>
                    <a:gd name="T29" fmla="*/ 222 h 1506"/>
                    <a:gd name="T30" fmla="*/ 384 w 770"/>
                    <a:gd name="T31" fmla="*/ 218 h 1506"/>
                    <a:gd name="T32" fmla="*/ 334 w 770"/>
                    <a:gd name="T33" fmla="*/ 224 h 1506"/>
                    <a:gd name="T34" fmla="*/ 298 w 770"/>
                    <a:gd name="T35" fmla="*/ 242 h 1506"/>
                    <a:gd name="T36" fmla="*/ 272 w 770"/>
                    <a:gd name="T37" fmla="*/ 270 h 1506"/>
                    <a:gd name="T38" fmla="*/ 258 w 770"/>
                    <a:gd name="T39" fmla="*/ 310 h 1506"/>
                    <a:gd name="T40" fmla="*/ 250 w 770"/>
                    <a:gd name="T41" fmla="*/ 1124 h 1506"/>
                    <a:gd name="T42" fmla="*/ 0 w 770"/>
                    <a:gd name="T43" fmla="*/ 336 h 1506"/>
                    <a:gd name="T44" fmla="*/ 22 w 770"/>
                    <a:gd name="T45" fmla="*/ 228 h 1506"/>
                    <a:gd name="T46" fmla="*/ 70 w 770"/>
                    <a:gd name="T47" fmla="*/ 136 h 1506"/>
                    <a:gd name="T48" fmla="*/ 146 w 770"/>
                    <a:gd name="T49" fmla="*/ 64 h 1506"/>
                    <a:gd name="T50" fmla="*/ 252 w 770"/>
                    <a:gd name="T51" fmla="*/ 16 h 1506"/>
                    <a:gd name="T52" fmla="*/ 384 w 770"/>
                    <a:gd name="T53" fmla="*/ 0 h 1506"/>
                    <a:gd name="T54" fmla="*/ 478 w 770"/>
                    <a:gd name="T55" fmla="*/ 6 h 1506"/>
                    <a:gd name="T56" fmla="*/ 592 w 770"/>
                    <a:gd name="T57" fmla="*/ 44 h 1506"/>
                    <a:gd name="T58" fmla="*/ 676 w 770"/>
                    <a:gd name="T59" fmla="*/ 110 h 1506"/>
                    <a:gd name="T60" fmla="*/ 734 w 770"/>
                    <a:gd name="T61" fmla="*/ 196 h 1506"/>
                    <a:gd name="T62" fmla="*/ 764 w 770"/>
                    <a:gd name="T63" fmla="*/ 300 h 1506"/>
                    <a:gd name="T64" fmla="*/ 770 w 770"/>
                    <a:gd name="T65" fmla="*/ 1130 h 1506"/>
                    <a:gd name="T66" fmla="*/ 764 w 770"/>
                    <a:gd name="T67" fmla="*/ 1206 h 1506"/>
                    <a:gd name="T68" fmla="*/ 734 w 770"/>
                    <a:gd name="T69" fmla="*/ 1308 h 1506"/>
                    <a:gd name="T70" fmla="*/ 676 w 770"/>
                    <a:gd name="T71" fmla="*/ 1396 h 1506"/>
                    <a:gd name="T72" fmla="*/ 592 w 770"/>
                    <a:gd name="T73" fmla="*/ 1460 h 1506"/>
                    <a:gd name="T74" fmla="*/ 478 w 770"/>
                    <a:gd name="T75" fmla="*/ 1498 h 1506"/>
                    <a:gd name="T76" fmla="*/ 384 w 770"/>
                    <a:gd name="T77" fmla="*/ 1506 h 1506"/>
                    <a:gd name="T78" fmla="*/ 252 w 770"/>
                    <a:gd name="T79" fmla="*/ 1488 h 1506"/>
                    <a:gd name="T80" fmla="*/ 146 w 770"/>
                    <a:gd name="T81" fmla="*/ 1442 h 1506"/>
                    <a:gd name="T82" fmla="*/ 70 w 770"/>
                    <a:gd name="T83" fmla="*/ 1368 h 1506"/>
                    <a:gd name="T84" fmla="*/ 22 w 770"/>
                    <a:gd name="T85" fmla="*/ 1276 h 1506"/>
                    <a:gd name="T86" fmla="*/ 0 w 770"/>
                    <a:gd name="T87" fmla="*/ 1168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0" h="1506">
                      <a:moveTo>
                        <a:pt x="250" y="1124"/>
                      </a:moveTo>
                      <a:lnTo>
                        <a:pt x="250" y="1124"/>
                      </a:lnTo>
                      <a:lnTo>
                        <a:pt x="252" y="1162"/>
                      </a:lnTo>
                      <a:lnTo>
                        <a:pt x="258" y="1196"/>
                      </a:lnTo>
                      <a:lnTo>
                        <a:pt x="262" y="1210"/>
                      </a:lnTo>
                      <a:lnTo>
                        <a:pt x="266" y="1224"/>
                      </a:lnTo>
                      <a:lnTo>
                        <a:pt x="272" y="1236"/>
                      </a:lnTo>
                      <a:lnTo>
                        <a:pt x="280" y="1246"/>
                      </a:lnTo>
                      <a:lnTo>
                        <a:pt x="288" y="1256"/>
                      </a:lnTo>
                      <a:lnTo>
                        <a:pt x="298" y="1264"/>
                      </a:lnTo>
                      <a:lnTo>
                        <a:pt x="308" y="1270"/>
                      </a:lnTo>
                      <a:lnTo>
                        <a:pt x="320" y="1276"/>
                      </a:lnTo>
                      <a:lnTo>
                        <a:pt x="334" y="1280"/>
                      </a:lnTo>
                      <a:lnTo>
                        <a:pt x="350" y="1284"/>
                      </a:lnTo>
                      <a:lnTo>
                        <a:pt x="366" y="1286"/>
                      </a:lnTo>
                      <a:lnTo>
                        <a:pt x="384" y="1286"/>
                      </a:lnTo>
                      <a:lnTo>
                        <a:pt x="384" y="1286"/>
                      </a:lnTo>
                      <a:lnTo>
                        <a:pt x="402" y="1286"/>
                      </a:lnTo>
                      <a:lnTo>
                        <a:pt x="420" y="1284"/>
                      </a:lnTo>
                      <a:lnTo>
                        <a:pt x="434" y="1280"/>
                      </a:lnTo>
                      <a:lnTo>
                        <a:pt x="448" y="1276"/>
                      </a:lnTo>
                      <a:lnTo>
                        <a:pt x="460" y="1270"/>
                      </a:lnTo>
                      <a:lnTo>
                        <a:pt x="472" y="1264"/>
                      </a:lnTo>
                      <a:lnTo>
                        <a:pt x="482" y="1256"/>
                      </a:lnTo>
                      <a:lnTo>
                        <a:pt x="490" y="1246"/>
                      </a:lnTo>
                      <a:lnTo>
                        <a:pt x="496" y="1236"/>
                      </a:lnTo>
                      <a:lnTo>
                        <a:pt x="504" y="1224"/>
                      </a:lnTo>
                      <a:lnTo>
                        <a:pt x="508" y="1210"/>
                      </a:lnTo>
                      <a:lnTo>
                        <a:pt x="512" y="1196"/>
                      </a:lnTo>
                      <a:lnTo>
                        <a:pt x="518" y="1162"/>
                      </a:lnTo>
                      <a:lnTo>
                        <a:pt x="518" y="1124"/>
                      </a:lnTo>
                      <a:lnTo>
                        <a:pt x="518" y="380"/>
                      </a:lnTo>
                      <a:lnTo>
                        <a:pt x="518" y="380"/>
                      </a:lnTo>
                      <a:lnTo>
                        <a:pt x="518" y="342"/>
                      </a:lnTo>
                      <a:lnTo>
                        <a:pt x="512" y="310"/>
                      </a:lnTo>
                      <a:lnTo>
                        <a:pt x="508" y="294"/>
                      </a:lnTo>
                      <a:lnTo>
                        <a:pt x="504" y="282"/>
                      </a:lnTo>
                      <a:lnTo>
                        <a:pt x="496" y="270"/>
                      </a:lnTo>
                      <a:lnTo>
                        <a:pt x="490" y="258"/>
                      </a:lnTo>
                      <a:lnTo>
                        <a:pt x="482" y="250"/>
                      </a:lnTo>
                      <a:lnTo>
                        <a:pt x="472" y="242"/>
                      </a:lnTo>
                      <a:lnTo>
                        <a:pt x="460" y="234"/>
                      </a:lnTo>
                      <a:lnTo>
                        <a:pt x="448" y="228"/>
                      </a:lnTo>
                      <a:lnTo>
                        <a:pt x="434" y="224"/>
                      </a:lnTo>
                      <a:lnTo>
                        <a:pt x="420" y="222"/>
                      </a:lnTo>
                      <a:lnTo>
                        <a:pt x="402" y="220"/>
                      </a:lnTo>
                      <a:lnTo>
                        <a:pt x="384" y="218"/>
                      </a:lnTo>
                      <a:lnTo>
                        <a:pt x="384" y="218"/>
                      </a:lnTo>
                      <a:lnTo>
                        <a:pt x="366" y="220"/>
                      </a:lnTo>
                      <a:lnTo>
                        <a:pt x="350" y="222"/>
                      </a:lnTo>
                      <a:lnTo>
                        <a:pt x="334" y="224"/>
                      </a:lnTo>
                      <a:lnTo>
                        <a:pt x="320" y="228"/>
                      </a:lnTo>
                      <a:lnTo>
                        <a:pt x="308" y="234"/>
                      </a:lnTo>
                      <a:lnTo>
                        <a:pt x="298" y="242"/>
                      </a:lnTo>
                      <a:lnTo>
                        <a:pt x="288" y="250"/>
                      </a:lnTo>
                      <a:lnTo>
                        <a:pt x="280" y="258"/>
                      </a:lnTo>
                      <a:lnTo>
                        <a:pt x="272" y="270"/>
                      </a:lnTo>
                      <a:lnTo>
                        <a:pt x="266" y="282"/>
                      </a:lnTo>
                      <a:lnTo>
                        <a:pt x="262" y="294"/>
                      </a:lnTo>
                      <a:lnTo>
                        <a:pt x="258" y="310"/>
                      </a:lnTo>
                      <a:lnTo>
                        <a:pt x="252" y="342"/>
                      </a:lnTo>
                      <a:lnTo>
                        <a:pt x="250" y="380"/>
                      </a:lnTo>
                      <a:lnTo>
                        <a:pt x="250" y="1124"/>
                      </a:lnTo>
                      <a:close/>
                      <a:moveTo>
                        <a:pt x="0" y="374"/>
                      </a:moveTo>
                      <a:lnTo>
                        <a:pt x="0" y="374"/>
                      </a:lnTo>
                      <a:lnTo>
                        <a:pt x="0" y="336"/>
                      </a:lnTo>
                      <a:lnTo>
                        <a:pt x="4" y="300"/>
                      </a:lnTo>
                      <a:lnTo>
                        <a:pt x="12" y="264"/>
                      </a:lnTo>
                      <a:lnTo>
                        <a:pt x="22" y="228"/>
                      </a:lnTo>
                      <a:lnTo>
                        <a:pt x="36" y="196"/>
                      </a:lnTo>
                      <a:lnTo>
                        <a:pt x="52" y="166"/>
                      </a:lnTo>
                      <a:lnTo>
                        <a:pt x="70" y="136"/>
                      </a:lnTo>
                      <a:lnTo>
                        <a:pt x="92" y="110"/>
                      </a:lnTo>
                      <a:lnTo>
                        <a:pt x="118" y="86"/>
                      </a:lnTo>
                      <a:lnTo>
                        <a:pt x="146" y="64"/>
                      </a:lnTo>
                      <a:lnTo>
                        <a:pt x="178" y="44"/>
                      </a:lnTo>
                      <a:lnTo>
                        <a:pt x="214" y="28"/>
                      </a:lnTo>
                      <a:lnTo>
                        <a:pt x="252" y="16"/>
                      </a:lnTo>
                      <a:lnTo>
                        <a:pt x="292" y="6"/>
                      </a:lnTo>
                      <a:lnTo>
                        <a:pt x="336" y="2"/>
                      </a:lnTo>
                      <a:lnTo>
                        <a:pt x="384" y="0"/>
                      </a:lnTo>
                      <a:lnTo>
                        <a:pt x="384" y="0"/>
                      </a:lnTo>
                      <a:lnTo>
                        <a:pt x="432" y="2"/>
                      </a:lnTo>
                      <a:lnTo>
                        <a:pt x="478" y="6"/>
                      </a:lnTo>
                      <a:lnTo>
                        <a:pt x="518" y="16"/>
                      </a:lnTo>
                      <a:lnTo>
                        <a:pt x="556" y="28"/>
                      </a:lnTo>
                      <a:lnTo>
                        <a:pt x="592" y="44"/>
                      </a:lnTo>
                      <a:lnTo>
                        <a:pt x="622" y="64"/>
                      </a:lnTo>
                      <a:lnTo>
                        <a:pt x="652" y="86"/>
                      </a:lnTo>
                      <a:lnTo>
                        <a:pt x="676" y="110"/>
                      </a:lnTo>
                      <a:lnTo>
                        <a:pt x="698" y="136"/>
                      </a:lnTo>
                      <a:lnTo>
                        <a:pt x="718" y="166"/>
                      </a:lnTo>
                      <a:lnTo>
                        <a:pt x="734" y="196"/>
                      </a:lnTo>
                      <a:lnTo>
                        <a:pt x="748" y="228"/>
                      </a:lnTo>
                      <a:lnTo>
                        <a:pt x="758" y="264"/>
                      </a:lnTo>
                      <a:lnTo>
                        <a:pt x="764" y="300"/>
                      </a:lnTo>
                      <a:lnTo>
                        <a:pt x="768" y="336"/>
                      </a:lnTo>
                      <a:lnTo>
                        <a:pt x="770" y="374"/>
                      </a:lnTo>
                      <a:lnTo>
                        <a:pt x="770" y="1130"/>
                      </a:lnTo>
                      <a:lnTo>
                        <a:pt x="770" y="1130"/>
                      </a:lnTo>
                      <a:lnTo>
                        <a:pt x="768" y="1168"/>
                      </a:lnTo>
                      <a:lnTo>
                        <a:pt x="764" y="1206"/>
                      </a:lnTo>
                      <a:lnTo>
                        <a:pt x="758" y="1242"/>
                      </a:lnTo>
                      <a:lnTo>
                        <a:pt x="748" y="1276"/>
                      </a:lnTo>
                      <a:lnTo>
                        <a:pt x="734" y="1308"/>
                      </a:lnTo>
                      <a:lnTo>
                        <a:pt x="718" y="1340"/>
                      </a:lnTo>
                      <a:lnTo>
                        <a:pt x="698" y="1368"/>
                      </a:lnTo>
                      <a:lnTo>
                        <a:pt x="676" y="1396"/>
                      </a:lnTo>
                      <a:lnTo>
                        <a:pt x="652" y="1420"/>
                      </a:lnTo>
                      <a:lnTo>
                        <a:pt x="622" y="1442"/>
                      </a:lnTo>
                      <a:lnTo>
                        <a:pt x="592" y="1460"/>
                      </a:lnTo>
                      <a:lnTo>
                        <a:pt x="556" y="1476"/>
                      </a:lnTo>
                      <a:lnTo>
                        <a:pt x="518" y="1488"/>
                      </a:lnTo>
                      <a:lnTo>
                        <a:pt x="478" y="1498"/>
                      </a:lnTo>
                      <a:lnTo>
                        <a:pt x="432" y="1504"/>
                      </a:lnTo>
                      <a:lnTo>
                        <a:pt x="384" y="1506"/>
                      </a:lnTo>
                      <a:lnTo>
                        <a:pt x="384" y="1506"/>
                      </a:lnTo>
                      <a:lnTo>
                        <a:pt x="336" y="1504"/>
                      </a:lnTo>
                      <a:lnTo>
                        <a:pt x="292" y="1498"/>
                      </a:lnTo>
                      <a:lnTo>
                        <a:pt x="252" y="1488"/>
                      </a:lnTo>
                      <a:lnTo>
                        <a:pt x="214" y="1476"/>
                      </a:lnTo>
                      <a:lnTo>
                        <a:pt x="178" y="1460"/>
                      </a:lnTo>
                      <a:lnTo>
                        <a:pt x="146" y="1442"/>
                      </a:lnTo>
                      <a:lnTo>
                        <a:pt x="118" y="1420"/>
                      </a:lnTo>
                      <a:lnTo>
                        <a:pt x="92" y="1396"/>
                      </a:lnTo>
                      <a:lnTo>
                        <a:pt x="70" y="1368"/>
                      </a:lnTo>
                      <a:lnTo>
                        <a:pt x="52" y="1340"/>
                      </a:lnTo>
                      <a:lnTo>
                        <a:pt x="36" y="1308"/>
                      </a:lnTo>
                      <a:lnTo>
                        <a:pt x="22" y="1276"/>
                      </a:lnTo>
                      <a:lnTo>
                        <a:pt x="12" y="1242"/>
                      </a:lnTo>
                      <a:lnTo>
                        <a:pt x="4" y="1206"/>
                      </a:lnTo>
                      <a:lnTo>
                        <a:pt x="0" y="1168"/>
                      </a:lnTo>
                      <a:lnTo>
                        <a:pt x="0" y="1130"/>
                      </a:lnTo>
                      <a:lnTo>
                        <a:pt x="0" y="3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0" name="Freeform 8"/>
                <p:cNvSpPr>
                  <a:spLocks noEditPoints="1"/>
                </p:cNvSpPr>
                <p:nvPr/>
              </p:nvSpPr>
              <p:spPr bwMode="auto">
                <a:xfrm>
                  <a:off x="2724150" y="2579688"/>
                  <a:ext cx="1103313" cy="2314575"/>
                </a:xfrm>
                <a:custGeom>
                  <a:avLst/>
                  <a:gdLst>
                    <a:gd name="T0" fmla="*/ 228 w 695"/>
                    <a:gd name="T1" fmla="*/ 890 h 1458"/>
                    <a:gd name="T2" fmla="*/ 292 w 695"/>
                    <a:gd name="T3" fmla="*/ 930 h 1458"/>
                    <a:gd name="T4" fmla="*/ 324 w 695"/>
                    <a:gd name="T5" fmla="*/ 942 h 1458"/>
                    <a:gd name="T6" fmla="*/ 358 w 695"/>
                    <a:gd name="T7" fmla="*/ 946 h 1458"/>
                    <a:gd name="T8" fmla="*/ 380 w 695"/>
                    <a:gd name="T9" fmla="*/ 946 h 1458"/>
                    <a:gd name="T10" fmla="*/ 400 w 695"/>
                    <a:gd name="T11" fmla="*/ 940 h 1458"/>
                    <a:gd name="T12" fmla="*/ 420 w 695"/>
                    <a:gd name="T13" fmla="*/ 928 h 1458"/>
                    <a:gd name="T14" fmla="*/ 436 w 695"/>
                    <a:gd name="T15" fmla="*/ 912 h 1458"/>
                    <a:gd name="T16" fmla="*/ 448 w 695"/>
                    <a:gd name="T17" fmla="*/ 890 h 1458"/>
                    <a:gd name="T18" fmla="*/ 458 w 695"/>
                    <a:gd name="T19" fmla="*/ 858 h 1458"/>
                    <a:gd name="T20" fmla="*/ 466 w 695"/>
                    <a:gd name="T21" fmla="*/ 820 h 1458"/>
                    <a:gd name="T22" fmla="*/ 468 w 695"/>
                    <a:gd name="T23" fmla="*/ 770 h 1458"/>
                    <a:gd name="T24" fmla="*/ 468 w 695"/>
                    <a:gd name="T25" fmla="*/ 364 h 1458"/>
                    <a:gd name="T26" fmla="*/ 466 w 695"/>
                    <a:gd name="T27" fmla="*/ 316 h 1458"/>
                    <a:gd name="T28" fmla="*/ 458 w 695"/>
                    <a:gd name="T29" fmla="*/ 276 h 1458"/>
                    <a:gd name="T30" fmla="*/ 448 w 695"/>
                    <a:gd name="T31" fmla="*/ 244 h 1458"/>
                    <a:gd name="T32" fmla="*/ 436 w 695"/>
                    <a:gd name="T33" fmla="*/ 222 h 1458"/>
                    <a:gd name="T34" fmla="*/ 420 w 695"/>
                    <a:gd name="T35" fmla="*/ 206 h 1458"/>
                    <a:gd name="T36" fmla="*/ 400 w 695"/>
                    <a:gd name="T37" fmla="*/ 194 h 1458"/>
                    <a:gd name="T38" fmla="*/ 380 w 695"/>
                    <a:gd name="T39" fmla="*/ 190 h 1458"/>
                    <a:gd name="T40" fmla="*/ 358 w 695"/>
                    <a:gd name="T41" fmla="*/ 188 h 1458"/>
                    <a:gd name="T42" fmla="*/ 324 w 695"/>
                    <a:gd name="T43" fmla="*/ 192 h 1458"/>
                    <a:gd name="T44" fmla="*/ 292 w 695"/>
                    <a:gd name="T45" fmla="*/ 204 h 1458"/>
                    <a:gd name="T46" fmla="*/ 228 w 695"/>
                    <a:gd name="T47" fmla="*/ 244 h 1458"/>
                    <a:gd name="T48" fmla="*/ 228 w 695"/>
                    <a:gd name="T49" fmla="*/ 890 h 1458"/>
                    <a:gd name="T50" fmla="*/ 216 w 695"/>
                    <a:gd name="T51" fmla="*/ 134 h 1458"/>
                    <a:gd name="T52" fmla="*/ 220 w 695"/>
                    <a:gd name="T53" fmla="*/ 134 h 1458"/>
                    <a:gd name="T54" fmla="*/ 274 w 695"/>
                    <a:gd name="T55" fmla="*/ 74 h 1458"/>
                    <a:gd name="T56" fmla="*/ 328 w 695"/>
                    <a:gd name="T57" fmla="*/ 32 h 1458"/>
                    <a:gd name="T58" fmla="*/ 356 w 695"/>
                    <a:gd name="T59" fmla="*/ 18 h 1458"/>
                    <a:gd name="T60" fmla="*/ 388 w 695"/>
                    <a:gd name="T61" fmla="*/ 8 h 1458"/>
                    <a:gd name="T62" fmla="*/ 464 w 695"/>
                    <a:gd name="T63" fmla="*/ 0 h 1458"/>
                    <a:gd name="T64" fmla="*/ 490 w 695"/>
                    <a:gd name="T65" fmla="*/ 2 h 1458"/>
                    <a:gd name="T66" fmla="*/ 538 w 695"/>
                    <a:gd name="T67" fmla="*/ 12 h 1458"/>
                    <a:gd name="T68" fmla="*/ 580 w 695"/>
                    <a:gd name="T69" fmla="*/ 32 h 1458"/>
                    <a:gd name="T70" fmla="*/ 617 w 695"/>
                    <a:gd name="T71" fmla="*/ 60 h 1458"/>
                    <a:gd name="T72" fmla="*/ 647 w 695"/>
                    <a:gd name="T73" fmla="*/ 98 h 1458"/>
                    <a:gd name="T74" fmla="*/ 671 w 695"/>
                    <a:gd name="T75" fmla="*/ 146 h 1458"/>
                    <a:gd name="T76" fmla="*/ 687 w 695"/>
                    <a:gd name="T77" fmla="*/ 204 h 1458"/>
                    <a:gd name="T78" fmla="*/ 695 w 695"/>
                    <a:gd name="T79" fmla="*/ 270 h 1458"/>
                    <a:gd name="T80" fmla="*/ 695 w 695"/>
                    <a:gd name="T81" fmla="*/ 830 h 1458"/>
                    <a:gd name="T82" fmla="*/ 695 w 695"/>
                    <a:gd name="T83" fmla="*/ 866 h 1458"/>
                    <a:gd name="T84" fmla="*/ 687 w 695"/>
                    <a:gd name="T85" fmla="*/ 932 h 1458"/>
                    <a:gd name="T86" fmla="*/ 671 w 695"/>
                    <a:gd name="T87" fmla="*/ 988 h 1458"/>
                    <a:gd name="T88" fmla="*/ 647 w 695"/>
                    <a:gd name="T89" fmla="*/ 1036 h 1458"/>
                    <a:gd name="T90" fmla="*/ 617 w 695"/>
                    <a:gd name="T91" fmla="*/ 1074 h 1458"/>
                    <a:gd name="T92" fmla="*/ 580 w 695"/>
                    <a:gd name="T93" fmla="*/ 1102 h 1458"/>
                    <a:gd name="T94" fmla="*/ 538 w 695"/>
                    <a:gd name="T95" fmla="*/ 1122 h 1458"/>
                    <a:gd name="T96" fmla="*/ 490 w 695"/>
                    <a:gd name="T97" fmla="*/ 1132 h 1458"/>
                    <a:gd name="T98" fmla="*/ 464 w 695"/>
                    <a:gd name="T99" fmla="*/ 1134 h 1458"/>
                    <a:gd name="T100" fmla="*/ 398 w 695"/>
                    <a:gd name="T101" fmla="*/ 1126 h 1458"/>
                    <a:gd name="T102" fmla="*/ 342 w 695"/>
                    <a:gd name="T103" fmla="*/ 1104 h 1458"/>
                    <a:gd name="T104" fmla="*/ 288 w 695"/>
                    <a:gd name="T105" fmla="*/ 1068 h 1458"/>
                    <a:gd name="T106" fmla="*/ 228 w 695"/>
                    <a:gd name="T107" fmla="*/ 1458 h 1458"/>
                    <a:gd name="T108" fmla="*/ 0 w 695"/>
                    <a:gd name="T109" fmla="*/ 22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5" h="1458">
                      <a:moveTo>
                        <a:pt x="228" y="890"/>
                      </a:moveTo>
                      <a:lnTo>
                        <a:pt x="228" y="890"/>
                      </a:lnTo>
                      <a:lnTo>
                        <a:pt x="260" y="912"/>
                      </a:lnTo>
                      <a:lnTo>
                        <a:pt x="292" y="930"/>
                      </a:lnTo>
                      <a:lnTo>
                        <a:pt x="308" y="938"/>
                      </a:lnTo>
                      <a:lnTo>
                        <a:pt x="324" y="942"/>
                      </a:lnTo>
                      <a:lnTo>
                        <a:pt x="342" y="946"/>
                      </a:lnTo>
                      <a:lnTo>
                        <a:pt x="358" y="946"/>
                      </a:lnTo>
                      <a:lnTo>
                        <a:pt x="358" y="946"/>
                      </a:lnTo>
                      <a:lnTo>
                        <a:pt x="380" y="946"/>
                      </a:lnTo>
                      <a:lnTo>
                        <a:pt x="390" y="942"/>
                      </a:lnTo>
                      <a:lnTo>
                        <a:pt x="400" y="940"/>
                      </a:lnTo>
                      <a:lnTo>
                        <a:pt x="410" y="934"/>
                      </a:lnTo>
                      <a:lnTo>
                        <a:pt x="420" y="928"/>
                      </a:lnTo>
                      <a:lnTo>
                        <a:pt x="428" y="922"/>
                      </a:lnTo>
                      <a:lnTo>
                        <a:pt x="436" y="912"/>
                      </a:lnTo>
                      <a:lnTo>
                        <a:pt x="442" y="902"/>
                      </a:lnTo>
                      <a:lnTo>
                        <a:pt x="448" y="890"/>
                      </a:lnTo>
                      <a:lnTo>
                        <a:pt x="454" y="874"/>
                      </a:lnTo>
                      <a:lnTo>
                        <a:pt x="458" y="858"/>
                      </a:lnTo>
                      <a:lnTo>
                        <a:pt x="462" y="840"/>
                      </a:lnTo>
                      <a:lnTo>
                        <a:pt x="466" y="820"/>
                      </a:lnTo>
                      <a:lnTo>
                        <a:pt x="466" y="796"/>
                      </a:lnTo>
                      <a:lnTo>
                        <a:pt x="468" y="770"/>
                      </a:lnTo>
                      <a:lnTo>
                        <a:pt x="468" y="364"/>
                      </a:lnTo>
                      <a:lnTo>
                        <a:pt x="468" y="364"/>
                      </a:lnTo>
                      <a:lnTo>
                        <a:pt x="466" y="338"/>
                      </a:lnTo>
                      <a:lnTo>
                        <a:pt x="466" y="316"/>
                      </a:lnTo>
                      <a:lnTo>
                        <a:pt x="462" y="294"/>
                      </a:lnTo>
                      <a:lnTo>
                        <a:pt x="458" y="276"/>
                      </a:lnTo>
                      <a:lnTo>
                        <a:pt x="454" y="260"/>
                      </a:lnTo>
                      <a:lnTo>
                        <a:pt x="448" y="244"/>
                      </a:lnTo>
                      <a:lnTo>
                        <a:pt x="442" y="232"/>
                      </a:lnTo>
                      <a:lnTo>
                        <a:pt x="436" y="222"/>
                      </a:lnTo>
                      <a:lnTo>
                        <a:pt x="428" y="212"/>
                      </a:lnTo>
                      <a:lnTo>
                        <a:pt x="420" y="206"/>
                      </a:lnTo>
                      <a:lnTo>
                        <a:pt x="410" y="200"/>
                      </a:lnTo>
                      <a:lnTo>
                        <a:pt x="400" y="194"/>
                      </a:lnTo>
                      <a:lnTo>
                        <a:pt x="390" y="192"/>
                      </a:lnTo>
                      <a:lnTo>
                        <a:pt x="380" y="190"/>
                      </a:lnTo>
                      <a:lnTo>
                        <a:pt x="358" y="188"/>
                      </a:lnTo>
                      <a:lnTo>
                        <a:pt x="358" y="188"/>
                      </a:lnTo>
                      <a:lnTo>
                        <a:pt x="342" y="188"/>
                      </a:lnTo>
                      <a:lnTo>
                        <a:pt x="324" y="192"/>
                      </a:lnTo>
                      <a:lnTo>
                        <a:pt x="308" y="196"/>
                      </a:lnTo>
                      <a:lnTo>
                        <a:pt x="292" y="204"/>
                      </a:lnTo>
                      <a:lnTo>
                        <a:pt x="260" y="222"/>
                      </a:lnTo>
                      <a:lnTo>
                        <a:pt x="228" y="244"/>
                      </a:lnTo>
                      <a:lnTo>
                        <a:pt x="228" y="890"/>
                      </a:lnTo>
                      <a:lnTo>
                        <a:pt x="228" y="890"/>
                      </a:lnTo>
                      <a:close/>
                      <a:moveTo>
                        <a:pt x="216" y="22"/>
                      </a:moveTo>
                      <a:lnTo>
                        <a:pt x="216" y="134"/>
                      </a:lnTo>
                      <a:lnTo>
                        <a:pt x="220" y="134"/>
                      </a:lnTo>
                      <a:lnTo>
                        <a:pt x="220" y="134"/>
                      </a:lnTo>
                      <a:lnTo>
                        <a:pt x="248" y="102"/>
                      </a:lnTo>
                      <a:lnTo>
                        <a:pt x="274" y="74"/>
                      </a:lnTo>
                      <a:lnTo>
                        <a:pt x="300" y="50"/>
                      </a:lnTo>
                      <a:lnTo>
                        <a:pt x="328" y="32"/>
                      </a:lnTo>
                      <a:lnTo>
                        <a:pt x="342" y="24"/>
                      </a:lnTo>
                      <a:lnTo>
                        <a:pt x="356" y="18"/>
                      </a:lnTo>
                      <a:lnTo>
                        <a:pt x="372" y="12"/>
                      </a:lnTo>
                      <a:lnTo>
                        <a:pt x="388" y="8"/>
                      </a:lnTo>
                      <a:lnTo>
                        <a:pt x="424" y="2"/>
                      </a:lnTo>
                      <a:lnTo>
                        <a:pt x="464" y="0"/>
                      </a:lnTo>
                      <a:lnTo>
                        <a:pt x="464" y="0"/>
                      </a:lnTo>
                      <a:lnTo>
                        <a:pt x="490" y="2"/>
                      </a:lnTo>
                      <a:lnTo>
                        <a:pt x="514" y="6"/>
                      </a:lnTo>
                      <a:lnTo>
                        <a:pt x="538" y="12"/>
                      </a:lnTo>
                      <a:lnTo>
                        <a:pt x="560" y="20"/>
                      </a:lnTo>
                      <a:lnTo>
                        <a:pt x="580" y="32"/>
                      </a:lnTo>
                      <a:lnTo>
                        <a:pt x="601" y="44"/>
                      </a:lnTo>
                      <a:lnTo>
                        <a:pt x="617" y="60"/>
                      </a:lnTo>
                      <a:lnTo>
                        <a:pt x="633" y="78"/>
                      </a:lnTo>
                      <a:lnTo>
                        <a:pt x="647" y="98"/>
                      </a:lnTo>
                      <a:lnTo>
                        <a:pt x="661" y="122"/>
                      </a:lnTo>
                      <a:lnTo>
                        <a:pt x="671" y="146"/>
                      </a:lnTo>
                      <a:lnTo>
                        <a:pt x="679" y="174"/>
                      </a:lnTo>
                      <a:lnTo>
                        <a:pt x="687" y="204"/>
                      </a:lnTo>
                      <a:lnTo>
                        <a:pt x="691" y="236"/>
                      </a:lnTo>
                      <a:lnTo>
                        <a:pt x="695" y="270"/>
                      </a:lnTo>
                      <a:lnTo>
                        <a:pt x="695" y="306"/>
                      </a:lnTo>
                      <a:lnTo>
                        <a:pt x="695" y="830"/>
                      </a:lnTo>
                      <a:lnTo>
                        <a:pt x="695" y="830"/>
                      </a:lnTo>
                      <a:lnTo>
                        <a:pt x="695" y="866"/>
                      </a:lnTo>
                      <a:lnTo>
                        <a:pt x="691" y="900"/>
                      </a:lnTo>
                      <a:lnTo>
                        <a:pt x="687" y="932"/>
                      </a:lnTo>
                      <a:lnTo>
                        <a:pt x="679" y="960"/>
                      </a:lnTo>
                      <a:lnTo>
                        <a:pt x="671" y="988"/>
                      </a:lnTo>
                      <a:lnTo>
                        <a:pt x="661" y="1012"/>
                      </a:lnTo>
                      <a:lnTo>
                        <a:pt x="647" y="1036"/>
                      </a:lnTo>
                      <a:lnTo>
                        <a:pt x="633" y="1056"/>
                      </a:lnTo>
                      <a:lnTo>
                        <a:pt x="617" y="1074"/>
                      </a:lnTo>
                      <a:lnTo>
                        <a:pt x="601" y="1090"/>
                      </a:lnTo>
                      <a:lnTo>
                        <a:pt x="580" y="1102"/>
                      </a:lnTo>
                      <a:lnTo>
                        <a:pt x="560" y="1114"/>
                      </a:lnTo>
                      <a:lnTo>
                        <a:pt x="538" y="1122"/>
                      </a:lnTo>
                      <a:lnTo>
                        <a:pt x="514" y="1128"/>
                      </a:lnTo>
                      <a:lnTo>
                        <a:pt x="490" y="1132"/>
                      </a:lnTo>
                      <a:lnTo>
                        <a:pt x="464" y="1134"/>
                      </a:lnTo>
                      <a:lnTo>
                        <a:pt x="464" y="1134"/>
                      </a:lnTo>
                      <a:lnTo>
                        <a:pt x="428" y="1132"/>
                      </a:lnTo>
                      <a:lnTo>
                        <a:pt x="398" y="1126"/>
                      </a:lnTo>
                      <a:lnTo>
                        <a:pt x="368" y="1116"/>
                      </a:lnTo>
                      <a:lnTo>
                        <a:pt x="342" y="1104"/>
                      </a:lnTo>
                      <a:lnTo>
                        <a:pt x="316" y="1088"/>
                      </a:lnTo>
                      <a:lnTo>
                        <a:pt x="288" y="1068"/>
                      </a:lnTo>
                      <a:lnTo>
                        <a:pt x="228" y="1020"/>
                      </a:lnTo>
                      <a:lnTo>
                        <a:pt x="228" y="1458"/>
                      </a:lnTo>
                      <a:lnTo>
                        <a:pt x="0" y="1458"/>
                      </a:lnTo>
                      <a:lnTo>
                        <a:pt x="0" y="22"/>
                      </a:lnTo>
                      <a:lnTo>
                        <a:pt x="21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1" name="Freeform 11"/>
                <p:cNvSpPr>
                  <a:spLocks noEditPoints="1"/>
                </p:cNvSpPr>
                <p:nvPr/>
              </p:nvSpPr>
              <p:spPr bwMode="auto">
                <a:xfrm>
                  <a:off x="4075113" y="2579688"/>
                  <a:ext cx="1120775" cy="1800225"/>
                </a:xfrm>
                <a:custGeom>
                  <a:avLst/>
                  <a:gdLst>
                    <a:gd name="T0" fmla="*/ 480 w 706"/>
                    <a:gd name="T1" fmla="*/ 366 h 1134"/>
                    <a:gd name="T2" fmla="*/ 472 w 706"/>
                    <a:gd name="T3" fmla="*/ 286 h 1134"/>
                    <a:gd name="T4" fmla="*/ 454 w 706"/>
                    <a:gd name="T5" fmla="*/ 242 h 1134"/>
                    <a:gd name="T6" fmla="*/ 430 w 706"/>
                    <a:gd name="T7" fmla="*/ 210 h 1134"/>
                    <a:gd name="T8" fmla="*/ 396 w 706"/>
                    <a:gd name="T9" fmla="*/ 194 h 1134"/>
                    <a:gd name="T10" fmla="*/ 354 w 706"/>
                    <a:gd name="T11" fmla="*/ 188 h 1134"/>
                    <a:gd name="T12" fmla="*/ 326 w 706"/>
                    <a:gd name="T13" fmla="*/ 190 h 1134"/>
                    <a:gd name="T14" fmla="*/ 288 w 706"/>
                    <a:gd name="T15" fmla="*/ 204 h 1134"/>
                    <a:gd name="T16" fmla="*/ 260 w 706"/>
                    <a:gd name="T17" fmla="*/ 230 h 1134"/>
                    <a:gd name="T18" fmla="*/ 240 w 706"/>
                    <a:gd name="T19" fmla="*/ 268 h 1134"/>
                    <a:gd name="T20" fmla="*/ 230 w 706"/>
                    <a:gd name="T21" fmla="*/ 322 h 1134"/>
                    <a:gd name="T22" fmla="*/ 480 w 706"/>
                    <a:gd name="T23" fmla="*/ 424 h 1134"/>
                    <a:gd name="T24" fmla="*/ 228 w 706"/>
                    <a:gd name="T25" fmla="*/ 768 h 1134"/>
                    <a:gd name="T26" fmla="*/ 232 w 706"/>
                    <a:gd name="T27" fmla="*/ 832 h 1134"/>
                    <a:gd name="T28" fmla="*/ 246 w 706"/>
                    <a:gd name="T29" fmla="*/ 880 h 1134"/>
                    <a:gd name="T30" fmla="*/ 268 w 706"/>
                    <a:gd name="T31" fmla="*/ 914 h 1134"/>
                    <a:gd name="T32" fmla="*/ 300 w 706"/>
                    <a:gd name="T33" fmla="*/ 936 h 1134"/>
                    <a:gd name="T34" fmla="*/ 338 w 706"/>
                    <a:gd name="T35" fmla="*/ 946 h 1134"/>
                    <a:gd name="T36" fmla="*/ 368 w 706"/>
                    <a:gd name="T37" fmla="*/ 946 h 1134"/>
                    <a:gd name="T38" fmla="*/ 408 w 706"/>
                    <a:gd name="T39" fmla="*/ 936 h 1134"/>
                    <a:gd name="T40" fmla="*/ 438 w 706"/>
                    <a:gd name="T41" fmla="*/ 914 h 1134"/>
                    <a:gd name="T42" fmla="*/ 462 w 706"/>
                    <a:gd name="T43" fmla="*/ 880 h 1134"/>
                    <a:gd name="T44" fmla="*/ 474 w 706"/>
                    <a:gd name="T45" fmla="*/ 832 h 1134"/>
                    <a:gd name="T46" fmla="*/ 480 w 706"/>
                    <a:gd name="T47" fmla="*/ 744 h 1134"/>
                    <a:gd name="T48" fmla="*/ 706 w 706"/>
                    <a:gd name="T49" fmla="*/ 786 h 1134"/>
                    <a:gd name="T50" fmla="*/ 686 w 706"/>
                    <a:gd name="T51" fmla="*/ 902 h 1134"/>
                    <a:gd name="T52" fmla="*/ 644 w 706"/>
                    <a:gd name="T53" fmla="*/ 998 h 1134"/>
                    <a:gd name="T54" fmla="*/ 576 w 706"/>
                    <a:gd name="T55" fmla="*/ 1072 h 1134"/>
                    <a:gd name="T56" fmla="*/ 480 w 706"/>
                    <a:gd name="T57" fmla="*/ 1118 h 1134"/>
                    <a:gd name="T58" fmla="*/ 354 w 706"/>
                    <a:gd name="T59" fmla="*/ 1134 h 1134"/>
                    <a:gd name="T60" fmla="*/ 264 w 706"/>
                    <a:gd name="T61" fmla="*/ 1126 h 1134"/>
                    <a:gd name="T62" fmla="*/ 156 w 706"/>
                    <a:gd name="T63" fmla="*/ 1088 h 1134"/>
                    <a:gd name="T64" fmla="*/ 80 w 706"/>
                    <a:gd name="T65" fmla="*/ 1020 h 1134"/>
                    <a:gd name="T66" fmla="*/ 30 w 706"/>
                    <a:gd name="T67" fmla="*/ 928 h 1134"/>
                    <a:gd name="T68" fmla="*/ 6 w 706"/>
                    <a:gd name="T69" fmla="*/ 814 h 1134"/>
                    <a:gd name="T70" fmla="*/ 0 w 706"/>
                    <a:gd name="T71" fmla="*/ 406 h 1134"/>
                    <a:gd name="T72" fmla="*/ 6 w 706"/>
                    <a:gd name="T73" fmla="*/ 320 h 1134"/>
                    <a:gd name="T74" fmla="*/ 30 w 706"/>
                    <a:gd name="T75" fmla="*/ 206 h 1134"/>
                    <a:gd name="T76" fmla="*/ 80 w 706"/>
                    <a:gd name="T77" fmla="*/ 114 h 1134"/>
                    <a:gd name="T78" fmla="*/ 156 w 706"/>
                    <a:gd name="T79" fmla="*/ 46 h 1134"/>
                    <a:gd name="T80" fmla="*/ 264 w 706"/>
                    <a:gd name="T81" fmla="*/ 8 h 1134"/>
                    <a:gd name="T82" fmla="*/ 354 w 706"/>
                    <a:gd name="T83" fmla="*/ 0 h 1134"/>
                    <a:gd name="T84" fmla="*/ 482 w 706"/>
                    <a:gd name="T85" fmla="*/ 18 h 1134"/>
                    <a:gd name="T86" fmla="*/ 580 w 706"/>
                    <a:gd name="T87" fmla="*/ 66 h 1134"/>
                    <a:gd name="T88" fmla="*/ 648 w 706"/>
                    <a:gd name="T89" fmla="*/ 142 h 1134"/>
                    <a:gd name="T90" fmla="*/ 688 w 706"/>
                    <a:gd name="T91" fmla="*/ 242 h 1134"/>
                    <a:gd name="T92" fmla="*/ 706 w 706"/>
                    <a:gd name="T93" fmla="*/ 362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6" h="1134">
                      <a:moveTo>
                        <a:pt x="480" y="424"/>
                      </a:moveTo>
                      <a:lnTo>
                        <a:pt x="480" y="366"/>
                      </a:lnTo>
                      <a:lnTo>
                        <a:pt x="480" y="366"/>
                      </a:lnTo>
                      <a:lnTo>
                        <a:pt x="478" y="322"/>
                      </a:lnTo>
                      <a:lnTo>
                        <a:pt x="474" y="302"/>
                      </a:lnTo>
                      <a:lnTo>
                        <a:pt x="472" y="286"/>
                      </a:lnTo>
                      <a:lnTo>
                        <a:pt x="466" y="268"/>
                      </a:lnTo>
                      <a:lnTo>
                        <a:pt x="462" y="254"/>
                      </a:lnTo>
                      <a:lnTo>
                        <a:pt x="454" y="242"/>
                      </a:lnTo>
                      <a:lnTo>
                        <a:pt x="448" y="230"/>
                      </a:lnTo>
                      <a:lnTo>
                        <a:pt x="438" y="220"/>
                      </a:lnTo>
                      <a:lnTo>
                        <a:pt x="430" y="210"/>
                      </a:lnTo>
                      <a:lnTo>
                        <a:pt x="418" y="204"/>
                      </a:lnTo>
                      <a:lnTo>
                        <a:pt x="408" y="198"/>
                      </a:lnTo>
                      <a:lnTo>
                        <a:pt x="396" y="194"/>
                      </a:lnTo>
                      <a:lnTo>
                        <a:pt x="382" y="190"/>
                      </a:lnTo>
                      <a:lnTo>
                        <a:pt x="368" y="188"/>
                      </a:lnTo>
                      <a:lnTo>
                        <a:pt x="354" y="188"/>
                      </a:lnTo>
                      <a:lnTo>
                        <a:pt x="354" y="188"/>
                      </a:lnTo>
                      <a:lnTo>
                        <a:pt x="338" y="188"/>
                      </a:lnTo>
                      <a:lnTo>
                        <a:pt x="326" y="190"/>
                      </a:lnTo>
                      <a:lnTo>
                        <a:pt x="312" y="194"/>
                      </a:lnTo>
                      <a:lnTo>
                        <a:pt x="300" y="198"/>
                      </a:lnTo>
                      <a:lnTo>
                        <a:pt x="288" y="204"/>
                      </a:lnTo>
                      <a:lnTo>
                        <a:pt x="278" y="210"/>
                      </a:lnTo>
                      <a:lnTo>
                        <a:pt x="268" y="220"/>
                      </a:lnTo>
                      <a:lnTo>
                        <a:pt x="260" y="230"/>
                      </a:lnTo>
                      <a:lnTo>
                        <a:pt x="252" y="242"/>
                      </a:lnTo>
                      <a:lnTo>
                        <a:pt x="246" y="254"/>
                      </a:lnTo>
                      <a:lnTo>
                        <a:pt x="240" y="268"/>
                      </a:lnTo>
                      <a:lnTo>
                        <a:pt x="236" y="286"/>
                      </a:lnTo>
                      <a:lnTo>
                        <a:pt x="232" y="302"/>
                      </a:lnTo>
                      <a:lnTo>
                        <a:pt x="230" y="322"/>
                      </a:lnTo>
                      <a:lnTo>
                        <a:pt x="228" y="366"/>
                      </a:lnTo>
                      <a:lnTo>
                        <a:pt x="228" y="424"/>
                      </a:lnTo>
                      <a:lnTo>
                        <a:pt x="480" y="424"/>
                      </a:lnTo>
                      <a:close/>
                      <a:moveTo>
                        <a:pt x="706" y="610"/>
                      </a:moveTo>
                      <a:lnTo>
                        <a:pt x="228" y="610"/>
                      </a:lnTo>
                      <a:lnTo>
                        <a:pt x="228" y="768"/>
                      </a:lnTo>
                      <a:lnTo>
                        <a:pt x="228" y="768"/>
                      </a:lnTo>
                      <a:lnTo>
                        <a:pt x="230" y="812"/>
                      </a:lnTo>
                      <a:lnTo>
                        <a:pt x="232" y="832"/>
                      </a:lnTo>
                      <a:lnTo>
                        <a:pt x="236" y="850"/>
                      </a:lnTo>
                      <a:lnTo>
                        <a:pt x="240" y="866"/>
                      </a:lnTo>
                      <a:lnTo>
                        <a:pt x="246" y="880"/>
                      </a:lnTo>
                      <a:lnTo>
                        <a:pt x="252" y="894"/>
                      </a:lnTo>
                      <a:lnTo>
                        <a:pt x="260" y="904"/>
                      </a:lnTo>
                      <a:lnTo>
                        <a:pt x="268" y="914"/>
                      </a:lnTo>
                      <a:lnTo>
                        <a:pt x="278" y="924"/>
                      </a:lnTo>
                      <a:lnTo>
                        <a:pt x="288" y="930"/>
                      </a:lnTo>
                      <a:lnTo>
                        <a:pt x="300" y="936"/>
                      </a:lnTo>
                      <a:lnTo>
                        <a:pt x="312" y="942"/>
                      </a:lnTo>
                      <a:lnTo>
                        <a:pt x="326" y="944"/>
                      </a:lnTo>
                      <a:lnTo>
                        <a:pt x="338" y="946"/>
                      </a:lnTo>
                      <a:lnTo>
                        <a:pt x="354" y="946"/>
                      </a:lnTo>
                      <a:lnTo>
                        <a:pt x="354" y="946"/>
                      </a:lnTo>
                      <a:lnTo>
                        <a:pt x="368" y="946"/>
                      </a:lnTo>
                      <a:lnTo>
                        <a:pt x="382" y="944"/>
                      </a:lnTo>
                      <a:lnTo>
                        <a:pt x="396" y="942"/>
                      </a:lnTo>
                      <a:lnTo>
                        <a:pt x="408" y="936"/>
                      </a:lnTo>
                      <a:lnTo>
                        <a:pt x="418" y="930"/>
                      </a:lnTo>
                      <a:lnTo>
                        <a:pt x="430" y="924"/>
                      </a:lnTo>
                      <a:lnTo>
                        <a:pt x="438" y="914"/>
                      </a:lnTo>
                      <a:lnTo>
                        <a:pt x="448" y="904"/>
                      </a:lnTo>
                      <a:lnTo>
                        <a:pt x="454" y="894"/>
                      </a:lnTo>
                      <a:lnTo>
                        <a:pt x="462" y="880"/>
                      </a:lnTo>
                      <a:lnTo>
                        <a:pt x="466" y="866"/>
                      </a:lnTo>
                      <a:lnTo>
                        <a:pt x="472" y="850"/>
                      </a:lnTo>
                      <a:lnTo>
                        <a:pt x="474" y="832"/>
                      </a:lnTo>
                      <a:lnTo>
                        <a:pt x="478" y="812"/>
                      </a:lnTo>
                      <a:lnTo>
                        <a:pt x="480" y="768"/>
                      </a:lnTo>
                      <a:lnTo>
                        <a:pt x="480" y="744"/>
                      </a:lnTo>
                      <a:lnTo>
                        <a:pt x="706" y="744"/>
                      </a:lnTo>
                      <a:lnTo>
                        <a:pt x="706" y="744"/>
                      </a:lnTo>
                      <a:lnTo>
                        <a:pt x="706" y="786"/>
                      </a:lnTo>
                      <a:lnTo>
                        <a:pt x="702" y="826"/>
                      </a:lnTo>
                      <a:lnTo>
                        <a:pt x="694" y="866"/>
                      </a:lnTo>
                      <a:lnTo>
                        <a:pt x="686" y="902"/>
                      </a:lnTo>
                      <a:lnTo>
                        <a:pt x="674" y="936"/>
                      </a:lnTo>
                      <a:lnTo>
                        <a:pt x="660" y="968"/>
                      </a:lnTo>
                      <a:lnTo>
                        <a:pt x="644" y="998"/>
                      </a:lnTo>
                      <a:lnTo>
                        <a:pt x="624" y="1026"/>
                      </a:lnTo>
                      <a:lnTo>
                        <a:pt x="602" y="1050"/>
                      </a:lnTo>
                      <a:lnTo>
                        <a:pt x="576" y="1072"/>
                      </a:lnTo>
                      <a:lnTo>
                        <a:pt x="548" y="1090"/>
                      </a:lnTo>
                      <a:lnTo>
                        <a:pt x="516" y="1106"/>
                      </a:lnTo>
                      <a:lnTo>
                        <a:pt x="480" y="1118"/>
                      </a:lnTo>
                      <a:lnTo>
                        <a:pt x="442" y="1126"/>
                      </a:lnTo>
                      <a:lnTo>
                        <a:pt x="400" y="1132"/>
                      </a:lnTo>
                      <a:lnTo>
                        <a:pt x="354" y="1134"/>
                      </a:lnTo>
                      <a:lnTo>
                        <a:pt x="354" y="1134"/>
                      </a:lnTo>
                      <a:lnTo>
                        <a:pt x="306" y="1132"/>
                      </a:lnTo>
                      <a:lnTo>
                        <a:pt x="264" y="1126"/>
                      </a:lnTo>
                      <a:lnTo>
                        <a:pt x="224" y="1116"/>
                      </a:lnTo>
                      <a:lnTo>
                        <a:pt x="188" y="1104"/>
                      </a:lnTo>
                      <a:lnTo>
                        <a:pt x="156" y="1088"/>
                      </a:lnTo>
                      <a:lnTo>
                        <a:pt x="128" y="1068"/>
                      </a:lnTo>
                      <a:lnTo>
                        <a:pt x="102" y="1046"/>
                      </a:lnTo>
                      <a:lnTo>
                        <a:pt x="80" y="1020"/>
                      </a:lnTo>
                      <a:lnTo>
                        <a:pt x="60" y="992"/>
                      </a:lnTo>
                      <a:lnTo>
                        <a:pt x="44" y="962"/>
                      </a:lnTo>
                      <a:lnTo>
                        <a:pt x="30" y="928"/>
                      </a:lnTo>
                      <a:lnTo>
                        <a:pt x="20" y="892"/>
                      </a:lnTo>
                      <a:lnTo>
                        <a:pt x="10" y="854"/>
                      </a:lnTo>
                      <a:lnTo>
                        <a:pt x="6" y="814"/>
                      </a:lnTo>
                      <a:lnTo>
                        <a:pt x="2" y="772"/>
                      </a:lnTo>
                      <a:lnTo>
                        <a:pt x="0" y="728"/>
                      </a:lnTo>
                      <a:lnTo>
                        <a:pt x="0" y="406"/>
                      </a:lnTo>
                      <a:lnTo>
                        <a:pt x="0" y="406"/>
                      </a:lnTo>
                      <a:lnTo>
                        <a:pt x="2" y="362"/>
                      </a:lnTo>
                      <a:lnTo>
                        <a:pt x="6" y="320"/>
                      </a:lnTo>
                      <a:lnTo>
                        <a:pt x="10" y="280"/>
                      </a:lnTo>
                      <a:lnTo>
                        <a:pt x="20" y="242"/>
                      </a:lnTo>
                      <a:lnTo>
                        <a:pt x="30" y="206"/>
                      </a:lnTo>
                      <a:lnTo>
                        <a:pt x="44" y="174"/>
                      </a:lnTo>
                      <a:lnTo>
                        <a:pt x="60" y="142"/>
                      </a:lnTo>
                      <a:lnTo>
                        <a:pt x="80" y="114"/>
                      </a:lnTo>
                      <a:lnTo>
                        <a:pt x="102" y="88"/>
                      </a:lnTo>
                      <a:lnTo>
                        <a:pt x="128" y="66"/>
                      </a:lnTo>
                      <a:lnTo>
                        <a:pt x="156" y="46"/>
                      </a:lnTo>
                      <a:lnTo>
                        <a:pt x="188" y="30"/>
                      </a:lnTo>
                      <a:lnTo>
                        <a:pt x="224" y="18"/>
                      </a:lnTo>
                      <a:lnTo>
                        <a:pt x="264" y="8"/>
                      </a:lnTo>
                      <a:lnTo>
                        <a:pt x="306" y="2"/>
                      </a:lnTo>
                      <a:lnTo>
                        <a:pt x="354" y="0"/>
                      </a:lnTo>
                      <a:lnTo>
                        <a:pt x="354" y="0"/>
                      </a:lnTo>
                      <a:lnTo>
                        <a:pt x="400" y="2"/>
                      </a:lnTo>
                      <a:lnTo>
                        <a:pt x="444" y="8"/>
                      </a:lnTo>
                      <a:lnTo>
                        <a:pt x="482" y="18"/>
                      </a:lnTo>
                      <a:lnTo>
                        <a:pt x="518" y="30"/>
                      </a:lnTo>
                      <a:lnTo>
                        <a:pt x="550" y="46"/>
                      </a:lnTo>
                      <a:lnTo>
                        <a:pt x="580" y="66"/>
                      </a:lnTo>
                      <a:lnTo>
                        <a:pt x="606" y="88"/>
                      </a:lnTo>
                      <a:lnTo>
                        <a:pt x="628" y="114"/>
                      </a:lnTo>
                      <a:lnTo>
                        <a:pt x="648" y="142"/>
                      </a:lnTo>
                      <a:lnTo>
                        <a:pt x="664" y="174"/>
                      </a:lnTo>
                      <a:lnTo>
                        <a:pt x="678" y="206"/>
                      </a:lnTo>
                      <a:lnTo>
                        <a:pt x="688" y="242"/>
                      </a:lnTo>
                      <a:lnTo>
                        <a:pt x="696" y="280"/>
                      </a:lnTo>
                      <a:lnTo>
                        <a:pt x="702" y="320"/>
                      </a:lnTo>
                      <a:lnTo>
                        <a:pt x="706" y="362"/>
                      </a:lnTo>
                      <a:lnTo>
                        <a:pt x="706" y="406"/>
                      </a:lnTo>
                      <a:lnTo>
                        <a:pt x="706" y="6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2" name="Freeform 14"/>
                <p:cNvSpPr>
                  <a:spLocks/>
                </p:cNvSpPr>
                <p:nvPr/>
              </p:nvSpPr>
              <p:spPr bwMode="auto">
                <a:xfrm>
                  <a:off x="5427663" y="2579688"/>
                  <a:ext cx="1082675" cy="1768475"/>
                </a:xfrm>
                <a:custGeom>
                  <a:avLst/>
                  <a:gdLst>
                    <a:gd name="T0" fmla="*/ 0 w 682"/>
                    <a:gd name="T1" fmla="*/ 1114 h 1114"/>
                    <a:gd name="T2" fmla="*/ 0 w 682"/>
                    <a:gd name="T3" fmla="*/ 22 h 1114"/>
                    <a:gd name="T4" fmla="*/ 216 w 682"/>
                    <a:gd name="T5" fmla="*/ 22 h 1114"/>
                    <a:gd name="T6" fmla="*/ 216 w 682"/>
                    <a:gd name="T7" fmla="*/ 130 h 1114"/>
                    <a:gd name="T8" fmla="*/ 216 w 682"/>
                    <a:gd name="T9" fmla="*/ 130 h 1114"/>
                    <a:gd name="T10" fmla="*/ 280 w 682"/>
                    <a:gd name="T11" fmla="*/ 76 h 1114"/>
                    <a:gd name="T12" fmla="*/ 310 w 682"/>
                    <a:gd name="T13" fmla="*/ 54 h 1114"/>
                    <a:gd name="T14" fmla="*/ 340 w 682"/>
                    <a:gd name="T15" fmla="*/ 36 h 1114"/>
                    <a:gd name="T16" fmla="*/ 372 w 682"/>
                    <a:gd name="T17" fmla="*/ 20 h 1114"/>
                    <a:gd name="T18" fmla="*/ 388 w 682"/>
                    <a:gd name="T19" fmla="*/ 14 h 1114"/>
                    <a:gd name="T20" fmla="*/ 406 w 682"/>
                    <a:gd name="T21" fmla="*/ 10 h 1114"/>
                    <a:gd name="T22" fmla="*/ 426 w 682"/>
                    <a:gd name="T23" fmla="*/ 6 h 1114"/>
                    <a:gd name="T24" fmla="*/ 446 w 682"/>
                    <a:gd name="T25" fmla="*/ 4 h 1114"/>
                    <a:gd name="T26" fmla="*/ 468 w 682"/>
                    <a:gd name="T27" fmla="*/ 2 h 1114"/>
                    <a:gd name="T28" fmla="*/ 492 w 682"/>
                    <a:gd name="T29" fmla="*/ 0 h 1114"/>
                    <a:gd name="T30" fmla="*/ 492 w 682"/>
                    <a:gd name="T31" fmla="*/ 0 h 1114"/>
                    <a:gd name="T32" fmla="*/ 514 w 682"/>
                    <a:gd name="T33" fmla="*/ 2 h 1114"/>
                    <a:gd name="T34" fmla="*/ 534 w 682"/>
                    <a:gd name="T35" fmla="*/ 4 h 1114"/>
                    <a:gd name="T36" fmla="*/ 554 w 682"/>
                    <a:gd name="T37" fmla="*/ 10 h 1114"/>
                    <a:gd name="T38" fmla="*/ 572 w 682"/>
                    <a:gd name="T39" fmla="*/ 16 h 1114"/>
                    <a:gd name="T40" fmla="*/ 588 w 682"/>
                    <a:gd name="T41" fmla="*/ 26 h 1114"/>
                    <a:gd name="T42" fmla="*/ 604 w 682"/>
                    <a:gd name="T43" fmla="*/ 36 h 1114"/>
                    <a:gd name="T44" fmla="*/ 618 w 682"/>
                    <a:gd name="T45" fmla="*/ 48 h 1114"/>
                    <a:gd name="T46" fmla="*/ 632 w 682"/>
                    <a:gd name="T47" fmla="*/ 62 h 1114"/>
                    <a:gd name="T48" fmla="*/ 644 w 682"/>
                    <a:gd name="T49" fmla="*/ 78 h 1114"/>
                    <a:gd name="T50" fmla="*/ 654 w 682"/>
                    <a:gd name="T51" fmla="*/ 96 h 1114"/>
                    <a:gd name="T52" fmla="*/ 662 w 682"/>
                    <a:gd name="T53" fmla="*/ 114 h 1114"/>
                    <a:gd name="T54" fmla="*/ 670 w 682"/>
                    <a:gd name="T55" fmla="*/ 134 h 1114"/>
                    <a:gd name="T56" fmla="*/ 676 w 682"/>
                    <a:gd name="T57" fmla="*/ 156 h 1114"/>
                    <a:gd name="T58" fmla="*/ 680 w 682"/>
                    <a:gd name="T59" fmla="*/ 180 h 1114"/>
                    <a:gd name="T60" fmla="*/ 682 w 682"/>
                    <a:gd name="T61" fmla="*/ 204 h 1114"/>
                    <a:gd name="T62" fmla="*/ 682 w 682"/>
                    <a:gd name="T63" fmla="*/ 230 h 1114"/>
                    <a:gd name="T64" fmla="*/ 682 w 682"/>
                    <a:gd name="T65" fmla="*/ 1114 h 1114"/>
                    <a:gd name="T66" fmla="*/ 456 w 682"/>
                    <a:gd name="T67" fmla="*/ 1114 h 1114"/>
                    <a:gd name="T68" fmla="*/ 456 w 682"/>
                    <a:gd name="T69" fmla="*/ 266 h 1114"/>
                    <a:gd name="T70" fmla="*/ 456 w 682"/>
                    <a:gd name="T71" fmla="*/ 266 h 1114"/>
                    <a:gd name="T72" fmla="*/ 454 w 682"/>
                    <a:gd name="T73" fmla="*/ 248 h 1114"/>
                    <a:gd name="T74" fmla="*/ 450 w 682"/>
                    <a:gd name="T75" fmla="*/ 232 h 1114"/>
                    <a:gd name="T76" fmla="*/ 442 w 682"/>
                    <a:gd name="T77" fmla="*/ 218 h 1114"/>
                    <a:gd name="T78" fmla="*/ 432 w 682"/>
                    <a:gd name="T79" fmla="*/ 206 h 1114"/>
                    <a:gd name="T80" fmla="*/ 420 w 682"/>
                    <a:gd name="T81" fmla="*/ 198 h 1114"/>
                    <a:gd name="T82" fmla="*/ 408 w 682"/>
                    <a:gd name="T83" fmla="*/ 192 h 1114"/>
                    <a:gd name="T84" fmla="*/ 392 w 682"/>
                    <a:gd name="T85" fmla="*/ 188 h 1114"/>
                    <a:gd name="T86" fmla="*/ 374 w 682"/>
                    <a:gd name="T87" fmla="*/ 188 h 1114"/>
                    <a:gd name="T88" fmla="*/ 374 w 682"/>
                    <a:gd name="T89" fmla="*/ 188 h 1114"/>
                    <a:gd name="T90" fmla="*/ 356 w 682"/>
                    <a:gd name="T91" fmla="*/ 188 h 1114"/>
                    <a:gd name="T92" fmla="*/ 338 w 682"/>
                    <a:gd name="T93" fmla="*/ 192 h 1114"/>
                    <a:gd name="T94" fmla="*/ 320 w 682"/>
                    <a:gd name="T95" fmla="*/ 200 h 1114"/>
                    <a:gd name="T96" fmla="*/ 302 w 682"/>
                    <a:gd name="T97" fmla="*/ 208 h 1114"/>
                    <a:gd name="T98" fmla="*/ 284 w 682"/>
                    <a:gd name="T99" fmla="*/ 218 h 1114"/>
                    <a:gd name="T100" fmla="*/ 266 w 682"/>
                    <a:gd name="T101" fmla="*/ 230 h 1114"/>
                    <a:gd name="T102" fmla="*/ 228 w 682"/>
                    <a:gd name="T103" fmla="*/ 256 h 1114"/>
                    <a:gd name="T104" fmla="*/ 228 w 682"/>
                    <a:gd name="T105" fmla="*/ 1114 h 1114"/>
                    <a:gd name="T106" fmla="*/ 0 w 682"/>
                    <a:gd name="T107" fmla="*/ 111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2" h="1114">
                      <a:moveTo>
                        <a:pt x="0" y="1114"/>
                      </a:moveTo>
                      <a:lnTo>
                        <a:pt x="0" y="22"/>
                      </a:lnTo>
                      <a:lnTo>
                        <a:pt x="216" y="22"/>
                      </a:lnTo>
                      <a:lnTo>
                        <a:pt x="216" y="130"/>
                      </a:lnTo>
                      <a:lnTo>
                        <a:pt x="216" y="130"/>
                      </a:lnTo>
                      <a:lnTo>
                        <a:pt x="280" y="76"/>
                      </a:lnTo>
                      <a:lnTo>
                        <a:pt x="310" y="54"/>
                      </a:lnTo>
                      <a:lnTo>
                        <a:pt x="340" y="36"/>
                      </a:lnTo>
                      <a:lnTo>
                        <a:pt x="372" y="20"/>
                      </a:lnTo>
                      <a:lnTo>
                        <a:pt x="388" y="14"/>
                      </a:lnTo>
                      <a:lnTo>
                        <a:pt x="406" y="10"/>
                      </a:lnTo>
                      <a:lnTo>
                        <a:pt x="426" y="6"/>
                      </a:lnTo>
                      <a:lnTo>
                        <a:pt x="446" y="4"/>
                      </a:lnTo>
                      <a:lnTo>
                        <a:pt x="468" y="2"/>
                      </a:lnTo>
                      <a:lnTo>
                        <a:pt x="492" y="0"/>
                      </a:lnTo>
                      <a:lnTo>
                        <a:pt x="492" y="0"/>
                      </a:lnTo>
                      <a:lnTo>
                        <a:pt x="514" y="2"/>
                      </a:lnTo>
                      <a:lnTo>
                        <a:pt x="534" y="4"/>
                      </a:lnTo>
                      <a:lnTo>
                        <a:pt x="554" y="10"/>
                      </a:lnTo>
                      <a:lnTo>
                        <a:pt x="572" y="16"/>
                      </a:lnTo>
                      <a:lnTo>
                        <a:pt x="588" y="26"/>
                      </a:lnTo>
                      <a:lnTo>
                        <a:pt x="604" y="36"/>
                      </a:lnTo>
                      <a:lnTo>
                        <a:pt x="618" y="48"/>
                      </a:lnTo>
                      <a:lnTo>
                        <a:pt x="632" y="62"/>
                      </a:lnTo>
                      <a:lnTo>
                        <a:pt x="644" y="78"/>
                      </a:lnTo>
                      <a:lnTo>
                        <a:pt x="654" y="96"/>
                      </a:lnTo>
                      <a:lnTo>
                        <a:pt x="662" y="114"/>
                      </a:lnTo>
                      <a:lnTo>
                        <a:pt x="670" y="134"/>
                      </a:lnTo>
                      <a:lnTo>
                        <a:pt x="676" y="156"/>
                      </a:lnTo>
                      <a:lnTo>
                        <a:pt x="680" y="180"/>
                      </a:lnTo>
                      <a:lnTo>
                        <a:pt x="682" y="204"/>
                      </a:lnTo>
                      <a:lnTo>
                        <a:pt x="682" y="230"/>
                      </a:lnTo>
                      <a:lnTo>
                        <a:pt x="682" y="1114"/>
                      </a:lnTo>
                      <a:lnTo>
                        <a:pt x="456" y="1114"/>
                      </a:lnTo>
                      <a:lnTo>
                        <a:pt x="456" y="266"/>
                      </a:lnTo>
                      <a:lnTo>
                        <a:pt x="456" y="266"/>
                      </a:lnTo>
                      <a:lnTo>
                        <a:pt x="454" y="248"/>
                      </a:lnTo>
                      <a:lnTo>
                        <a:pt x="450" y="232"/>
                      </a:lnTo>
                      <a:lnTo>
                        <a:pt x="442" y="218"/>
                      </a:lnTo>
                      <a:lnTo>
                        <a:pt x="432" y="206"/>
                      </a:lnTo>
                      <a:lnTo>
                        <a:pt x="420" y="198"/>
                      </a:lnTo>
                      <a:lnTo>
                        <a:pt x="408" y="192"/>
                      </a:lnTo>
                      <a:lnTo>
                        <a:pt x="392" y="188"/>
                      </a:lnTo>
                      <a:lnTo>
                        <a:pt x="374" y="188"/>
                      </a:lnTo>
                      <a:lnTo>
                        <a:pt x="374" y="188"/>
                      </a:lnTo>
                      <a:lnTo>
                        <a:pt x="356" y="188"/>
                      </a:lnTo>
                      <a:lnTo>
                        <a:pt x="338" y="192"/>
                      </a:lnTo>
                      <a:lnTo>
                        <a:pt x="320" y="200"/>
                      </a:lnTo>
                      <a:lnTo>
                        <a:pt x="302" y="208"/>
                      </a:lnTo>
                      <a:lnTo>
                        <a:pt x="284" y="218"/>
                      </a:lnTo>
                      <a:lnTo>
                        <a:pt x="266" y="230"/>
                      </a:lnTo>
                      <a:lnTo>
                        <a:pt x="228" y="256"/>
                      </a:lnTo>
                      <a:lnTo>
                        <a:pt x="228" y="1114"/>
                      </a:lnTo>
                      <a:lnTo>
                        <a:pt x="0" y="1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3" name="Freeform 16"/>
                <p:cNvSpPr>
                  <a:spLocks noEditPoints="1"/>
                </p:cNvSpPr>
                <p:nvPr/>
              </p:nvSpPr>
              <p:spPr bwMode="auto">
                <a:xfrm>
                  <a:off x="6780213" y="2020888"/>
                  <a:ext cx="1225550" cy="2327275"/>
                </a:xfrm>
                <a:custGeom>
                  <a:avLst/>
                  <a:gdLst>
                    <a:gd name="T0" fmla="*/ 340 w 772"/>
                    <a:gd name="T1" fmla="*/ 1258 h 1466"/>
                    <a:gd name="T2" fmla="*/ 364 w 772"/>
                    <a:gd name="T3" fmla="*/ 1258 h 1466"/>
                    <a:gd name="T4" fmla="*/ 406 w 772"/>
                    <a:gd name="T5" fmla="*/ 1252 h 1466"/>
                    <a:gd name="T6" fmla="*/ 440 w 772"/>
                    <a:gd name="T7" fmla="*/ 1242 h 1466"/>
                    <a:gd name="T8" fmla="*/ 468 w 772"/>
                    <a:gd name="T9" fmla="*/ 1224 h 1466"/>
                    <a:gd name="T10" fmla="*/ 490 w 772"/>
                    <a:gd name="T11" fmla="*/ 1200 h 1466"/>
                    <a:gd name="T12" fmla="*/ 504 w 772"/>
                    <a:gd name="T13" fmla="*/ 1170 h 1466"/>
                    <a:gd name="T14" fmla="*/ 514 w 772"/>
                    <a:gd name="T15" fmla="*/ 1130 h 1466"/>
                    <a:gd name="T16" fmla="*/ 520 w 772"/>
                    <a:gd name="T17" fmla="*/ 1080 h 1466"/>
                    <a:gd name="T18" fmla="*/ 520 w 772"/>
                    <a:gd name="T19" fmla="*/ 412 h 1466"/>
                    <a:gd name="T20" fmla="*/ 520 w 772"/>
                    <a:gd name="T21" fmla="*/ 384 h 1466"/>
                    <a:gd name="T22" fmla="*/ 514 w 772"/>
                    <a:gd name="T23" fmla="*/ 336 h 1466"/>
                    <a:gd name="T24" fmla="*/ 504 w 772"/>
                    <a:gd name="T25" fmla="*/ 296 h 1466"/>
                    <a:gd name="T26" fmla="*/ 490 w 772"/>
                    <a:gd name="T27" fmla="*/ 264 h 1466"/>
                    <a:gd name="T28" fmla="*/ 468 w 772"/>
                    <a:gd name="T29" fmla="*/ 240 h 1466"/>
                    <a:gd name="T30" fmla="*/ 440 w 772"/>
                    <a:gd name="T31" fmla="*/ 224 h 1466"/>
                    <a:gd name="T32" fmla="*/ 406 w 772"/>
                    <a:gd name="T33" fmla="*/ 212 h 1466"/>
                    <a:gd name="T34" fmla="*/ 364 w 772"/>
                    <a:gd name="T35" fmla="*/ 208 h 1466"/>
                    <a:gd name="T36" fmla="*/ 252 w 772"/>
                    <a:gd name="T37" fmla="*/ 206 h 1466"/>
                    <a:gd name="T38" fmla="*/ 0 w 772"/>
                    <a:gd name="T39" fmla="*/ 0 h 1466"/>
                    <a:gd name="T40" fmla="*/ 374 w 772"/>
                    <a:gd name="T41" fmla="*/ 0 h 1466"/>
                    <a:gd name="T42" fmla="*/ 466 w 772"/>
                    <a:gd name="T43" fmla="*/ 6 h 1466"/>
                    <a:gd name="T44" fmla="*/ 546 w 772"/>
                    <a:gd name="T45" fmla="*/ 26 h 1466"/>
                    <a:gd name="T46" fmla="*/ 614 w 772"/>
                    <a:gd name="T47" fmla="*/ 60 h 1466"/>
                    <a:gd name="T48" fmla="*/ 670 w 772"/>
                    <a:gd name="T49" fmla="*/ 108 h 1466"/>
                    <a:gd name="T50" fmla="*/ 714 w 772"/>
                    <a:gd name="T51" fmla="*/ 170 h 1466"/>
                    <a:gd name="T52" fmla="*/ 746 w 772"/>
                    <a:gd name="T53" fmla="*/ 246 h 1466"/>
                    <a:gd name="T54" fmla="*/ 766 w 772"/>
                    <a:gd name="T55" fmla="*/ 336 h 1466"/>
                    <a:gd name="T56" fmla="*/ 772 w 772"/>
                    <a:gd name="T57" fmla="*/ 442 h 1466"/>
                    <a:gd name="T58" fmla="*/ 772 w 772"/>
                    <a:gd name="T59" fmla="*/ 1022 h 1466"/>
                    <a:gd name="T60" fmla="*/ 766 w 772"/>
                    <a:gd name="T61" fmla="*/ 1128 h 1466"/>
                    <a:gd name="T62" fmla="*/ 746 w 772"/>
                    <a:gd name="T63" fmla="*/ 1218 h 1466"/>
                    <a:gd name="T64" fmla="*/ 714 w 772"/>
                    <a:gd name="T65" fmla="*/ 1294 h 1466"/>
                    <a:gd name="T66" fmla="*/ 670 w 772"/>
                    <a:gd name="T67" fmla="*/ 1356 h 1466"/>
                    <a:gd name="T68" fmla="*/ 614 w 772"/>
                    <a:gd name="T69" fmla="*/ 1404 h 1466"/>
                    <a:gd name="T70" fmla="*/ 546 w 772"/>
                    <a:gd name="T71" fmla="*/ 1438 h 1466"/>
                    <a:gd name="T72" fmla="*/ 466 w 772"/>
                    <a:gd name="T73" fmla="*/ 1458 h 1466"/>
                    <a:gd name="T74" fmla="*/ 374 w 772"/>
                    <a:gd name="T75" fmla="*/ 1466 h 1466"/>
                    <a:gd name="T76" fmla="*/ 0 w 772"/>
                    <a:gd name="T77" fmla="*/ 0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2" h="1466">
                      <a:moveTo>
                        <a:pt x="252" y="1258"/>
                      </a:moveTo>
                      <a:lnTo>
                        <a:pt x="340" y="1258"/>
                      </a:lnTo>
                      <a:lnTo>
                        <a:pt x="340" y="1258"/>
                      </a:lnTo>
                      <a:lnTo>
                        <a:pt x="364" y="1258"/>
                      </a:lnTo>
                      <a:lnTo>
                        <a:pt x="386" y="1256"/>
                      </a:lnTo>
                      <a:lnTo>
                        <a:pt x="406" y="1252"/>
                      </a:lnTo>
                      <a:lnTo>
                        <a:pt x="424" y="1248"/>
                      </a:lnTo>
                      <a:lnTo>
                        <a:pt x="440" y="1242"/>
                      </a:lnTo>
                      <a:lnTo>
                        <a:pt x="456" y="1234"/>
                      </a:lnTo>
                      <a:lnTo>
                        <a:pt x="468" y="1224"/>
                      </a:lnTo>
                      <a:lnTo>
                        <a:pt x="480" y="1214"/>
                      </a:lnTo>
                      <a:lnTo>
                        <a:pt x="490" y="1200"/>
                      </a:lnTo>
                      <a:lnTo>
                        <a:pt x="498" y="1186"/>
                      </a:lnTo>
                      <a:lnTo>
                        <a:pt x="504" y="1170"/>
                      </a:lnTo>
                      <a:lnTo>
                        <a:pt x="510" y="1150"/>
                      </a:lnTo>
                      <a:lnTo>
                        <a:pt x="514" y="1130"/>
                      </a:lnTo>
                      <a:lnTo>
                        <a:pt x="518" y="1106"/>
                      </a:lnTo>
                      <a:lnTo>
                        <a:pt x="520" y="1080"/>
                      </a:lnTo>
                      <a:lnTo>
                        <a:pt x="520" y="1054"/>
                      </a:lnTo>
                      <a:lnTo>
                        <a:pt x="520" y="412"/>
                      </a:lnTo>
                      <a:lnTo>
                        <a:pt x="520" y="412"/>
                      </a:lnTo>
                      <a:lnTo>
                        <a:pt x="520" y="384"/>
                      </a:lnTo>
                      <a:lnTo>
                        <a:pt x="518" y="358"/>
                      </a:lnTo>
                      <a:lnTo>
                        <a:pt x="514" y="336"/>
                      </a:lnTo>
                      <a:lnTo>
                        <a:pt x="510" y="314"/>
                      </a:lnTo>
                      <a:lnTo>
                        <a:pt x="504" y="296"/>
                      </a:lnTo>
                      <a:lnTo>
                        <a:pt x="498" y="278"/>
                      </a:lnTo>
                      <a:lnTo>
                        <a:pt x="490" y="264"/>
                      </a:lnTo>
                      <a:lnTo>
                        <a:pt x="480" y="252"/>
                      </a:lnTo>
                      <a:lnTo>
                        <a:pt x="468" y="240"/>
                      </a:lnTo>
                      <a:lnTo>
                        <a:pt x="456" y="230"/>
                      </a:lnTo>
                      <a:lnTo>
                        <a:pt x="440" y="224"/>
                      </a:lnTo>
                      <a:lnTo>
                        <a:pt x="424" y="216"/>
                      </a:lnTo>
                      <a:lnTo>
                        <a:pt x="406" y="212"/>
                      </a:lnTo>
                      <a:lnTo>
                        <a:pt x="386" y="210"/>
                      </a:lnTo>
                      <a:lnTo>
                        <a:pt x="364" y="208"/>
                      </a:lnTo>
                      <a:lnTo>
                        <a:pt x="340" y="206"/>
                      </a:lnTo>
                      <a:lnTo>
                        <a:pt x="252" y="206"/>
                      </a:lnTo>
                      <a:lnTo>
                        <a:pt x="252" y="1258"/>
                      </a:lnTo>
                      <a:close/>
                      <a:moveTo>
                        <a:pt x="0" y="0"/>
                      </a:moveTo>
                      <a:lnTo>
                        <a:pt x="374" y="0"/>
                      </a:lnTo>
                      <a:lnTo>
                        <a:pt x="374" y="0"/>
                      </a:lnTo>
                      <a:lnTo>
                        <a:pt x="420" y="2"/>
                      </a:lnTo>
                      <a:lnTo>
                        <a:pt x="466" y="6"/>
                      </a:lnTo>
                      <a:lnTo>
                        <a:pt x="506" y="14"/>
                      </a:lnTo>
                      <a:lnTo>
                        <a:pt x="546" y="26"/>
                      </a:lnTo>
                      <a:lnTo>
                        <a:pt x="582" y="42"/>
                      </a:lnTo>
                      <a:lnTo>
                        <a:pt x="614" y="60"/>
                      </a:lnTo>
                      <a:lnTo>
                        <a:pt x="644" y="82"/>
                      </a:lnTo>
                      <a:lnTo>
                        <a:pt x="670" y="108"/>
                      </a:lnTo>
                      <a:lnTo>
                        <a:pt x="694" y="138"/>
                      </a:lnTo>
                      <a:lnTo>
                        <a:pt x="714" y="170"/>
                      </a:lnTo>
                      <a:lnTo>
                        <a:pt x="732" y="206"/>
                      </a:lnTo>
                      <a:lnTo>
                        <a:pt x="746" y="246"/>
                      </a:lnTo>
                      <a:lnTo>
                        <a:pt x="758" y="290"/>
                      </a:lnTo>
                      <a:lnTo>
                        <a:pt x="766" y="336"/>
                      </a:lnTo>
                      <a:lnTo>
                        <a:pt x="770" y="388"/>
                      </a:lnTo>
                      <a:lnTo>
                        <a:pt x="772" y="442"/>
                      </a:lnTo>
                      <a:lnTo>
                        <a:pt x="772" y="1022"/>
                      </a:lnTo>
                      <a:lnTo>
                        <a:pt x="772" y="1022"/>
                      </a:lnTo>
                      <a:lnTo>
                        <a:pt x="770" y="1078"/>
                      </a:lnTo>
                      <a:lnTo>
                        <a:pt x="766" y="1128"/>
                      </a:lnTo>
                      <a:lnTo>
                        <a:pt x="758" y="1176"/>
                      </a:lnTo>
                      <a:lnTo>
                        <a:pt x="746" y="1218"/>
                      </a:lnTo>
                      <a:lnTo>
                        <a:pt x="732" y="1258"/>
                      </a:lnTo>
                      <a:lnTo>
                        <a:pt x="714" y="1294"/>
                      </a:lnTo>
                      <a:lnTo>
                        <a:pt x="694" y="1328"/>
                      </a:lnTo>
                      <a:lnTo>
                        <a:pt x="670" y="1356"/>
                      </a:lnTo>
                      <a:lnTo>
                        <a:pt x="644" y="1382"/>
                      </a:lnTo>
                      <a:lnTo>
                        <a:pt x="614" y="1404"/>
                      </a:lnTo>
                      <a:lnTo>
                        <a:pt x="582" y="1424"/>
                      </a:lnTo>
                      <a:lnTo>
                        <a:pt x="546" y="1438"/>
                      </a:lnTo>
                      <a:lnTo>
                        <a:pt x="506" y="1450"/>
                      </a:lnTo>
                      <a:lnTo>
                        <a:pt x="466" y="1458"/>
                      </a:lnTo>
                      <a:lnTo>
                        <a:pt x="420" y="1464"/>
                      </a:lnTo>
                      <a:lnTo>
                        <a:pt x="374" y="1466"/>
                      </a:lnTo>
                      <a:lnTo>
                        <a:pt x="0" y="146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4" name="Freeform 19"/>
                <p:cNvSpPr>
                  <a:spLocks/>
                </p:cNvSpPr>
                <p:nvPr/>
              </p:nvSpPr>
              <p:spPr bwMode="auto">
                <a:xfrm>
                  <a:off x="8266113" y="2020888"/>
                  <a:ext cx="1223963" cy="2327275"/>
                </a:xfrm>
                <a:custGeom>
                  <a:avLst/>
                  <a:gdLst>
                    <a:gd name="T0" fmla="*/ 0 w 771"/>
                    <a:gd name="T1" fmla="*/ 1466 h 1466"/>
                    <a:gd name="T2" fmla="*/ 0 w 771"/>
                    <a:gd name="T3" fmla="*/ 0 h 1466"/>
                    <a:gd name="T4" fmla="*/ 233 w 771"/>
                    <a:gd name="T5" fmla="*/ 0 h 1466"/>
                    <a:gd name="T6" fmla="*/ 541 w 771"/>
                    <a:gd name="T7" fmla="*/ 838 h 1466"/>
                    <a:gd name="T8" fmla="*/ 545 w 771"/>
                    <a:gd name="T9" fmla="*/ 838 h 1466"/>
                    <a:gd name="T10" fmla="*/ 545 w 771"/>
                    <a:gd name="T11" fmla="*/ 0 h 1466"/>
                    <a:gd name="T12" fmla="*/ 771 w 771"/>
                    <a:gd name="T13" fmla="*/ 0 h 1466"/>
                    <a:gd name="T14" fmla="*/ 771 w 771"/>
                    <a:gd name="T15" fmla="*/ 1466 h 1466"/>
                    <a:gd name="T16" fmla="*/ 553 w 771"/>
                    <a:gd name="T17" fmla="*/ 1466 h 1466"/>
                    <a:gd name="T18" fmla="*/ 231 w 771"/>
                    <a:gd name="T19" fmla="*/ 550 h 1466"/>
                    <a:gd name="T20" fmla="*/ 227 w 771"/>
                    <a:gd name="T21" fmla="*/ 550 h 1466"/>
                    <a:gd name="T22" fmla="*/ 227 w 771"/>
                    <a:gd name="T23" fmla="*/ 1466 h 1466"/>
                    <a:gd name="T24" fmla="*/ 0 w 771"/>
                    <a:gd name="T25" fmla="*/ 146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1" h="1466">
                      <a:moveTo>
                        <a:pt x="0" y="1466"/>
                      </a:moveTo>
                      <a:lnTo>
                        <a:pt x="0" y="0"/>
                      </a:lnTo>
                      <a:lnTo>
                        <a:pt x="233" y="0"/>
                      </a:lnTo>
                      <a:lnTo>
                        <a:pt x="541" y="838"/>
                      </a:lnTo>
                      <a:lnTo>
                        <a:pt x="545" y="838"/>
                      </a:lnTo>
                      <a:lnTo>
                        <a:pt x="545" y="0"/>
                      </a:lnTo>
                      <a:lnTo>
                        <a:pt x="771" y="0"/>
                      </a:lnTo>
                      <a:lnTo>
                        <a:pt x="771" y="1466"/>
                      </a:lnTo>
                      <a:lnTo>
                        <a:pt x="553" y="1466"/>
                      </a:lnTo>
                      <a:lnTo>
                        <a:pt x="231" y="550"/>
                      </a:lnTo>
                      <a:lnTo>
                        <a:pt x="227" y="550"/>
                      </a:lnTo>
                      <a:lnTo>
                        <a:pt x="227" y="1466"/>
                      </a:lnTo>
                      <a:lnTo>
                        <a:pt x="0" y="14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sp>
              <p:nvSpPr>
                <p:cNvPr id="45" name="Freeform 21"/>
                <p:cNvSpPr>
                  <a:spLocks/>
                </p:cNvSpPr>
                <p:nvPr/>
              </p:nvSpPr>
              <p:spPr bwMode="auto">
                <a:xfrm>
                  <a:off x="9718675" y="1963738"/>
                  <a:ext cx="1231900" cy="2390775"/>
                </a:xfrm>
                <a:custGeom>
                  <a:avLst/>
                  <a:gdLst>
                    <a:gd name="T0" fmla="*/ 522 w 776"/>
                    <a:gd name="T1" fmla="*/ 360 h 1506"/>
                    <a:gd name="T2" fmla="*/ 508 w 776"/>
                    <a:gd name="T3" fmla="*/ 304 h 1506"/>
                    <a:gd name="T4" fmla="*/ 484 w 776"/>
                    <a:gd name="T5" fmla="*/ 264 h 1506"/>
                    <a:gd name="T6" fmla="*/ 456 w 776"/>
                    <a:gd name="T7" fmla="*/ 238 h 1506"/>
                    <a:gd name="T8" fmla="*/ 412 w 776"/>
                    <a:gd name="T9" fmla="*/ 222 h 1506"/>
                    <a:gd name="T10" fmla="*/ 376 w 776"/>
                    <a:gd name="T11" fmla="*/ 220 h 1506"/>
                    <a:gd name="T12" fmla="*/ 336 w 776"/>
                    <a:gd name="T13" fmla="*/ 230 h 1506"/>
                    <a:gd name="T14" fmla="*/ 306 w 776"/>
                    <a:gd name="T15" fmla="*/ 248 h 1506"/>
                    <a:gd name="T16" fmla="*/ 282 w 776"/>
                    <a:gd name="T17" fmla="*/ 278 h 1506"/>
                    <a:gd name="T18" fmla="*/ 266 w 776"/>
                    <a:gd name="T19" fmla="*/ 332 h 1506"/>
                    <a:gd name="T20" fmla="*/ 266 w 776"/>
                    <a:gd name="T21" fmla="*/ 386 h 1506"/>
                    <a:gd name="T22" fmla="*/ 286 w 776"/>
                    <a:gd name="T23" fmla="*/ 452 h 1506"/>
                    <a:gd name="T24" fmla="*/ 328 w 776"/>
                    <a:gd name="T25" fmla="*/ 514 h 1506"/>
                    <a:gd name="T26" fmla="*/ 426 w 776"/>
                    <a:gd name="T27" fmla="*/ 612 h 1506"/>
                    <a:gd name="T28" fmla="*/ 614 w 776"/>
                    <a:gd name="T29" fmla="*/ 780 h 1506"/>
                    <a:gd name="T30" fmla="*/ 678 w 776"/>
                    <a:gd name="T31" fmla="*/ 852 h 1506"/>
                    <a:gd name="T32" fmla="*/ 728 w 776"/>
                    <a:gd name="T33" fmla="*/ 934 h 1506"/>
                    <a:gd name="T34" fmla="*/ 764 w 776"/>
                    <a:gd name="T35" fmla="*/ 1026 h 1506"/>
                    <a:gd name="T36" fmla="*/ 776 w 776"/>
                    <a:gd name="T37" fmla="*/ 1130 h 1506"/>
                    <a:gd name="T38" fmla="*/ 768 w 776"/>
                    <a:gd name="T39" fmla="*/ 1216 h 1506"/>
                    <a:gd name="T40" fmla="*/ 732 w 776"/>
                    <a:gd name="T41" fmla="*/ 1326 h 1506"/>
                    <a:gd name="T42" fmla="*/ 666 w 776"/>
                    <a:gd name="T43" fmla="*/ 1410 h 1506"/>
                    <a:gd name="T44" fmla="*/ 574 w 776"/>
                    <a:gd name="T45" fmla="*/ 1468 h 1506"/>
                    <a:gd name="T46" fmla="*/ 462 w 776"/>
                    <a:gd name="T47" fmla="*/ 1500 h 1506"/>
                    <a:gd name="T48" fmla="*/ 378 w 776"/>
                    <a:gd name="T49" fmla="*/ 1506 h 1506"/>
                    <a:gd name="T50" fmla="*/ 258 w 776"/>
                    <a:gd name="T51" fmla="*/ 1488 h 1506"/>
                    <a:gd name="T52" fmla="*/ 158 w 776"/>
                    <a:gd name="T53" fmla="*/ 1436 h 1506"/>
                    <a:gd name="T54" fmla="*/ 84 w 776"/>
                    <a:gd name="T55" fmla="*/ 1356 h 1506"/>
                    <a:gd name="T56" fmla="*/ 32 w 776"/>
                    <a:gd name="T57" fmla="*/ 1256 h 1506"/>
                    <a:gd name="T58" fmla="*/ 4 w 776"/>
                    <a:gd name="T59" fmla="*/ 1142 h 1506"/>
                    <a:gd name="T60" fmla="*/ 240 w 776"/>
                    <a:gd name="T61" fmla="*/ 1066 h 1506"/>
                    <a:gd name="T62" fmla="*/ 250 w 776"/>
                    <a:gd name="T63" fmla="*/ 1142 h 1506"/>
                    <a:gd name="T64" fmla="*/ 270 w 776"/>
                    <a:gd name="T65" fmla="*/ 1202 h 1506"/>
                    <a:gd name="T66" fmla="*/ 298 w 776"/>
                    <a:gd name="T67" fmla="*/ 1246 h 1506"/>
                    <a:gd name="T68" fmla="*/ 334 w 776"/>
                    <a:gd name="T69" fmla="*/ 1274 h 1506"/>
                    <a:gd name="T70" fmla="*/ 376 w 776"/>
                    <a:gd name="T71" fmla="*/ 1286 h 1506"/>
                    <a:gd name="T72" fmla="*/ 422 w 776"/>
                    <a:gd name="T73" fmla="*/ 1286 h 1506"/>
                    <a:gd name="T74" fmla="*/ 464 w 776"/>
                    <a:gd name="T75" fmla="*/ 1274 h 1506"/>
                    <a:gd name="T76" fmla="*/ 496 w 776"/>
                    <a:gd name="T77" fmla="*/ 1254 h 1506"/>
                    <a:gd name="T78" fmla="*/ 520 w 776"/>
                    <a:gd name="T79" fmla="*/ 1224 h 1506"/>
                    <a:gd name="T80" fmla="*/ 534 w 776"/>
                    <a:gd name="T81" fmla="*/ 1184 h 1506"/>
                    <a:gd name="T82" fmla="*/ 536 w 776"/>
                    <a:gd name="T83" fmla="*/ 1154 h 1506"/>
                    <a:gd name="T84" fmla="*/ 524 w 776"/>
                    <a:gd name="T85" fmla="*/ 1076 h 1506"/>
                    <a:gd name="T86" fmla="*/ 490 w 776"/>
                    <a:gd name="T87" fmla="*/ 1008 h 1506"/>
                    <a:gd name="T88" fmla="*/ 438 w 776"/>
                    <a:gd name="T89" fmla="*/ 946 h 1506"/>
                    <a:gd name="T90" fmla="*/ 280 w 776"/>
                    <a:gd name="T91" fmla="*/ 808 h 1506"/>
                    <a:gd name="T92" fmla="*/ 164 w 776"/>
                    <a:gd name="T93" fmla="*/ 700 h 1506"/>
                    <a:gd name="T94" fmla="*/ 104 w 776"/>
                    <a:gd name="T95" fmla="*/ 626 h 1506"/>
                    <a:gd name="T96" fmla="*/ 58 w 776"/>
                    <a:gd name="T97" fmla="*/ 540 h 1506"/>
                    <a:gd name="T98" fmla="*/ 30 w 776"/>
                    <a:gd name="T99" fmla="*/ 440 h 1506"/>
                    <a:gd name="T100" fmla="*/ 24 w 776"/>
                    <a:gd name="T101" fmla="*/ 366 h 1506"/>
                    <a:gd name="T102" fmla="*/ 40 w 776"/>
                    <a:gd name="T103" fmla="*/ 246 h 1506"/>
                    <a:gd name="T104" fmla="*/ 84 w 776"/>
                    <a:gd name="T105" fmla="*/ 148 h 1506"/>
                    <a:gd name="T106" fmla="*/ 154 w 776"/>
                    <a:gd name="T107" fmla="*/ 74 h 1506"/>
                    <a:gd name="T108" fmla="*/ 250 w 776"/>
                    <a:gd name="T109" fmla="*/ 24 h 1506"/>
                    <a:gd name="T110" fmla="*/ 370 w 776"/>
                    <a:gd name="T111" fmla="*/ 2 h 1506"/>
                    <a:gd name="T112" fmla="*/ 452 w 776"/>
                    <a:gd name="T113" fmla="*/ 2 h 1506"/>
                    <a:gd name="T114" fmla="*/ 552 w 776"/>
                    <a:gd name="T115" fmla="*/ 26 h 1506"/>
                    <a:gd name="T116" fmla="*/ 634 w 776"/>
                    <a:gd name="T117" fmla="*/ 78 h 1506"/>
                    <a:gd name="T118" fmla="*/ 698 w 776"/>
                    <a:gd name="T119" fmla="*/ 152 h 1506"/>
                    <a:gd name="T120" fmla="*/ 742 w 776"/>
                    <a:gd name="T121" fmla="*/ 246 h 1506"/>
                    <a:gd name="T122" fmla="*/ 764 w 776"/>
                    <a:gd name="T123" fmla="*/ 35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6" h="1506">
                      <a:moveTo>
                        <a:pt x="524" y="382"/>
                      </a:moveTo>
                      <a:lnTo>
                        <a:pt x="524" y="382"/>
                      </a:lnTo>
                      <a:lnTo>
                        <a:pt x="522" y="360"/>
                      </a:lnTo>
                      <a:lnTo>
                        <a:pt x="518" y="338"/>
                      </a:lnTo>
                      <a:lnTo>
                        <a:pt x="514" y="320"/>
                      </a:lnTo>
                      <a:lnTo>
                        <a:pt x="508" y="304"/>
                      </a:lnTo>
                      <a:lnTo>
                        <a:pt x="500" y="288"/>
                      </a:lnTo>
                      <a:lnTo>
                        <a:pt x="492" y="276"/>
                      </a:lnTo>
                      <a:lnTo>
                        <a:pt x="484" y="264"/>
                      </a:lnTo>
                      <a:lnTo>
                        <a:pt x="474" y="254"/>
                      </a:lnTo>
                      <a:lnTo>
                        <a:pt x="466" y="244"/>
                      </a:lnTo>
                      <a:lnTo>
                        <a:pt x="456" y="238"/>
                      </a:lnTo>
                      <a:lnTo>
                        <a:pt x="444" y="232"/>
                      </a:lnTo>
                      <a:lnTo>
                        <a:pt x="434" y="228"/>
                      </a:lnTo>
                      <a:lnTo>
                        <a:pt x="412" y="222"/>
                      </a:lnTo>
                      <a:lnTo>
                        <a:pt x="390" y="220"/>
                      </a:lnTo>
                      <a:lnTo>
                        <a:pt x="390" y="220"/>
                      </a:lnTo>
                      <a:lnTo>
                        <a:pt x="376" y="220"/>
                      </a:lnTo>
                      <a:lnTo>
                        <a:pt x="362" y="222"/>
                      </a:lnTo>
                      <a:lnTo>
                        <a:pt x="348" y="224"/>
                      </a:lnTo>
                      <a:lnTo>
                        <a:pt x="336" y="230"/>
                      </a:lnTo>
                      <a:lnTo>
                        <a:pt x="326" y="234"/>
                      </a:lnTo>
                      <a:lnTo>
                        <a:pt x="314" y="242"/>
                      </a:lnTo>
                      <a:lnTo>
                        <a:pt x="306" y="248"/>
                      </a:lnTo>
                      <a:lnTo>
                        <a:pt x="298" y="258"/>
                      </a:lnTo>
                      <a:lnTo>
                        <a:pt x="290" y="268"/>
                      </a:lnTo>
                      <a:lnTo>
                        <a:pt x="282" y="278"/>
                      </a:lnTo>
                      <a:lnTo>
                        <a:pt x="278" y="290"/>
                      </a:lnTo>
                      <a:lnTo>
                        <a:pt x="272" y="302"/>
                      </a:lnTo>
                      <a:lnTo>
                        <a:pt x="266" y="332"/>
                      </a:lnTo>
                      <a:lnTo>
                        <a:pt x="264" y="364"/>
                      </a:lnTo>
                      <a:lnTo>
                        <a:pt x="264" y="364"/>
                      </a:lnTo>
                      <a:lnTo>
                        <a:pt x="266" y="386"/>
                      </a:lnTo>
                      <a:lnTo>
                        <a:pt x="270" y="410"/>
                      </a:lnTo>
                      <a:lnTo>
                        <a:pt x="278" y="430"/>
                      </a:lnTo>
                      <a:lnTo>
                        <a:pt x="286" y="452"/>
                      </a:lnTo>
                      <a:lnTo>
                        <a:pt x="298" y="472"/>
                      </a:lnTo>
                      <a:lnTo>
                        <a:pt x="312" y="494"/>
                      </a:lnTo>
                      <a:lnTo>
                        <a:pt x="328" y="514"/>
                      </a:lnTo>
                      <a:lnTo>
                        <a:pt x="344" y="532"/>
                      </a:lnTo>
                      <a:lnTo>
                        <a:pt x="384" y="572"/>
                      </a:lnTo>
                      <a:lnTo>
                        <a:pt x="426" y="612"/>
                      </a:lnTo>
                      <a:lnTo>
                        <a:pt x="520" y="692"/>
                      </a:lnTo>
                      <a:lnTo>
                        <a:pt x="568" y="734"/>
                      </a:lnTo>
                      <a:lnTo>
                        <a:pt x="614" y="780"/>
                      </a:lnTo>
                      <a:lnTo>
                        <a:pt x="636" y="802"/>
                      </a:lnTo>
                      <a:lnTo>
                        <a:pt x="658" y="826"/>
                      </a:lnTo>
                      <a:lnTo>
                        <a:pt x="678" y="852"/>
                      </a:lnTo>
                      <a:lnTo>
                        <a:pt x="696" y="878"/>
                      </a:lnTo>
                      <a:lnTo>
                        <a:pt x="714" y="906"/>
                      </a:lnTo>
                      <a:lnTo>
                        <a:pt x="728" y="934"/>
                      </a:lnTo>
                      <a:lnTo>
                        <a:pt x="742" y="964"/>
                      </a:lnTo>
                      <a:lnTo>
                        <a:pt x="754" y="994"/>
                      </a:lnTo>
                      <a:lnTo>
                        <a:pt x="764" y="1026"/>
                      </a:lnTo>
                      <a:lnTo>
                        <a:pt x="770" y="1060"/>
                      </a:lnTo>
                      <a:lnTo>
                        <a:pt x="774" y="1094"/>
                      </a:lnTo>
                      <a:lnTo>
                        <a:pt x="776" y="1130"/>
                      </a:lnTo>
                      <a:lnTo>
                        <a:pt x="776" y="1130"/>
                      </a:lnTo>
                      <a:lnTo>
                        <a:pt x="774" y="1174"/>
                      </a:lnTo>
                      <a:lnTo>
                        <a:pt x="768" y="1216"/>
                      </a:lnTo>
                      <a:lnTo>
                        <a:pt x="760" y="1256"/>
                      </a:lnTo>
                      <a:lnTo>
                        <a:pt x="748" y="1292"/>
                      </a:lnTo>
                      <a:lnTo>
                        <a:pt x="732" y="1326"/>
                      </a:lnTo>
                      <a:lnTo>
                        <a:pt x="712" y="1356"/>
                      </a:lnTo>
                      <a:lnTo>
                        <a:pt x="690" y="1384"/>
                      </a:lnTo>
                      <a:lnTo>
                        <a:pt x="666" y="1410"/>
                      </a:lnTo>
                      <a:lnTo>
                        <a:pt x="638" y="1432"/>
                      </a:lnTo>
                      <a:lnTo>
                        <a:pt x="608" y="1452"/>
                      </a:lnTo>
                      <a:lnTo>
                        <a:pt x="574" y="1468"/>
                      </a:lnTo>
                      <a:lnTo>
                        <a:pt x="540" y="1482"/>
                      </a:lnTo>
                      <a:lnTo>
                        <a:pt x="502" y="1492"/>
                      </a:lnTo>
                      <a:lnTo>
                        <a:pt x="462" y="1500"/>
                      </a:lnTo>
                      <a:lnTo>
                        <a:pt x="422" y="1504"/>
                      </a:lnTo>
                      <a:lnTo>
                        <a:pt x="378" y="1506"/>
                      </a:lnTo>
                      <a:lnTo>
                        <a:pt x="378" y="1506"/>
                      </a:lnTo>
                      <a:lnTo>
                        <a:pt x="336" y="1504"/>
                      </a:lnTo>
                      <a:lnTo>
                        <a:pt x="296" y="1498"/>
                      </a:lnTo>
                      <a:lnTo>
                        <a:pt x="258" y="1488"/>
                      </a:lnTo>
                      <a:lnTo>
                        <a:pt x="222" y="1474"/>
                      </a:lnTo>
                      <a:lnTo>
                        <a:pt x="190" y="1456"/>
                      </a:lnTo>
                      <a:lnTo>
                        <a:pt x="158" y="1436"/>
                      </a:lnTo>
                      <a:lnTo>
                        <a:pt x="130" y="1412"/>
                      </a:lnTo>
                      <a:lnTo>
                        <a:pt x="106" y="1386"/>
                      </a:lnTo>
                      <a:lnTo>
                        <a:pt x="84" y="1356"/>
                      </a:lnTo>
                      <a:lnTo>
                        <a:pt x="64" y="1326"/>
                      </a:lnTo>
                      <a:lnTo>
                        <a:pt x="46" y="1292"/>
                      </a:lnTo>
                      <a:lnTo>
                        <a:pt x="32" y="1256"/>
                      </a:lnTo>
                      <a:lnTo>
                        <a:pt x="20" y="1220"/>
                      </a:lnTo>
                      <a:lnTo>
                        <a:pt x="10" y="1180"/>
                      </a:lnTo>
                      <a:lnTo>
                        <a:pt x="4" y="1142"/>
                      </a:lnTo>
                      <a:lnTo>
                        <a:pt x="0" y="1100"/>
                      </a:lnTo>
                      <a:lnTo>
                        <a:pt x="240" y="1066"/>
                      </a:lnTo>
                      <a:lnTo>
                        <a:pt x="240" y="1066"/>
                      </a:lnTo>
                      <a:lnTo>
                        <a:pt x="242" y="1092"/>
                      </a:lnTo>
                      <a:lnTo>
                        <a:pt x="246" y="1118"/>
                      </a:lnTo>
                      <a:lnTo>
                        <a:pt x="250" y="1142"/>
                      </a:lnTo>
                      <a:lnTo>
                        <a:pt x="256" y="1164"/>
                      </a:lnTo>
                      <a:lnTo>
                        <a:pt x="264" y="1182"/>
                      </a:lnTo>
                      <a:lnTo>
                        <a:pt x="270" y="1202"/>
                      </a:lnTo>
                      <a:lnTo>
                        <a:pt x="280" y="1218"/>
                      </a:lnTo>
                      <a:lnTo>
                        <a:pt x="288" y="1232"/>
                      </a:lnTo>
                      <a:lnTo>
                        <a:pt x="298" y="1246"/>
                      </a:lnTo>
                      <a:lnTo>
                        <a:pt x="310" y="1256"/>
                      </a:lnTo>
                      <a:lnTo>
                        <a:pt x="322" y="1266"/>
                      </a:lnTo>
                      <a:lnTo>
                        <a:pt x="334" y="1274"/>
                      </a:lnTo>
                      <a:lnTo>
                        <a:pt x="348" y="1280"/>
                      </a:lnTo>
                      <a:lnTo>
                        <a:pt x="362" y="1284"/>
                      </a:lnTo>
                      <a:lnTo>
                        <a:pt x="376" y="1286"/>
                      </a:lnTo>
                      <a:lnTo>
                        <a:pt x="390" y="1288"/>
                      </a:lnTo>
                      <a:lnTo>
                        <a:pt x="390" y="1288"/>
                      </a:lnTo>
                      <a:lnTo>
                        <a:pt x="422" y="1286"/>
                      </a:lnTo>
                      <a:lnTo>
                        <a:pt x="436" y="1282"/>
                      </a:lnTo>
                      <a:lnTo>
                        <a:pt x="450" y="1278"/>
                      </a:lnTo>
                      <a:lnTo>
                        <a:pt x="464" y="1274"/>
                      </a:lnTo>
                      <a:lnTo>
                        <a:pt x="476" y="1268"/>
                      </a:lnTo>
                      <a:lnTo>
                        <a:pt x="486" y="1260"/>
                      </a:lnTo>
                      <a:lnTo>
                        <a:pt x="496" y="1254"/>
                      </a:lnTo>
                      <a:lnTo>
                        <a:pt x="506" y="1244"/>
                      </a:lnTo>
                      <a:lnTo>
                        <a:pt x="514" y="1234"/>
                      </a:lnTo>
                      <a:lnTo>
                        <a:pt x="520" y="1224"/>
                      </a:lnTo>
                      <a:lnTo>
                        <a:pt x="526" y="1212"/>
                      </a:lnTo>
                      <a:lnTo>
                        <a:pt x="530" y="1198"/>
                      </a:lnTo>
                      <a:lnTo>
                        <a:pt x="534" y="1184"/>
                      </a:lnTo>
                      <a:lnTo>
                        <a:pt x="536" y="1170"/>
                      </a:lnTo>
                      <a:lnTo>
                        <a:pt x="536" y="1154"/>
                      </a:lnTo>
                      <a:lnTo>
                        <a:pt x="536" y="1154"/>
                      </a:lnTo>
                      <a:lnTo>
                        <a:pt x="536" y="1126"/>
                      </a:lnTo>
                      <a:lnTo>
                        <a:pt x="530" y="1102"/>
                      </a:lnTo>
                      <a:lnTo>
                        <a:pt x="524" y="1076"/>
                      </a:lnTo>
                      <a:lnTo>
                        <a:pt x="514" y="1054"/>
                      </a:lnTo>
                      <a:lnTo>
                        <a:pt x="504" y="1030"/>
                      </a:lnTo>
                      <a:lnTo>
                        <a:pt x="490" y="1008"/>
                      </a:lnTo>
                      <a:lnTo>
                        <a:pt x="474" y="988"/>
                      </a:lnTo>
                      <a:lnTo>
                        <a:pt x="456" y="966"/>
                      </a:lnTo>
                      <a:lnTo>
                        <a:pt x="438" y="946"/>
                      </a:lnTo>
                      <a:lnTo>
                        <a:pt x="418" y="926"/>
                      </a:lnTo>
                      <a:lnTo>
                        <a:pt x="374" y="888"/>
                      </a:lnTo>
                      <a:lnTo>
                        <a:pt x="280" y="808"/>
                      </a:lnTo>
                      <a:lnTo>
                        <a:pt x="234" y="766"/>
                      </a:lnTo>
                      <a:lnTo>
                        <a:pt x="186" y="722"/>
                      </a:lnTo>
                      <a:lnTo>
                        <a:pt x="164" y="700"/>
                      </a:lnTo>
                      <a:lnTo>
                        <a:pt x="144" y="676"/>
                      </a:lnTo>
                      <a:lnTo>
                        <a:pt x="124" y="652"/>
                      </a:lnTo>
                      <a:lnTo>
                        <a:pt x="104" y="626"/>
                      </a:lnTo>
                      <a:lnTo>
                        <a:pt x="88" y="598"/>
                      </a:lnTo>
                      <a:lnTo>
                        <a:pt x="72" y="570"/>
                      </a:lnTo>
                      <a:lnTo>
                        <a:pt x="58" y="540"/>
                      </a:lnTo>
                      <a:lnTo>
                        <a:pt x="46" y="508"/>
                      </a:lnTo>
                      <a:lnTo>
                        <a:pt x="38" y="476"/>
                      </a:lnTo>
                      <a:lnTo>
                        <a:pt x="30" y="440"/>
                      </a:lnTo>
                      <a:lnTo>
                        <a:pt x="26" y="404"/>
                      </a:lnTo>
                      <a:lnTo>
                        <a:pt x="24" y="366"/>
                      </a:lnTo>
                      <a:lnTo>
                        <a:pt x="24" y="366"/>
                      </a:lnTo>
                      <a:lnTo>
                        <a:pt x="26" y="324"/>
                      </a:lnTo>
                      <a:lnTo>
                        <a:pt x="32" y="282"/>
                      </a:lnTo>
                      <a:lnTo>
                        <a:pt x="40" y="246"/>
                      </a:lnTo>
                      <a:lnTo>
                        <a:pt x="52" y="210"/>
                      </a:lnTo>
                      <a:lnTo>
                        <a:pt x="66" y="178"/>
                      </a:lnTo>
                      <a:lnTo>
                        <a:pt x="84" y="148"/>
                      </a:lnTo>
                      <a:lnTo>
                        <a:pt x="104" y="120"/>
                      </a:lnTo>
                      <a:lnTo>
                        <a:pt x="128" y="96"/>
                      </a:lnTo>
                      <a:lnTo>
                        <a:pt x="154" y="74"/>
                      </a:lnTo>
                      <a:lnTo>
                        <a:pt x="182" y="54"/>
                      </a:lnTo>
                      <a:lnTo>
                        <a:pt x="214" y="38"/>
                      </a:lnTo>
                      <a:lnTo>
                        <a:pt x="250" y="24"/>
                      </a:lnTo>
                      <a:lnTo>
                        <a:pt x="286" y="14"/>
                      </a:lnTo>
                      <a:lnTo>
                        <a:pt x="326" y="6"/>
                      </a:lnTo>
                      <a:lnTo>
                        <a:pt x="370" y="2"/>
                      </a:lnTo>
                      <a:lnTo>
                        <a:pt x="414" y="0"/>
                      </a:lnTo>
                      <a:lnTo>
                        <a:pt x="414" y="0"/>
                      </a:lnTo>
                      <a:lnTo>
                        <a:pt x="452" y="2"/>
                      </a:lnTo>
                      <a:lnTo>
                        <a:pt x="488" y="8"/>
                      </a:lnTo>
                      <a:lnTo>
                        <a:pt x="522" y="16"/>
                      </a:lnTo>
                      <a:lnTo>
                        <a:pt x="552" y="26"/>
                      </a:lnTo>
                      <a:lnTo>
                        <a:pt x="582" y="40"/>
                      </a:lnTo>
                      <a:lnTo>
                        <a:pt x="610" y="58"/>
                      </a:lnTo>
                      <a:lnTo>
                        <a:pt x="634" y="78"/>
                      </a:lnTo>
                      <a:lnTo>
                        <a:pt x="658" y="100"/>
                      </a:lnTo>
                      <a:lnTo>
                        <a:pt x="678" y="126"/>
                      </a:lnTo>
                      <a:lnTo>
                        <a:pt x="698" y="152"/>
                      </a:lnTo>
                      <a:lnTo>
                        <a:pt x="714" y="182"/>
                      </a:lnTo>
                      <a:lnTo>
                        <a:pt x="728" y="212"/>
                      </a:lnTo>
                      <a:lnTo>
                        <a:pt x="742" y="246"/>
                      </a:lnTo>
                      <a:lnTo>
                        <a:pt x="750" y="280"/>
                      </a:lnTo>
                      <a:lnTo>
                        <a:pt x="758" y="318"/>
                      </a:lnTo>
                      <a:lnTo>
                        <a:pt x="764" y="356"/>
                      </a:lnTo>
                      <a:lnTo>
                        <a:pt x="524" y="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latin typeface="メイリオ"/>
                    <a:ea typeface="メイリオ"/>
                    <a:cs typeface="メイリオ"/>
                  </a:endParaRPr>
                </a:p>
              </p:txBody>
            </p:sp>
          </p:grpSp>
        </p:grpSp>
        <p:sp>
          <p:nvSpPr>
            <p:cNvPr id="46" name="Freeform 22"/>
            <p:cNvSpPr>
              <a:spLocks/>
            </p:cNvSpPr>
            <p:nvPr/>
          </p:nvSpPr>
          <p:spPr bwMode="auto">
            <a:xfrm>
              <a:off x="7289006" y="1472804"/>
              <a:ext cx="923925" cy="1793081"/>
            </a:xfrm>
            <a:custGeom>
              <a:avLst/>
              <a:gdLst>
                <a:gd name="T0" fmla="*/ 522 w 776"/>
                <a:gd name="T1" fmla="*/ 360 h 1506"/>
                <a:gd name="T2" fmla="*/ 508 w 776"/>
                <a:gd name="T3" fmla="*/ 304 h 1506"/>
                <a:gd name="T4" fmla="*/ 484 w 776"/>
                <a:gd name="T5" fmla="*/ 264 h 1506"/>
                <a:gd name="T6" fmla="*/ 456 w 776"/>
                <a:gd name="T7" fmla="*/ 238 h 1506"/>
                <a:gd name="T8" fmla="*/ 412 w 776"/>
                <a:gd name="T9" fmla="*/ 222 h 1506"/>
                <a:gd name="T10" fmla="*/ 376 w 776"/>
                <a:gd name="T11" fmla="*/ 220 h 1506"/>
                <a:gd name="T12" fmla="*/ 336 w 776"/>
                <a:gd name="T13" fmla="*/ 230 h 1506"/>
                <a:gd name="T14" fmla="*/ 306 w 776"/>
                <a:gd name="T15" fmla="*/ 248 h 1506"/>
                <a:gd name="T16" fmla="*/ 282 w 776"/>
                <a:gd name="T17" fmla="*/ 278 h 1506"/>
                <a:gd name="T18" fmla="*/ 266 w 776"/>
                <a:gd name="T19" fmla="*/ 332 h 1506"/>
                <a:gd name="T20" fmla="*/ 266 w 776"/>
                <a:gd name="T21" fmla="*/ 386 h 1506"/>
                <a:gd name="T22" fmla="*/ 286 w 776"/>
                <a:gd name="T23" fmla="*/ 452 h 1506"/>
                <a:gd name="T24" fmla="*/ 328 w 776"/>
                <a:gd name="T25" fmla="*/ 514 h 1506"/>
                <a:gd name="T26" fmla="*/ 426 w 776"/>
                <a:gd name="T27" fmla="*/ 612 h 1506"/>
                <a:gd name="T28" fmla="*/ 614 w 776"/>
                <a:gd name="T29" fmla="*/ 780 h 1506"/>
                <a:gd name="T30" fmla="*/ 678 w 776"/>
                <a:gd name="T31" fmla="*/ 852 h 1506"/>
                <a:gd name="T32" fmla="*/ 728 w 776"/>
                <a:gd name="T33" fmla="*/ 934 h 1506"/>
                <a:gd name="T34" fmla="*/ 764 w 776"/>
                <a:gd name="T35" fmla="*/ 1026 h 1506"/>
                <a:gd name="T36" fmla="*/ 776 w 776"/>
                <a:gd name="T37" fmla="*/ 1130 h 1506"/>
                <a:gd name="T38" fmla="*/ 768 w 776"/>
                <a:gd name="T39" fmla="*/ 1216 h 1506"/>
                <a:gd name="T40" fmla="*/ 732 w 776"/>
                <a:gd name="T41" fmla="*/ 1326 h 1506"/>
                <a:gd name="T42" fmla="*/ 666 w 776"/>
                <a:gd name="T43" fmla="*/ 1410 h 1506"/>
                <a:gd name="T44" fmla="*/ 574 w 776"/>
                <a:gd name="T45" fmla="*/ 1468 h 1506"/>
                <a:gd name="T46" fmla="*/ 462 w 776"/>
                <a:gd name="T47" fmla="*/ 1500 h 1506"/>
                <a:gd name="T48" fmla="*/ 378 w 776"/>
                <a:gd name="T49" fmla="*/ 1506 h 1506"/>
                <a:gd name="T50" fmla="*/ 258 w 776"/>
                <a:gd name="T51" fmla="*/ 1488 h 1506"/>
                <a:gd name="T52" fmla="*/ 158 w 776"/>
                <a:gd name="T53" fmla="*/ 1436 h 1506"/>
                <a:gd name="T54" fmla="*/ 84 w 776"/>
                <a:gd name="T55" fmla="*/ 1356 h 1506"/>
                <a:gd name="T56" fmla="*/ 32 w 776"/>
                <a:gd name="T57" fmla="*/ 1256 h 1506"/>
                <a:gd name="T58" fmla="*/ 4 w 776"/>
                <a:gd name="T59" fmla="*/ 1142 h 1506"/>
                <a:gd name="T60" fmla="*/ 240 w 776"/>
                <a:gd name="T61" fmla="*/ 1066 h 1506"/>
                <a:gd name="T62" fmla="*/ 250 w 776"/>
                <a:gd name="T63" fmla="*/ 1142 h 1506"/>
                <a:gd name="T64" fmla="*/ 270 w 776"/>
                <a:gd name="T65" fmla="*/ 1202 h 1506"/>
                <a:gd name="T66" fmla="*/ 298 w 776"/>
                <a:gd name="T67" fmla="*/ 1246 h 1506"/>
                <a:gd name="T68" fmla="*/ 334 w 776"/>
                <a:gd name="T69" fmla="*/ 1274 h 1506"/>
                <a:gd name="T70" fmla="*/ 376 w 776"/>
                <a:gd name="T71" fmla="*/ 1286 h 1506"/>
                <a:gd name="T72" fmla="*/ 422 w 776"/>
                <a:gd name="T73" fmla="*/ 1286 h 1506"/>
                <a:gd name="T74" fmla="*/ 464 w 776"/>
                <a:gd name="T75" fmla="*/ 1274 h 1506"/>
                <a:gd name="T76" fmla="*/ 496 w 776"/>
                <a:gd name="T77" fmla="*/ 1254 h 1506"/>
                <a:gd name="T78" fmla="*/ 520 w 776"/>
                <a:gd name="T79" fmla="*/ 1224 h 1506"/>
                <a:gd name="T80" fmla="*/ 534 w 776"/>
                <a:gd name="T81" fmla="*/ 1184 h 1506"/>
                <a:gd name="T82" fmla="*/ 536 w 776"/>
                <a:gd name="T83" fmla="*/ 1154 h 1506"/>
                <a:gd name="T84" fmla="*/ 524 w 776"/>
                <a:gd name="T85" fmla="*/ 1076 h 1506"/>
                <a:gd name="T86" fmla="*/ 490 w 776"/>
                <a:gd name="T87" fmla="*/ 1008 h 1506"/>
                <a:gd name="T88" fmla="*/ 438 w 776"/>
                <a:gd name="T89" fmla="*/ 946 h 1506"/>
                <a:gd name="T90" fmla="*/ 280 w 776"/>
                <a:gd name="T91" fmla="*/ 808 h 1506"/>
                <a:gd name="T92" fmla="*/ 164 w 776"/>
                <a:gd name="T93" fmla="*/ 700 h 1506"/>
                <a:gd name="T94" fmla="*/ 104 w 776"/>
                <a:gd name="T95" fmla="*/ 626 h 1506"/>
                <a:gd name="T96" fmla="*/ 58 w 776"/>
                <a:gd name="T97" fmla="*/ 540 h 1506"/>
                <a:gd name="T98" fmla="*/ 30 w 776"/>
                <a:gd name="T99" fmla="*/ 440 h 1506"/>
                <a:gd name="T100" fmla="*/ 24 w 776"/>
                <a:gd name="T101" fmla="*/ 366 h 1506"/>
                <a:gd name="T102" fmla="*/ 40 w 776"/>
                <a:gd name="T103" fmla="*/ 246 h 1506"/>
                <a:gd name="T104" fmla="*/ 84 w 776"/>
                <a:gd name="T105" fmla="*/ 148 h 1506"/>
                <a:gd name="T106" fmla="*/ 154 w 776"/>
                <a:gd name="T107" fmla="*/ 74 h 1506"/>
                <a:gd name="T108" fmla="*/ 250 w 776"/>
                <a:gd name="T109" fmla="*/ 24 h 1506"/>
                <a:gd name="T110" fmla="*/ 370 w 776"/>
                <a:gd name="T111" fmla="*/ 2 h 1506"/>
                <a:gd name="T112" fmla="*/ 452 w 776"/>
                <a:gd name="T113" fmla="*/ 2 h 1506"/>
                <a:gd name="T114" fmla="*/ 552 w 776"/>
                <a:gd name="T115" fmla="*/ 26 h 1506"/>
                <a:gd name="T116" fmla="*/ 634 w 776"/>
                <a:gd name="T117" fmla="*/ 78 h 1506"/>
                <a:gd name="T118" fmla="*/ 698 w 776"/>
                <a:gd name="T119" fmla="*/ 152 h 1506"/>
                <a:gd name="T120" fmla="*/ 742 w 776"/>
                <a:gd name="T121" fmla="*/ 246 h 1506"/>
                <a:gd name="T122" fmla="*/ 764 w 776"/>
                <a:gd name="T123" fmla="*/ 356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6" h="1506">
                  <a:moveTo>
                    <a:pt x="524" y="382"/>
                  </a:moveTo>
                  <a:lnTo>
                    <a:pt x="524" y="382"/>
                  </a:lnTo>
                  <a:lnTo>
                    <a:pt x="522" y="360"/>
                  </a:lnTo>
                  <a:lnTo>
                    <a:pt x="518" y="338"/>
                  </a:lnTo>
                  <a:lnTo>
                    <a:pt x="514" y="320"/>
                  </a:lnTo>
                  <a:lnTo>
                    <a:pt x="508" y="304"/>
                  </a:lnTo>
                  <a:lnTo>
                    <a:pt x="500" y="288"/>
                  </a:lnTo>
                  <a:lnTo>
                    <a:pt x="492" y="276"/>
                  </a:lnTo>
                  <a:lnTo>
                    <a:pt x="484" y="264"/>
                  </a:lnTo>
                  <a:lnTo>
                    <a:pt x="474" y="254"/>
                  </a:lnTo>
                  <a:lnTo>
                    <a:pt x="466" y="244"/>
                  </a:lnTo>
                  <a:lnTo>
                    <a:pt x="456" y="238"/>
                  </a:lnTo>
                  <a:lnTo>
                    <a:pt x="444" y="232"/>
                  </a:lnTo>
                  <a:lnTo>
                    <a:pt x="434" y="228"/>
                  </a:lnTo>
                  <a:lnTo>
                    <a:pt x="412" y="222"/>
                  </a:lnTo>
                  <a:lnTo>
                    <a:pt x="390" y="220"/>
                  </a:lnTo>
                  <a:lnTo>
                    <a:pt x="390" y="220"/>
                  </a:lnTo>
                  <a:lnTo>
                    <a:pt x="376" y="220"/>
                  </a:lnTo>
                  <a:lnTo>
                    <a:pt x="362" y="222"/>
                  </a:lnTo>
                  <a:lnTo>
                    <a:pt x="348" y="224"/>
                  </a:lnTo>
                  <a:lnTo>
                    <a:pt x="336" y="230"/>
                  </a:lnTo>
                  <a:lnTo>
                    <a:pt x="326" y="234"/>
                  </a:lnTo>
                  <a:lnTo>
                    <a:pt x="314" y="242"/>
                  </a:lnTo>
                  <a:lnTo>
                    <a:pt x="306" y="248"/>
                  </a:lnTo>
                  <a:lnTo>
                    <a:pt x="298" y="258"/>
                  </a:lnTo>
                  <a:lnTo>
                    <a:pt x="290" y="268"/>
                  </a:lnTo>
                  <a:lnTo>
                    <a:pt x="282" y="278"/>
                  </a:lnTo>
                  <a:lnTo>
                    <a:pt x="278" y="290"/>
                  </a:lnTo>
                  <a:lnTo>
                    <a:pt x="272" y="302"/>
                  </a:lnTo>
                  <a:lnTo>
                    <a:pt x="266" y="332"/>
                  </a:lnTo>
                  <a:lnTo>
                    <a:pt x="264" y="364"/>
                  </a:lnTo>
                  <a:lnTo>
                    <a:pt x="264" y="364"/>
                  </a:lnTo>
                  <a:lnTo>
                    <a:pt x="266" y="386"/>
                  </a:lnTo>
                  <a:lnTo>
                    <a:pt x="270" y="410"/>
                  </a:lnTo>
                  <a:lnTo>
                    <a:pt x="278" y="430"/>
                  </a:lnTo>
                  <a:lnTo>
                    <a:pt x="286" y="452"/>
                  </a:lnTo>
                  <a:lnTo>
                    <a:pt x="298" y="472"/>
                  </a:lnTo>
                  <a:lnTo>
                    <a:pt x="312" y="494"/>
                  </a:lnTo>
                  <a:lnTo>
                    <a:pt x="328" y="514"/>
                  </a:lnTo>
                  <a:lnTo>
                    <a:pt x="344" y="532"/>
                  </a:lnTo>
                  <a:lnTo>
                    <a:pt x="384" y="572"/>
                  </a:lnTo>
                  <a:lnTo>
                    <a:pt x="426" y="612"/>
                  </a:lnTo>
                  <a:lnTo>
                    <a:pt x="520" y="692"/>
                  </a:lnTo>
                  <a:lnTo>
                    <a:pt x="568" y="734"/>
                  </a:lnTo>
                  <a:lnTo>
                    <a:pt x="614" y="780"/>
                  </a:lnTo>
                  <a:lnTo>
                    <a:pt x="636" y="802"/>
                  </a:lnTo>
                  <a:lnTo>
                    <a:pt x="658" y="826"/>
                  </a:lnTo>
                  <a:lnTo>
                    <a:pt x="678" y="852"/>
                  </a:lnTo>
                  <a:lnTo>
                    <a:pt x="696" y="878"/>
                  </a:lnTo>
                  <a:lnTo>
                    <a:pt x="714" y="906"/>
                  </a:lnTo>
                  <a:lnTo>
                    <a:pt x="728" y="934"/>
                  </a:lnTo>
                  <a:lnTo>
                    <a:pt x="742" y="964"/>
                  </a:lnTo>
                  <a:lnTo>
                    <a:pt x="754" y="994"/>
                  </a:lnTo>
                  <a:lnTo>
                    <a:pt x="764" y="1026"/>
                  </a:lnTo>
                  <a:lnTo>
                    <a:pt x="770" y="1060"/>
                  </a:lnTo>
                  <a:lnTo>
                    <a:pt x="774" y="1094"/>
                  </a:lnTo>
                  <a:lnTo>
                    <a:pt x="776" y="1130"/>
                  </a:lnTo>
                  <a:lnTo>
                    <a:pt x="776" y="1130"/>
                  </a:lnTo>
                  <a:lnTo>
                    <a:pt x="774" y="1174"/>
                  </a:lnTo>
                  <a:lnTo>
                    <a:pt x="768" y="1216"/>
                  </a:lnTo>
                  <a:lnTo>
                    <a:pt x="760" y="1256"/>
                  </a:lnTo>
                  <a:lnTo>
                    <a:pt x="748" y="1292"/>
                  </a:lnTo>
                  <a:lnTo>
                    <a:pt x="732" y="1326"/>
                  </a:lnTo>
                  <a:lnTo>
                    <a:pt x="712" y="1356"/>
                  </a:lnTo>
                  <a:lnTo>
                    <a:pt x="690" y="1384"/>
                  </a:lnTo>
                  <a:lnTo>
                    <a:pt x="666" y="1410"/>
                  </a:lnTo>
                  <a:lnTo>
                    <a:pt x="638" y="1432"/>
                  </a:lnTo>
                  <a:lnTo>
                    <a:pt x="608" y="1452"/>
                  </a:lnTo>
                  <a:lnTo>
                    <a:pt x="574" y="1468"/>
                  </a:lnTo>
                  <a:lnTo>
                    <a:pt x="540" y="1482"/>
                  </a:lnTo>
                  <a:lnTo>
                    <a:pt x="502" y="1492"/>
                  </a:lnTo>
                  <a:lnTo>
                    <a:pt x="462" y="1500"/>
                  </a:lnTo>
                  <a:lnTo>
                    <a:pt x="422" y="1504"/>
                  </a:lnTo>
                  <a:lnTo>
                    <a:pt x="378" y="1506"/>
                  </a:lnTo>
                  <a:lnTo>
                    <a:pt x="378" y="1506"/>
                  </a:lnTo>
                  <a:lnTo>
                    <a:pt x="336" y="1504"/>
                  </a:lnTo>
                  <a:lnTo>
                    <a:pt x="296" y="1498"/>
                  </a:lnTo>
                  <a:lnTo>
                    <a:pt x="258" y="1488"/>
                  </a:lnTo>
                  <a:lnTo>
                    <a:pt x="222" y="1474"/>
                  </a:lnTo>
                  <a:lnTo>
                    <a:pt x="190" y="1456"/>
                  </a:lnTo>
                  <a:lnTo>
                    <a:pt x="158" y="1436"/>
                  </a:lnTo>
                  <a:lnTo>
                    <a:pt x="130" y="1412"/>
                  </a:lnTo>
                  <a:lnTo>
                    <a:pt x="106" y="1386"/>
                  </a:lnTo>
                  <a:lnTo>
                    <a:pt x="84" y="1356"/>
                  </a:lnTo>
                  <a:lnTo>
                    <a:pt x="64" y="1326"/>
                  </a:lnTo>
                  <a:lnTo>
                    <a:pt x="46" y="1292"/>
                  </a:lnTo>
                  <a:lnTo>
                    <a:pt x="32" y="1256"/>
                  </a:lnTo>
                  <a:lnTo>
                    <a:pt x="20" y="1220"/>
                  </a:lnTo>
                  <a:lnTo>
                    <a:pt x="10" y="1180"/>
                  </a:lnTo>
                  <a:lnTo>
                    <a:pt x="4" y="1142"/>
                  </a:lnTo>
                  <a:lnTo>
                    <a:pt x="0" y="1100"/>
                  </a:lnTo>
                  <a:lnTo>
                    <a:pt x="240" y="1066"/>
                  </a:lnTo>
                  <a:lnTo>
                    <a:pt x="240" y="1066"/>
                  </a:lnTo>
                  <a:lnTo>
                    <a:pt x="242" y="1092"/>
                  </a:lnTo>
                  <a:lnTo>
                    <a:pt x="246" y="1118"/>
                  </a:lnTo>
                  <a:lnTo>
                    <a:pt x="250" y="1142"/>
                  </a:lnTo>
                  <a:lnTo>
                    <a:pt x="256" y="1164"/>
                  </a:lnTo>
                  <a:lnTo>
                    <a:pt x="264" y="1182"/>
                  </a:lnTo>
                  <a:lnTo>
                    <a:pt x="270" y="1202"/>
                  </a:lnTo>
                  <a:lnTo>
                    <a:pt x="280" y="1218"/>
                  </a:lnTo>
                  <a:lnTo>
                    <a:pt x="288" y="1232"/>
                  </a:lnTo>
                  <a:lnTo>
                    <a:pt x="298" y="1246"/>
                  </a:lnTo>
                  <a:lnTo>
                    <a:pt x="310" y="1256"/>
                  </a:lnTo>
                  <a:lnTo>
                    <a:pt x="322" y="1266"/>
                  </a:lnTo>
                  <a:lnTo>
                    <a:pt x="334" y="1274"/>
                  </a:lnTo>
                  <a:lnTo>
                    <a:pt x="348" y="1280"/>
                  </a:lnTo>
                  <a:lnTo>
                    <a:pt x="362" y="1284"/>
                  </a:lnTo>
                  <a:lnTo>
                    <a:pt x="376" y="1286"/>
                  </a:lnTo>
                  <a:lnTo>
                    <a:pt x="390" y="1288"/>
                  </a:lnTo>
                  <a:lnTo>
                    <a:pt x="390" y="1288"/>
                  </a:lnTo>
                  <a:lnTo>
                    <a:pt x="422" y="1286"/>
                  </a:lnTo>
                  <a:lnTo>
                    <a:pt x="436" y="1282"/>
                  </a:lnTo>
                  <a:lnTo>
                    <a:pt x="450" y="1278"/>
                  </a:lnTo>
                  <a:lnTo>
                    <a:pt x="464" y="1274"/>
                  </a:lnTo>
                  <a:lnTo>
                    <a:pt x="476" y="1268"/>
                  </a:lnTo>
                  <a:lnTo>
                    <a:pt x="486" y="1260"/>
                  </a:lnTo>
                  <a:lnTo>
                    <a:pt x="496" y="1254"/>
                  </a:lnTo>
                  <a:lnTo>
                    <a:pt x="506" y="1244"/>
                  </a:lnTo>
                  <a:lnTo>
                    <a:pt x="514" y="1234"/>
                  </a:lnTo>
                  <a:lnTo>
                    <a:pt x="520" y="1224"/>
                  </a:lnTo>
                  <a:lnTo>
                    <a:pt x="526" y="1212"/>
                  </a:lnTo>
                  <a:lnTo>
                    <a:pt x="530" y="1198"/>
                  </a:lnTo>
                  <a:lnTo>
                    <a:pt x="534" y="1184"/>
                  </a:lnTo>
                  <a:lnTo>
                    <a:pt x="536" y="1170"/>
                  </a:lnTo>
                  <a:lnTo>
                    <a:pt x="536" y="1154"/>
                  </a:lnTo>
                  <a:lnTo>
                    <a:pt x="536" y="1154"/>
                  </a:lnTo>
                  <a:lnTo>
                    <a:pt x="536" y="1126"/>
                  </a:lnTo>
                  <a:lnTo>
                    <a:pt x="530" y="1102"/>
                  </a:lnTo>
                  <a:lnTo>
                    <a:pt x="524" y="1076"/>
                  </a:lnTo>
                  <a:lnTo>
                    <a:pt x="514" y="1054"/>
                  </a:lnTo>
                  <a:lnTo>
                    <a:pt x="504" y="1030"/>
                  </a:lnTo>
                  <a:lnTo>
                    <a:pt x="490" y="1008"/>
                  </a:lnTo>
                  <a:lnTo>
                    <a:pt x="474" y="988"/>
                  </a:lnTo>
                  <a:lnTo>
                    <a:pt x="456" y="966"/>
                  </a:lnTo>
                  <a:lnTo>
                    <a:pt x="438" y="946"/>
                  </a:lnTo>
                  <a:lnTo>
                    <a:pt x="418" y="926"/>
                  </a:lnTo>
                  <a:lnTo>
                    <a:pt x="374" y="888"/>
                  </a:lnTo>
                  <a:lnTo>
                    <a:pt x="280" y="808"/>
                  </a:lnTo>
                  <a:lnTo>
                    <a:pt x="234" y="766"/>
                  </a:lnTo>
                  <a:lnTo>
                    <a:pt x="186" y="722"/>
                  </a:lnTo>
                  <a:lnTo>
                    <a:pt x="164" y="700"/>
                  </a:lnTo>
                  <a:lnTo>
                    <a:pt x="144" y="676"/>
                  </a:lnTo>
                  <a:lnTo>
                    <a:pt x="124" y="652"/>
                  </a:lnTo>
                  <a:lnTo>
                    <a:pt x="104" y="626"/>
                  </a:lnTo>
                  <a:lnTo>
                    <a:pt x="88" y="598"/>
                  </a:lnTo>
                  <a:lnTo>
                    <a:pt x="72" y="570"/>
                  </a:lnTo>
                  <a:lnTo>
                    <a:pt x="58" y="540"/>
                  </a:lnTo>
                  <a:lnTo>
                    <a:pt x="46" y="508"/>
                  </a:lnTo>
                  <a:lnTo>
                    <a:pt x="38" y="476"/>
                  </a:lnTo>
                  <a:lnTo>
                    <a:pt x="30" y="440"/>
                  </a:lnTo>
                  <a:lnTo>
                    <a:pt x="26" y="404"/>
                  </a:lnTo>
                  <a:lnTo>
                    <a:pt x="24" y="366"/>
                  </a:lnTo>
                  <a:lnTo>
                    <a:pt x="24" y="366"/>
                  </a:lnTo>
                  <a:lnTo>
                    <a:pt x="26" y="324"/>
                  </a:lnTo>
                  <a:lnTo>
                    <a:pt x="32" y="282"/>
                  </a:lnTo>
                  <a:lnTo>
                    <a:pt x="40" y="246"/>
                  </a:lnTo>
                  <a:lnTo>
                    <a:pt x="52" y="210"/>
                  </a:lnTo>
                  <a:lnTo>
                    <a:pt x="66" y="178"/>
                  </a:lnTo>
                  <a:lnTo>
                    <a:pt x="84" y="148"/>
                  </a:lnTo>
                  <a:lnTo>
                    <a:pt x="104" y="120"/>
                  </a:lnTo>
                  <a:lnTo>
                    <a:pt x="128" y="96"/>
                  </a:lnTo>
                  <a:lnTo>
                    <a:pt x="154" y="74"/>
                  </a:lnTo>
                  <a:lnTo>
                    <a:pt x="182" y="54"/>
                  </a:lnTo>
                  <a:lnTo>
                    <a:pt x="214" y="38"/>
                  </a:lnTo>
                  <a:lnTo>
                    <a:pt x="250" y="24"/>
                  </a:lnTo>
                  <a:lnTo>
                    <a:pt x="286" y="14"/>
                  </a:lnTo>
                  <a:lnTo>
                    <a:pt x="326" y="6"/>
                  </a:lnTo>
                  <a:lnTo>
                    <a:pt x="370" y="2"/>
                  </a:lnTo>
                  <a:lnTo>
                    <a:pt x="414" y="0"/>
                  </a:lnTo>
                  <a:lnTo>
                    <a:pt x="414" y="0"/>
                  </a:lnTo>
                  <a:lnTo>
                    <a:pt x="452" y="2"/>
                  </a:lnTo>
                  <a:lnTo>
                    <a:pt x="488" y="8"/>
                  </a:lnTo>
                  <a:lnTo>
                    <a:pt x="522" y="16"/>
                  </a:lnTo>
                  <a:lnTo>
                    <a:pt x="552" y="26"/>
                  </a:lnTo>
                  <a:lnTo>
                    <a:pt x="582" y="40"/>
                  </a:lnTo>
                  <a:lnTo>
                    <a:pt x="610" y="58"/>
                  </a:lnTo>
                  <a:lnTo>
                    <a:pt x="634" y="78"/>
                  </a:lnTo>
                  <a:lnTo>
                    <a:pt x="658" y="100"/>
                  </a:lnTo>
                  <a:lnTo>
                    <a:pt x="678" y="126"/>
                  </a:lnTo>
                  <a:lnTo>
                    <a:pt x="698" y="152"/>
                  </a:lnTo>
                  <a:lnTo>
                    <a:pt x="714" y="182"/>
                  </a:lnTo>
                  <a:lnTo>
                    <a:pt x="728" y="212"/>
                  </a:lnTo>
                  <a:lnTo>
                    <a:pt x="742" y="246"/>
                  </a:lnTo>
                  <a:lnTo>
                    <a:pt x="750" y="280"/>
                  </a:lnTo>
                  <a:lnTo>
                    <a:pt x="758" y="318"/>
                  </a:lnTo>
                  <a:lnTo>
                    <a:pt x="764" y="356"/>
                  </a:lnTo>
                  <a:lnTo>
                    <a:pt x="524" y="3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atin typeface="メイリオ"/>
                <a:ea typeface="メイリオ"/>
                <a:cs typeface="メイリオ"/>
              </a:endParaRPr>
            </a:p>
          </p:txBody>
        </p:sp>
      </p:grpSp>
      <p:sp>
        <p:nvSpPr>
          <p:cNvPr id="47" name="Rectangle 46"/>
          <p:cNvSpPr/>
          <p:nvPr/>
        </p:nvSpPr>
        <p:spPr>
          <a:xfrm>
            <a:off x="5621471" y="4818585"/>
            <a:ext cx="2270424" cy="322743"/>
          </a:xfrm>
          <a:prstGeom prst="rect">
            <a:avLst/>
          </a:prstGeom>
          <a:noFill/>
          <a:ln w="25400" cap="flat" cmpd="sng" algn="ctr">
            <a:noFill/>
            <a:prstDash val="solid"/>
          </a:ln>
          <a:effectLst/>
        </p:spPr>
        <p:txBody>
          <a:bodyPr lIns="68577" tIns="34289" rIns="68577" bIns="34289" rtlCol="0" anchor="b"/>
          <a:lstStyle/>
          <a:p>
            <a:pPr marR="3810" algn="r">
              <a:spcAft>
                <a:spcPts val="450"/>
              </a:spcAft>
            </a:pPr>
            <a:r>
              <a:rPr lang="en-US" sz="1100" dirty="0" smtClean="0">
                <a:latin typeface="メイリオ"/>
                <a:ea typeface="メイリオ"/>
                <a:cs typeface="メイリオ"/>
              </a:rPr>
              <a:t>* </a:t>
            </a:r>
            <a:r>
              <a:rPr lang="en-US" sz="1100" dirty="0" err="1">
                <a:latin typeface="メイリオ"/>
                <a:ea typeface="メイリオ"/>
                <a:cs typeface="メイリオ"/>
              </a:rPr>
              <a:t>OpenDNS</a:t>
            </a:r>
            <a:r>
              <a:rPr lang="en-US" sz="1100" dirty="0">
                <a:latin typeface="メイリオ"/>
                <a:ea typeface="メイリオ"/>
                <a:cs typeface="メイリオ"/>
              </a:rPr>
              <a:t> </a:t>
            </a:r>
            <a:r>
              <a:rPr lang="ja-JP" altLang="en-US" sz="1100" dirty="0" smtClean="0">
                <a:latin typeface="メイリオ"/>
                <a:ea typeface="メイリオ"/>
                <a:cs typeface="メイリオ"/>
              </a:rPr>
              <a:t>は、現在ベータ</a:t>
            </a:r>
            <a:endParaRPr lang="en-US" sz="1100" dirty="0">
              <a:latin typeface="メイリオ"/>
              <a:ea typeface="メイリオ"/>
              <a:cs typeface="メイリオ"/>
            </a:endParaRPr>
          </a:p>
        </p:txBody>
      </p:sp>
      <p:sp>
        <p:nvSpPr>
          <p:cNvPr id="5" name="Left Brace 4"/>
          <p:cNvSpPr/>
          <p:nvPr/>
        </p:nvSpPr>
        <p:spPr>
          <a:xfrm rot="5400000">
            <a:off x="4257815" y="1018466"/>
            <a:ext cx="533400" cy="4382315"/>
          </a:xfrm>
          <a:prstGeom prst="leftBrace">
            <a:avLst>
              <a:gd name="adj1" fmla="val 992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latin typeface="メイリオ"/>
              <a:ea typeface="メイリオ"/>
              <a:cs typeface="メイリオ"/>
            </a:endParaRPr>
          </a:p>
        </p:txBody>
      </p:sp>
      <p:sp>
        <p:nvSpPr>
          <p:cNvPr id="48" name="Rounded Rectangle 47"/>
          <p:cNvSpPr/>
          <p:nvPr/>
        </p:nvSpPr>
        <p:spPr>
          <a:xfrm>
            <a:off x="252991" y="2041107"/>
            <a:ext cx="1905127" cy="407140"/>
          </a:xfrm>
          <a:prstGeom prst="roundRect">
            <a:avLst>
              <a:gd name="adj" fmla="val 9349"/>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2"/>
                </a:solidFill>
                <a:latin typeface="メイリオ"/>
                <a:ea typeface="メイリオ"/>
                <a:cs typeface="メイリオ"/>
              </a:rPr>
              <a:t>FY15 Q1</a:t>
            </a:r>
          </a:p>
        </p:txBody>
      </p:sp>
      <p:sp>
        <p:nvSpPr>
          <p:cNvPr id="49" name="Oval 48"/>
          <p:cNvSpPr/>
          <p:nvPr/>
        </p:nvSpPr>
        <p:spPr>
          <a:xfrm>
            <a:off x="7444250" y="3431339"/>
            <a:ext cx="814209" cy="867219"/>
          </a:xfrm>
          <a:prstGeom prst="ellipse">
            <a:avLst/>
          </a:prstGeom>
          <a:solidFill>
            <a:schemeClr val="accent1"/>
          </a:solidFill>
          <a:ln w="38100" cap="flat" cmpd="sng" algn="ctr">
            <a:solidFill>
              <a:srgbClr val="FFFFFF"/>
            </a:solidFill>
            <a:prstDash val="solid"/>
          </a:ln>
          <a:effectLst/>
        </p:spPr>
        <p:txBody>
          <a:bodyPr rtlCol="0" anchor="ctr"/>
          <a:lstStyle/>
          <a:p>
            <a:pPr algn="ctr"/>
            <a:r>
              <a:rPr lang="en-US" sz="1400" b="1" kern="0" dirty="0" smtClean="0">
                <a:solidFill>
                  <a:srgbClr val="FFFFFF"/>
                </a:solidFill>
                <a:latin typeface="メイリオ"/>
                <a:ea typeface="メイリオ"/>
                <a:cs typeface="メイリオ"/>
              </a:rPr>
              <a:t>FTD</a:t>
            </a:r>
            <a:endParaRPr lang="en-US" sz="1400" b="1" kern="0" dirty="0">
              <a:solidFill>
                <a:srgbClr val="FFFFFF"/>
              </a:solidFill>
              <a:latin typeface="メイリオ"/>
              <a:ea typeface="メイリオ"/>
              <a:cs typeface="メイリオ"/>
            </a:endParaRPr>
          </a:p>
        </p:txBody>
      </p:sp>
      <p:cxnSp>
        <p:nvCxnSpPr>
          <p:cNvPr id="52" name="Straight Connector 51"/>
          <p:cNvCxnSpPr/>
          <p:nvPr/>
        </p:nvCxnSpPr>
        <p:spPr>
          <a:xfrm>
            <a:off x="6756957" y="3196368"/>
            <a:ext cx="1085741"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a:endCxn id="49" idx="0"/>
          </p:cNvCxnSpPr>
          <p:nvPr/>
        </p:nvCxnSpPr>
        <p:spPr>
          <a:xfrm>
            <a:off x="7842698" y="3196368"/>
            <a:ext cx="8657" cy="23497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56" name="Rectangle 55"/>
          <p:cNvSpPr/>
          <p:nvPr/>
        </p:nvSpPr>
        <p:spPr>
          <a:xfrm>
            <a:off x="6944702" y="4356013"/>
            <a:ext cx="1813317" cy="238527"/>
          </a:xfrm>
          <a:prstGeom prst="rect">
            <a:avLst/>
          </a:prstGeom>
        </p:spPr>
        <p:txBody>
          <a:bodyPr wrap="none">
            <a:spAutoFit/>
          </a:bodyPr>
          <a:lstStyle/>
          <a:p>
            <a:pPr algn="ctr" defTabSz="342900">
              <a:defRPr/>
            </a:pPr>
            <a:r>
              <a:rPr lang="en-US" sz="950" dirty="0" smtClean="0">
                <a:latin typeface="メイリオ"/>
                <a:ea typeface="メイリオ"/>
                <a:cs typeface="メイリオ"/>
              </a:rPr>
              <a:t>FirePOWER Threat Defense</a:t>
            </a:r>
            <a:endParaRPr lang="en-US" sz="950" dirty="0">
              <a:latin typeface="メイリオ"/>
              <a:ea typeface="メイリオ"/>
              <a:cs typeface="メイリオ"/>
            </a:endParaRPr>
          </a:p>
        </p:txBody>
      </p:sp>
    </p:spTree>
    <p:extLst>
      <p:ext uri="{BB962C8B-B14F-4D97-AF65-F5344CB8AC3E}">
        <p14:creationId xmlns:p14="http://schemas.microsoft.com/office/powerpoint/2010/main" val="160241712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latin typeface="メイリオ"/>
                <a:ea typeface="メイリオ"/>
                <a:cs typeface="メイリオ"/>
              </a:rPr>
              <a:t>Cisco Meraki</a:t>
            </a:r>
            <a:r>
              <a:rPr lang="ja-JP" altLang="en-US" dirty="0" smtClean="0">
                <a:latin typeface="メイリオ"/>
                <a:ea typeface="メイリオ"/>
                <a:cs typeface="メイリオ"/>
              </a:rPr>
              <a:t>：製品サービスと特長</a:t>
            </a:r>
            <a:endParaRPr lang="ja-JP" altLang="en-US" dirty="0">
              <a:latin typeface="メイリオ"/>
              <a:ea typeface="メイリオ"/>
              <a:cs typeface="メイリオ"/>
            </a:endParaRPr>
          </a:p>
        </p:txBody>
      </p:sp>
      <p:grpSp>
        <p:nvGrpSpPr>
          <p:cNvPr id="20" name="Group 19"/>
          <p:cNvGrpSpPr/>
          <p:nvPr/>
        </p:nvGrpSpPr>
        <p:grpSpPr>
          <a:xfrm>
            <a:off x="4626912" y="3033125"/>
            <a:ext cx="846930" cy="829643"/>
            <a:chOff x="5034950" y="3422073"/>
            <a:chExt cx="1641433" cy="1386189"/>
          </a:xfrm>
        </p:grpSpPr>
        <p:pic>
          <p:nvPicPr>
            <p:cNvPr id="6" name="Picture 5"/>
            <p:cNvPicPr>
              <a:picLocks noChangeAspect="1"/>
            </p:cNvPicPr>
            <p:nvPr/>
          </p:nvPicPr>
          <p:blipFill>
            <a:blip r:embed="rId3" cstate="print"/>
            <a:stretch>
              <a:fillRect/>
            </a:stretch>
          </p:blipFill>
          <p:spPr>
            <a:xfrm>
              <a:off x="5076780" y="3422073"/>
              <a:ext cx="1460070" cy="835890"/>
            </a:xfrm>
            <a:prstGeom prst="rect">
              <a:avLst/>
            </a:prstGeom>
          </p:spPr>
        </p:pic>
        <p:sp>
          <p:nvSpPr>
            <p:cNvPr id="15" name="TextBox 14"/>
            <p:cNvSpPr txBox="1"/>
            <p:nvPr/>
          </p:nvSpPr>
          <p:spPr>
            <a:xfrm>
              <a:off x="5034950" y="4242597"/>
              <a:ext cx="1641433" cy="565665"/>
            </a:xfrm>
            <a:prstGeom prst="rect">
              <a:avLst/>
            </a:prstGeom>
            <a:noFill/>
          </p:spPr>
          <p:txBody>
            <a:bodyPr wrap="square" rtlCol="0">
              <a:spAutoFit/>
            </a:bodyPr>
            <a:lstStyle/>
            <a:p>
              <a:r>
                <a:rPr lang="ja-JP" altLang="en-US" sz="800" dirty="0">
                  <a:latin typeface="メイリオ"/>
                  <a:ea typeface="メイリオ"/>
                  <a:cs typeface="メイリオ"/>
                </a:rPr>
                <a:t>ワイヤレス </a:t>
              </a:r>
              <a:r>
                <a:rPr lang="en-US" altLang="ja-JP" sz="800" dirty="0">
                  <a:latin typeface="メイリオ"/>
                  <a:ea typeface="メイリオ"/>
                  <a:cs typeface="メイリオ"/>
                </a:rPr>
                <a:t>LAN</a:t>
              </a:r>
              <a:endParaRPr lang="ja-JP" altLang="en-US" sz="800" dirty="0">
                <a:latin typeface="メイリオ"/>
                <a:ea typeface="メイリオ"/>
                <a:cs typeface="メイリオ"/>
              </a:endParaRPr>
            </a:p>
          </p:txBody>
        </p:sp>
      </p:grpSp>
      <p:grpSp>
        <p:nvGrpSpPr>
          <p:cNvPr id="22" name="Group 21"/>
          <p:cNvGrpSpPr/>
          <p:nvPr/>
        </p:nvGrpSpPr>
        <p:grpSpPr>
          <a:xfrm>
            <a:off x="6712959" y="3137030"/>
            <a:ext cx="959843" cy="857507"/>
            <a:chOff x="8797063" y="3600125"/>
            <a:chExt cx="1860267" cy="1432743"/>
          </a:xfrm>
        </p:grpSpPr>
        <p:pic>
          <p:nvPicPr>
            <p:cNvPr id="9" name="Picture 8"/>
            <p:cNvPicPr>
              <a:picLocks noChangeAspect="1"/>
            </p:cNvPicPr>
            <p:nvPr/>
          </p:nvPicPr>
          <p:blipFill>
            <a:blip r:embed="rId4"/>
            <a:stretch>
              <a:fillRect/>
            </a:stretch>
          </p:blipFill>
          <p:spPr>
            <a:xfrm>
              <a:off x="8910683" y="3600125"/>
              <a:ext cx="1519514" cy="657838"/>
            </a:xfrm>
            <a:prstGeom prst="rect">
              <a:avLst/>
            </a:prstGeom>
          </p:spPr>
        </p:pic>
        <p:sp>
          <p:nvSpPr>
            <p:cNvPr id="16" name="TextBox 15"/>
            <p:cNvSpPr txBox="1"/>
            <p:nvPr/>
          </p:nvSpPr>
          <p:spPr>
            <a:xfrm>
              <a:off x="8797063" y="4261507"/>
              <a:ext cx="1860267" cy="771361"/>
            </a:xfrm>
            <a:prstGeom prst="rect">
              <a:avLst/>
            </a:prstGeom>
            <a:noFill/>
          </p:spPr>
          <p:txBody>
            <a:bodyPr wrap="square" rtlCol="0">
              <a:spAutoFit/>
            </a:bodyPr>
            <a:lstStyle/>
            <a:p>
              <a:pPr algn="ctr"/>
              <a:r>
                <a:rPr lang="ja-JP" altLang="en-US" sz="800" dirty="0">
                  <a:latin typeface="メイリオ"/>
                  <a:ea typeface="メイリオ"/>
                  <a:cs typeface="メイリオ"/>
                </a:rPr>
                <a:t>アクセスとアグリゲーション</a:t>
              </a:r>
            </a:p>
            <a:p>
              <a:pPr algn="ctr"/>
              <a:r>
                <a:rPr lang="ja-JP" altLang="en-US" sz="800" dirty="0">
                  <a:latin typeface="メイリオ"/>
                  <a:ea typeface="メイリオ"/>
                  <a:cs typeface="メイリオ"/>
                </a:rPr>
                <a:t>スイッチング</a:t>
              </a:r>
            </a:p>
          </p:txBody>
        </p:sp>
      </p:grpSp>
      <p:grpSp>
        <p:nvGrpSpPr>
          <p:cNvPr id="21" name="Group 20"/>
          <p:cNvGrpSpPr/>
          <p:nvPr/>
        </p:nvGrpSpPr>
        <p:grpSpPr>
          <a:xfrm>
            <a:off x="5568610" y="3033123"/>
            <a:ext cx="1108349" cy="838838"/>
            <a:chOff x="6964365" y="3422073"/>
            <a:chExt cx="2148089" cy="1401553"/>
          </a:xfrm>
        </p:grpSpPr>
        <p:pic>
          <p:nvPicPr>
            <p:cNvPr id="8" name="Picture 7"/>
            <p:cNvPicPr>
              <a:picLocks noChangeAspect="1"/>
            </p:cNvPicPr>
            <p:nvPr/>
          </p:nvPicPr>
          <p:blipFill>
            <a:blip r:embed="rId5"/>
            <a:stretch>
              <a:fillRect/>
            </a:stretch>
          </p:blipFill>
          <p:spPr>
            <a:xfrm>
              <a:off x="7179419" y="3422073"/>
              <a:ext cx="1391396" cy="876399"/>
            </a:xfrm>
            <a:prstGeom prst="rect">
              <a:avLst/>
            </a:prstGeom>
          </p:spPr>
        </p:pic>
        <p:sp>
          <p:nvSpPr>
            <p:cNvPr id="17" name="TextBox 16"/>
            <p:cNvSpPr txBox="1"/>
            <p:nvPr/>
          </p:nvSpPr>
          <p:spPr>
            <a:xfrm>
              <a:off x="6964365" y="4257961"/>
              <a:ext cx="2148089" cy="565665"/>
            </a:xfrm>
            <a:prstGeom prst="rect">
              <a:avLst/>
            </a:prstGeom>
            <a:noFill/>
          </p:spPr>
          <p:txBody>
            <a:bodyPr wrap="square" rtlCol="0">
              <a:spAutoFit/>
            </a:bodyPr>
            <a:lstStyle/>
            <a:p>
              <a:pPr algn="ctr"/>
              <a:r>
                <a:rPr lang="ja-JP" altLang="en-US" sz="800" dirty="0">
                  <a:latin typeface="メイリオ"/>
                  <a:ea typeface="メイリオ"/>
                  <a:cs typeface="メイリオ"/>
                </a:rPr>
                <a:t>エンタープライズ セキュリティ</a:t>
              </a:r>
            </a:p>
          </p:txBody>
        </p:sp>
      </p:grpSp>
      <p:grpSp>
        <p:nvGrpSpPr>
          <p:cNvPr id="23" name="Group 22"/>
          <p:cNvGrpSpPr/>
          <p:nvPr/>
        </p:nvGrpSpPr>
        <p:grpSpPr>
          <a:xfrm>
            <a:off x="7719278" y="3116212"/>
            <a:ext cx="1043876" cy="748026"/>
            <a:chOff x="10355316" y="3614316"/>
            <a:chExt cx="2023134" cy="1249821"/>
          </a:xfrm>
        </p:grpSpPr>
        <p:pic>
          <p:nvPicPr>
            <p:cNvPr id="14" name="Picture 13"/>
            <p:cNvPicPr>
              <a:picLocks noChangeAspect="1"/>
            </p:cNvPicPr>
            <p:nvPr/>
          </p:nvPicPr>
          <p:blipFill>
            <a:blip r:embed="rId6" cstate="print"/>
            <a:stretch>
              <a:fillRect/>
            </a:stretch>
          </p:blipFill>
          <p:spPr>
            <a:xfrm>
              <a:off x="11014104" y="3614316"/>
              <a:ext cx="684156" cy="684156"/>
            </a:xfrm>
            <a:prstGeom prst="rect">
              <a:avLst/>
            </a:prstGeom>
          </p:spPr>
        </p:pic>
        <p:sp>
          <p:nvSpPr>
            <p:cNvPr id="18" name="TextBox 17"/>
            <p:cNvSpPr txBox="1"/>
            <p:nvPr/>
          </p:nvSpPr>
          <p:spPr>
            <a:xfrm>
              <a:off x="10355316" y="4298472"/>
              <a:ext cx="2023134" cy="565665"/>
            </a:xfrm>
            <a:prstGeom prst="rect">
              <a:avLst/>
            </a:prstGeom>
            <a:noFill/>
          </p:spPr>
          <p:txBody>
            <a:bodyPr wrap="none" rtlCol="0">
              <a:spAutoFit/>
            </a:bodyPr>
            <a:lstStyle/>
            <a:p>
              <a:pPr algn="ctr"/>
              <a:r>
                <a:rPr lang="ja-JP" altLang="en-US" sz="800" dirty="0">
                  <a:latin typeface="メイリオ"/>
                  <a:ea typeface="メイリオ"/>
                  <a:cs typeface="メイリオ"/>
                </a:rPr>
                <a:t>モバイル デバイス</a:t>
              </a:r>
            </a:p>
            <a:p>
              <a:pPr algn="ctr"/>
              <a:r>
                <a:rPr lang="ja-JP" altLang="en-US" sz="800" dirty="0">
                  <a:latin typeface="メイリオ"/>
                  <a:ea typeface="メイリオ"/>
                  <a:cs typeface="メイリオ"/>
                </a:rPr>
                <a:t>管理</a:t>
              </a:r>
            </a:p>
          </p:txBody>
        </p:sp>
      </p:grpSp>
      <p:grpSp>
        <p:nvGrpSpPr>
          <p:cNvPr id="35" name="Group 34"/>
          <p:cNvGrpSpPr/>
          <p:nvPr/>
        </p:nvGrpSpPr>
        <p:grpSpPr>
          <a:xfrm>
            <a:off x="4852098" y="980923"/>
            <a:ext cx="3514019" cy="1816508"/>
            <a:chOff x="5701622" y="1096832"/>
            <a:chExt cx="3950148" cy="1919379"/>
          </a:xfrm>
        </p:grpSpPr>
        <p:pic>
          <p:nvPicPr>
            <p:cNvPr id="25" name="Picture 24" descr="dashboard_screenshots.jpg"/>
            <p:cNvPicPr>
              <a:picLocks noChangeAspect="1"/>
            </p:cNvPicPr>
            <p:nvPr/>
          </p:nvPicPr>
          <p:blipFill rotWithShape="1">
            <a:blip r:embed="rId7" cstate="print">
              <a:extLst>
                <a:ext uri="{28A0092B-C50C-407E-A947-70E740481C1C}">
                  <a14:useLocalDpi xmlns:a14="http://schemas.microsoft.com/office/drawing/2010/main"/>
                </a:ext>
              </a:extLst>
            </a:blip>
            <a:srcRect t="-1"/>
            <a:stretch/>
          </p:blipFill>
          <p:spPr>
            <a:xfrm>
              <a:off x="5701622" y="1096832"/>
              <a:ext cx="3950148" cy="1840523"/>
            </a:xfrm>
            <a:prstGeom prst="rect">
              <a:avLst/>
            </a:prstGeom>
          </p:spPr>
        </p:pic>
        <p:pic>
          <p:nvPicPr>
            <p:cNvPr id="26" name="Picture 25" descr="Screen Shot 2013-05-13 at 4.52.45 PM.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130098" y="1191702"/>
              <a:ext cx="2886626" cy="1824509"/>
            </a:xfrm>
            <a:prstGeom prst="rect">
              <a:avLst/>
            </a:prstGeom>
            <a:ln>
              <a:solidFill>
                <a:srgbClr val="BFBFBF"/>
              </a:solidFill>
            </a:ln>
            <a:effectLst>
              <a:reflection blurRad="6350" stA="42000" endA="300" endPos="10000" dir="5400000" sy="-100000" algn="bl" rotWithShape="0"/>
            </a:effectLst>
          </p:spPr>
        </p:pic>
      </p:grpSp>
      <p:sp>
        <p:nvSpPr>
          <p:cNvPr id="24" name="Content Placeholder 2"/>
          <p:cNvSpPr txBox="1">
            <a:spLocks/>
          </p:cNvSpPr>
          <p:nvPr/>
        </p:nvSpPr>
        <p:spPr>
          <a:xfrm>
            <a:off x="229701" y="994510"/>
            <a:ext cx="3901663" cy="3235469"/>
          </a:xfrm>
          <a:prstGeom prst="rect">
            <a:avLst/>
          </a:prstGeom>
        </p:spPr>
        <p:txBody>
          <a:bodyPr vert="horz" lIns="68589" tIns="34295" rIns="68589" bIns="34295" rtlCol="0">
            <a:noAutofit/>
          </a:bodyPr>
          <a:lst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b="0" i="0" kern="1200" dirty="0" smtClean="0">
                <a:solidFill>
                  <a:srgbClr val="546568"/>
                </a:solidFill>
                <a:latin typeface="Arial"/>
                <a:ea typeface="+mn-ea"/>
                <a:cs typeface="Arial"/>
              </a:defRPr>
            </a:lvl1pPr>
            <a:lvl2pPr marL="406400" indent="0" algn="l" defTabSz="914400" rtl="0" eaLnBrk="1" latinLnBrk="0" hangingPunct="1">
              <a:lnSpc>
                <a:spcPct val="95000"/>
              </a:lnSpc>
              <a:spcBef>
                <a:spcPts val="840"/>
              </a:spcBef>
              <a:buClr>
                <a:schemeClr val="tx2"/>
              </a:buClr>
              <a:buFontTx/>
              <a:buNone/>
              <a:defRPr lang="en-US" sz="1800" b="0" i="0" kern="1200" dirty="0" smtClean="0">
                <a:solidFill>
                  <a:srgbClr val="546568"/>
                </a:solidFill>
                <a:latin typeface="Arial"/>
                <a:ea typeface="+mn-ea"/>
                <a:cs typeface="Arial"/>
              </a:defRPr>
            </a:lvl2pPr>
            <a:lvl3pPr marL="571500" indent="-1588" algn="l" defTabSz="914400" rtl="0" eaLnBrk="1" latinLnBrk="0" hangingPunct="1">
              <a:lnSpc>
                <a:spcPct val="95000"/>
              </a:lnSpc>
              <a:spcBef>
                <a:spcPts val="840"/>
              </a:spcBef>
              <a:buFont typeface="Arial" pitchFamily="34" charset="0"/>
              <a:buNone/>
              <a:defRPr lang="en-US" sz="1600" b="0" i="0" kern="1200" dirty="0" smtClean="0">
                <a:solidFill>
                  <a:srgbClr val="546568"/>
                </a:solidFill>
                <a:latin typeface="Arial"/>
                <a:ea typeface="+mn-ea"/>
                <a:cs typeface="Arial"/>
              </a:defRPr>
            </a:lvl3pPr>
            <a:lvl4pPr marL="688975" indent="0" algn="l" defTabSz="914400" rtl="0" eaLnBrk="1" latinLnBrk="0" hangingPunct="1">
              <a:lnSpc>
                <a:spcPct val="95000"/>
              </a:lnSpc>
              <a:spcBef>
                <a:spcPts val="840"/>
              </a:spcBef>
              <a:buFont typeface="Arial" pitchFamily="34" charset="0"/>
              <a:buNone/>
              <a:defRPr lang="en-US" sz="1400" b="0" i="0" kern="1200" dirty="0" smtClean="0">
                <a:solidFill>
                  <a:srgbClr val="546568"/>
                </a:solidFill>
                <a:latin typeface="Arial"/>
                <a:ea typeface="+mn-ea"/>
                <a:cs typeface="Arial"/>
              </a:defRPr>
            </a:lvl4pPr>
            <a:lvl5pPr marL="801688" indent="0" algn="l" defTabSz="914400" rtl="0" eaLnBrk="1" latinLnBrk="0" hangingPunct="1">
              <a:lnSpc>
                <a:spcPct val="95000"/>
              </a:lnSpc>
              <a:spcBef>
                <a:spcPts val="840"/>
              </a:spcBef>
              <a:buFont typeface="Arial" pitchFamily="34" charset="0"/>
              <a:buNone/>
              <a:defRPr lang="en-US" sz="1400" b="0" i="0" kern="1200" dirty="0">
                <a:solidFill>
                  <a:srgbClr val="546568"/>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ja-JP" altLang="en-US" sz="1200" dirty="0">
                <a:latin typeface="メイリオ"/>
                <a:ea typeface="メイリオ"/>
                <a:cs typeface="メイリオ"/>
              </a:rPr>
              <a:t>あらゆる機能を備えたクラウドマネージ型ネットワーキング ソリューション</a:t>
            </a:r>
          </a:p>
          <a:p>
            <a:pPr lvl="1"/>
            <a:r>
              <a:rPr lang="ja-JP" altLang="en-US" sz="1050" dirty="0">
                <a:solidFill>
                  <a:schemeClr val="bg1">
                    <a:lumMod val="50000"/>
                  </a:schemeClr>
                </a:solidFill>
                <a:latin typeface="メイリオ"/>
                <a:ea typeface="メイリオ"/>
                <a:cs typeface="メイリオ"/>
              </a:rPr>
              <a:t>ワイヤレス、スイッチング、セキュリティ、</a:t>
            </a:r>
            <a:r>
              <a:rPr lang="en-US" altLang="ja-JP" sz="1050" dirty="0">
                <a:solidFill>
                  <a:schemeClr val="bg1">
                    <a:lumMod val="50000"/>
                  </a:schemeClr>
                </a:solidFill>
                <a:latin typeface="メイリオ"/>
                <a:ea typeface="メイリオ"/>
                <a:cs typeface="メイリオ"/>
              </a:rPr>
              <a:t>MDM</a:t>
            </a:r>
          </a:p>
          <a:p>
            <a:pPr lvl="1"/>
            <a:r>
              <a:rPr lang="ja-JP" altLang="en-US" sz="1050" dirty="0">
                <a:solidFill>
                  <a:schemeClr val="bg1">
                    <a:lumMod val="50000"/>
                  </a:schemeClr>
                </a:solidFill>
                <a:latin typeface="メイリオ"/>
                <a:ea typeface="メイリオ"/>
                <a:cs typeface="メイリオ"/>
              </a:rPr>
              <a:t>総合的なハードウェア、ソフトウェア、クラウド サービス</a:t>
            </a:r>
            <a:endParaRPr lang="ja-JP" altLang="en-US" sz="1100" dirty="0">
              <a:solidFill>
                <a:schemeClr val="bg1">
                  <a:lumMod val="50000"/>
                </a:schemeClr>
              </a:solidFill>
              <a:latin typeface="メイリオ"/>
              <a:ea typeface="メイリオ"/>
              <a:cs typeface="メイリオ"/>
            </a:endParaRPr>
          </a:p>
          <a:p>
            <a:pPr>
              <a:spcBef>
                <a:spcPts val="1800"/>
              </a:spcBef>
            </a:pPr>
            <a:r>
              <a:rPr lang="ja-JP" altLang="en-US" sz="1200" dirty="0">
                <a:latin typeface="メイリオ"/>
                <a:ea typeface="メイリオ"/>
                <a:cs typeface="メイリオ"/>
              </a:rPr>
              <a:t>クラウドマネージ型ネットワーキングのリーダー</a:t>
            </a:r>
          </a:p>
          <a:p>
            <a:pPr lvl="1"/>
            <a:r>
              <a:rPr lang="ja-JP" altLang="en-US" sz="1050" dirty="0">
                <a:solidFill>
                  <a:srgbClr val="7F7F7F"/>
                </a:solidFill>
                <a:latin typeface="メイリオ"/>
                <a:ea typeface="メイリオ"/>
                <a:cs typeface="メイリオ"/>
              </a:rPr>
              <a:t>シスコで最も急成長を遂げているポートフォリオの </a:t>
            </a:r>
            <a:r>
              <a:rPr lang="en-US" altLang="ja-JP" sz="1050" dirty="0">
                <a:solidFill>
                  <a:srgbClr val="7F7F7F"/>
                </a:solidFill>
                <a:latin typeface="メイリオ"/>
                <a:ea typeface="メイリオ"/>
                <a:cs typeface="メイリオ"/>
              </a:rPr>
              <a:t>1 </a:t>
            </a:r>
            <a:r>
              <a:rPr lang="ja-JP" altLang="en-US" sz="1050" dirty="0">
                <a:solidFill>
                  <a:srgbClr val="7F7F7F"/>
                </a:solidFill>
                <a:latin typeface="メイリオ"/>
                <a:ea typeface="メイリオ"/>
                <a:cs typeface="メイリオ"/>
              </a:rPr>
              <a:t>つ</a:t>
            </a:r>
          </a:p>
          <a:p>
            <a:pPr lvl="1"/>
            <a:r>
              <a:rPr lang="ja-JP" altLang="en-US" sz="1050" dirty="0">
                <a:solidFill>
                  <a:srgbClr val="7F7F7F"/>
                </a:solidFill>
                <a:latin typeface="メイリオ"/>
                <a:ea typeface="メイリオ"/>
                <a:cs typeface="メイリオ"/>
              </a:rPr>
              <a:t>年間成長率 </a:t>
            </a:r>
            <a:r>
              <a:rPr lang="en-US" altLang="ja-JP" sz="1050" dirty="0">
                <a:solidFill>
                  <a:srgbClr val="7F7F7F"/>
                </a:solidFill>
                <a:latin typeface="メイリオ"/>
                <a:ea typeface="メイリオ"/>
                <a:cs typeface="メイリオ"/>
              </a:rPr>
              <a:t>100 % </a:t>
            </a:r>
            <a:r>
              <a:rPr lang="ja-JP" altLang="en-US" sz="1050" dirty="0">
                <a:solidFill>
                  <a:srgbClr val="7F7F7F"/>
                </a:solidFill>
                <a:latin typeface="メイリオ"/>
                <a:ea typeface="メイリオ"/>
                <a:cs typeface="メイリオ"/>
              </a:rPr>
              <a:t>以上</a:t>
            </a:r>
          </a:p>
          <a:p>
            <a:pPr lvl="1"/>
            <a:r>
              <a:rPr lang="ja-JP" altLang="en-US" sz="1050" dirty="0">
                <a:solidFill>
                  <a:srgbClr val="7F7F7F"/>
                </a:solidFill>
                <a:latin typeface="メイリオ"/>
                <a:ea typeface="メイリオ"/>
                <a:cs typeface="メイリオ"/>
              </a:rPr>
              <a:t>世界中で数千万台のデバイスが接続</a:t>
            </a:r>
          </a:p>
          <a:p>
            <a:pPr>
              <a:spcBef>
                <a:spcPts val="1800"/>
              </a:spcBef>
            </a:pPr>
            <a:r>
              <a:rPr lang="ja-JP" altLang="en-US" sz="1200" dirty="0">
                <a:latin typeface="メイリオ"/>
                <a:ea typeface="メイリオ"/>
                <a:cs typeface="メイリオ"/>
              </a:rPr>
              <a:t>技術革新に対する実績</a:t>
            </a:r>
          </a:p>
          <a:p>
            <a:pPr lvl="1"/>
            <a:r>
              <a:rPr lang="ja-JP" altLang="en-US" sz="1050" dirty="0">
                <a:solidFill>
                  <a:srgbClr val="7F7F7F"/>
                </a:solidFill>
                <a:latin typeface="メイリオ"/>
                <a:ea typeface="メイリオ"/>
                <a:cs typeface="メイリオ"/>
              </a:rPr>
              <a:t>ガートナー社のマジック クアドラント</a:t>
            </a:r>
          </a:p>
          <a:p>
            <a:pPr lvl="1"/>
            <a:r>
              <a:rPr lang="en-US" altLang="ja-JP" sz="1050" dirty="0">
                <a:solidFill>
                  <a:srgbClr val="7F7F7F"/>
                </a:solidFill>
                <a:latin typeface="メイリオ"/>
                <a:ea typeface="メイリオ"/>
                <a:cs typeface="メイリオ"/>
              </a:rPr>
              <a:t>InfoWorld Technology of the Year</a:t>
            </a:r>
          </a:p>
          <a:p>
            <a:pPr lvl="1"/>
            <a:r>
              <a:rPr lang="en-US" altLang="ja-JP" sz="1050" dirty="0">
                <a:solidFill>
                  <a:srgbClr val="7F7F7F"/>
                </a:solidFill>
                <a:latin typeface="メイリオ"/>
                <a:ea typeface="メイリオ"/>
                <a:cs typeface="メイリオ"/>
              </a:rPr>
              <a:t>CRN Coolest Technologies</a:t>
            </a:r>
          </a:p>
        </p:txBody>
      </p:sp>
      <p:pic>
        <p:nvPicPr>
          <p:cNvPr id="4" name="Picture 3" descr="Benetton-grayscale.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5377" y="4487446"/>
            <a:ext cx="8523070" cy="611117"/>
          </a:xfrm>
          <a:prstGeom prst="rect">
            <a:avLst/>
          </a:prstGeom>
        </p:spPr>
      </p:pic>
    </p:spTree>
    <p:extLst>
      <p:ext uri="{BB962C8B-B14F-4D97-AF65-F5344CB8AC3E}">
        <p14:creationId xmlns:p14="http://schemas.microsoft.com/office/powerpoint/2010/main" val="543512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t="13569"/>
          <a:stretch/>
        </p:blipFill>
        <p:spPr>
          <a:xfrm>
            <a:off x="431483" y="2486026"/>
            <a:ext cx="8281035" cy="2066924"/>
          </a:xfrm>
          <a:prstGeom prst="rect">
            <a:avLst/>
          </a:prstGeom>
        </p:spPr>
      </p:pic>
      <p:graphicFrame>
        <p:nvGraphicFramePr>
          <p:cNvPr id="8" name="Object 7"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10" name="think-cell Slide" r:id="rId6" imgW="378" imgH="379" progId="TCLayout.ActiveDocument.1">
                  <p:embed/>
                </p:oleObj>
              </mc:Choice>
              <mc:Fallback>
                <p:oleObj name="think-cell Slide" r:id="rId6" imgW="378" imgH="379" progId="TCLayout.ActiveDocument.1">
                  <p:embed/>
                  <p:pic>
                    <p:nvPicPr>
                      <p:cNvPr id="0" name=""/>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5" name="Title 4"/>
          <p:cNvSpPr>
            <a:spLocks noGrp="1"/>
          </p:cNvSpPr>
          <p:nvPr>
            <p:ph type="title"/>
          </p:nvPr>
        </p:nvSpPr>
        <p:spPr>
          <a:xfrm>
            <a:off x="431483" y="497567"/>
            <a:ext cx="8277608" cy="443295"/>
          </a:xfrm>
        </p:spPr>
        <p:txBody>
          <a:bodyPr/>
          <a:lstStyle/>
          <a:p>
            <a:pPr algn="ctr"/>
            <a:r>
              <a:rPr lang="en-US" altLang="ja-JP" sz="2800" b="1" dirty="0" smtClean="0">
                <a:latin typeface="メイリオ"/>
                <a:ea typeface="メイリオ"/>
                <a:cs typeface="メイリオ"/>
              </a:rPr>
              <a:t>Cisco</a:t>
            </a:r>
            <a:r>
              <a:rPr lang="ja-JP" altLang="en-US" sz="2800" b="1" dirty="0" smtClean="0">
                <a:latin typeface="メイリオ"/>
                <a:ea typeface="メイリオ"/>
                <a:cs typeface="メイリオ"/>
              </a:rPr>
              <a:t> </a:t>
            </a:r>
            <a:r>
              <a:rPr lang="en-US" sz="2800" b="1" dirty="0" smtClean="0">
                <a:latin typeface="メイリオ"/>
                <a:ea typeface="メイリオ"/>
                <a:cs typeface="メイリオ"/>
              </a:rPr>
              <a:t>Defense </a:t>
            </a:r>
            <a:r>
              <a:rPr lang="en-US" sz="2800" b="1" dirty="0" smtClean="0">
                <a:latin typeface="メイリオ"/>
                <a:ea typeface="メイリオ"/>
                <a:cs typeface="メイリオ"/>
              </a:rPr>
              <a:t>Orchestrator</a:t>
            </a:r>
            <a:r>
              <a:rPr lang="ja-JP" altLang="en-US" sz="2800" b="1" dirty="0" smtClean="0">
                <a:latin typeface="メイリオ"/>
                <a:ea typeface="メイリオ"/>
                <a:cs typeface="メイリオ"/>
              </a:rPr>
              <a:t> </a:t>
            </a:r>
            <a:r>
              <a:rPr lang="ja-JP" altLang="en-US" sz="2800" b="1" dirty="0" smtClean="0"/>
              <a:t>まとめ</a:t>
            </a:r>
            <a:r>
              <a:rPr lang="en-US" sz="2800" b="1" dirty="0" smtClean="0"/>
              <a:t> </a:t>
            </a:r>
            <a:endParaRPr lang="en-US" sz="2800" dirty="0">
              <a:latin typeface="メイリオ"/>
              <a:ea typeface="メイリオ"/>
              <a:cs typeface="メイリオ"/>
            </a:endParaRPr>
          </a:p>
        </p:txBody>
      </p:sp>
      <p:sp>
        <p:nvSpPr>
          <p:cNvPr id="104" name="Rectangle 103"/>
          <p:cNvSpPr/>
          <p:nvPr/>
        </p:nvSpPr>
        <p:spPr>
          <a:xfrm>
            <a:off x="434999" y="1495734"/>
            <a:ext cx="2676911" cy="837412"/>
          </a:xfrm>
          <a:prstGeom prst="rect">
            <a:avLst/>
          </a:prstGeom>
          <a:solidFill>
            <a:schemeClr val="accent1"/>
          </a:solidFill>
          <a:ln w="25400" cap="flat" cmpd="sng" algn="ctr">
            <a:noFill/>
            <a:prstDash val="solid"/>
          </a:ln>
          <a:effectLst/>
        </p:spPr>
        <p:txBody>
          <a:bodyPr lIns="34290" tIns="205740" rIns="34290" bIns="34290" rtlCol="0" anchor="t"/>
          <a:lstStyle/>
          <a:p>
            <a:pPr algn="ctr" defTabSz="685800" fontAlgn="auto">
              <a:spcBef>
                <a:spcPts val="0"/>
              </a:spcBef>
              <a:spcAft>
                <a:spcPts val="0"/>
              </a:spcAft>
              <a:defRPr/>
            </a:pPr>
            <a:r>
              <a:rPr lang="ja-JP" altLang="en-US" sz="2000" b="1" kern="0" dirty="0" smtClean="0">
                <a:solidFill>
                  <a:schemeClr val="bg1"/>
                </a:solidFill>
                <a:latin typeface="メイリオ"/>
                <a:ea typeface="メイリオ"/>
                <a:cs typeface="メイリオ"/>
              </a:rPr>
              <a:t>シンプル</a:t>
            </a:r>
            <a:endParaRPr lang="en-US" sz="2000" b="1" kern="0" dirty="0">
              <a:solidFill>
                <a:schemeClr val="bg1"/>
              </a:solidFill>
              <a:latin typeface="メイリオ"/>
              <a:ea typeface="メイリオ"/>
              <a:cs typeface="メイリオ"/>
            </a:endParaRPr>
          </a:p>
          <a:p>
            <a:pPr algn="ctr">
              <a:defRPr/>
            </a:pPr>
            <a:r>
              <a:rPr lang="ja-JP" altLang="en-US" sz="1050" b="1" kern="0" dirty="0" smtClean="0">
                <a:solidFill>
                  <a:schemeClr val="bg1"/>
                </a:solidFill>
                <a:latin typeface="メイリオ"/>
                <a:ea typeface="メイリオ"/>
                <a:cs typeface="メイリオ"/>
              </a:rPr>
              <a:t>セキュリティポリシーと</a:t>
            </a:r>
            <a:r>
              <a:rPr lang="ja-JP" altLang="en-US" sz="1050" b="1" kern="0" dirty="0">
                <a:solidFill>
                  <a:schemeClr val="bg1"/>
                </a:solidFill>
                <a:latin typeface="メイリオ"/>
                <a:ea typeface="メイリオ"/>
                <a:cs typeface="メイリオ"/>
              </a:rPr>
              <a:t>次世代防御の管理</a:t>
            </a:r>
            <a:r>
              <a:rPr lang="ja-JP" altLang="en-US" sz="1050" b="1" kern="0" dirty="0" smtClean="0">
                <a:solidFill>
                  <a:schemeClr val="bg1"/>
                </a:solidFill>
                <a:latin typeface="メイリオ"/>
                <a:ea typeface="メイリオ"/>
                <a:cs typeface="メイリオ"/>
              </a:rPr>
              <a:t>を合理化</a:t>
            </a:r>
            <a:endParaRPr lang="en-US" sz="1050" b="1" kern="0" dirty="0">
              <a:solidFill>
                <a:schemeClr val="bg1"/>
              </a:solidFill>
              <a:latin typeface="メイリオ"/>
              <a:ea typeface="メイリオ"/>
              <a:cs typeface="メイリオ"/>
            </a:endParaRPr>
          </a:p>
        </p:txBody>
      </p:sp>
      <p:sp>
        <p:nvSpPr>
          <p:cNvPr id="67" name="Rectangle 66"/>
          <p:cNvSpPr/>
          <p:nvPr/>
        </p:nvSpPr>
        <p:spPr>
          <a:xfrm>
            <a:off x="6033885" y="1495734"/>
            <a:ext cx="2681490" cy="837412"/>
          </a:xfrm>
          <a:prstGeom prst="rect">
            <a:avLst/>
          </a:prstGeom>
          <a:solidFill>
            <a:schemeClr val="accent1"/>
          </a:solidFill>
          <a:ln w="25400" cap="flat" cmpd="sng" algn="ctr">
            <a:noFill/>
            <a:prstDash val="solid"/>
          </a:ln>
          <a:effectLst/>
        </p:spPr>
        <p:txBody>
          <a:bodyPr lIns="34290" tIns="205740" rIns="34290" bIns="34290" rtlCol="0" anchor="t"/>
          <a:lstStyle/>
          <a:p>
            <a:pPr algn="ctr" defTabSz="685800" fontAlgn="auto">
              <a:spcBef>
                <a:spcPts val="0"/>
              </a:spcBef>
              <a:spcAft>
                <a:spcPts val="0"/>
              </a:spcAft>
              <a:defRPr/>
            </a:pPr>
            <a:r>
              <a:rPr lang="ja-JP" altLang="en-US" sz="2000" b="1" kern="0" dirty="0" smtClean="0">
                <a:solidFill>
                  <a:schemeClr val="bg1"/>
                </a:solidFill>
                <a:latin typeface="メイリオ"/>
                <a:ea typeface="メイリオ"/>
                <a:cs typeface="メイリオ"/>
              </a:rPr>
              <a:t>効果的</a:t>
            </a:r>
            <a:endParaRPr lang="en-US" sz="2000" b="1" kern="0" dirty="0">
              <a:solidFill>
                <a:schemeClr val="bg1"/>
              </a:solidFill>
              <a:latin typeface="メイリオ"/>
              <a:ea typeface="メイリオ"/>
              <a:cs typeface="メイリオ"/>
            </a:endParaRPr>
          </a:p>
          <a:p>
            <a:pPr algn="ctr" defTabSz="685800" fontAlgn="auto">
              <a:spcBef>
                <a:spcPts val="0"/>
              </a:spcBef>
              <a:spcAft>
                <a:spcPts val="0"/>
              </a:spcAft>
              <a:defRPr/>
            </a:pPr>
            <a:r>
              <a:rPr lang="ja-JP" altLang="en-US" sz="1050" b="1" kern="0" dirty="0" smtClean="0">
                <a:solidFill>
                  <a:schemeClr val="bg1"/>
                </a:solidFill>
                <a:latin typeface="メイリオ"/>
                <a:ea typeface="メイリオ"/>
                <a:cs typeface="メイリオ"/>
              </a:rPr>
              <a:t>複雑なことなしでよりよいセキュリティを実現</a:t>
            </a:r>
            <a:endParaRPr lang="en-US" sz="1050" b="1" kern="0" dirty="0">
              <a:solidFill>
                <a:schemeClr val="bg1"/>
              </a:solidFill>
              <a:latin typeface="メイリオ"/>
              <a:ea typeface="メイリオ"/>
              <a:cs typeface="メイリオ"/>
            </a:endParaRPr>
          </a:p>
        </p:txBody>
      </p:sp>
      <p:sp>
        <p:nvSpPr>
          <p:cNvPr id="79" name="Rectangle 78"/>
          <p:cNvSpPr/>
          <p:nvPr/>
        </p:nvSpPr>
        <p:spPr>
          <a:xfrm>
            <a:off x="3178628" y="1495734"/>
            <a:ext cx="2788539" cy="837412"/>
          </a:xfrm>
          <a:prstGeom prst="rect">
            <a:avLst/>
          </a:prstGeom>
          <a:solidFill>
            <a:schemeClr val="accent1"/>
          </a:solidFill>
          <a:ln w="25400" cap="flat" cmpd="sng" algn="ctr">
            <a:noFill/>
            <a:prstDash val="solid"/>
          </a:ln>
          <a:effectLst/>
        </p:spPr>
        <p:txBody>
          <a:bodyPr lIns="34290" tIns="205740" rIns="34290" bIns="34290" rtlCol="0" anchor="t"/>
          <a:lstStyle/>
          <a:p>
            <a:pPr lvl="0" algn="ctr">
              <a:defRPr/>
            </a:pPr>
            <a:r>
              <a:rPr lang="ja-JP" altLang="en-US" sz="2000" b="1" kern="0" dirty="0" smtClean="0">
                <a:solidFill>
                  <a:schemeClr val="bg1"/>
                </a:solidFill>
                <a:latin typeface="メイリオ"/>
                <a:ea typeface="メイリオ"/>
                <a:cs typeface="メイリオ"/>
              </a:rPr>
              <a:t>効率的</a:t>
            </a:r>
          </a:p>
          <a:p>
            <a:pPr algn="ctr" defTabSz="685800" fontAlgn="auto">
              <a:spcBef>
                <a:spcPts val="0"/>
              </a:spcBef>
              <a:spcAft>
                <a:spcPts val="0"/>
              </a:spcAft>
              <a:defRPr/>
            </a:pPr>
            <a:r>
              <a:rPr lang="ja-JP" altLang="en-US" sz="1050" b="1" kern="0" dirty="0" smtClean="0">
                <a:solidFill>
                  <a:schemeClr val="bg1"/>
                </a:solidFill>
                <a:latin typeface="メイリオ"/>
                <a:ea typeface="メイリオ"/>
                <a:cs typeface="メイリオ"/>
              </a:rPr>
              <a:t>管理範囲を拡大</a:t>
            </a:r>
            <a:endParaRPr lang="en-US" sz="1050" b="1" kern="0" dirty="0">
              <a:solidFill>
                <a:schemeClr val="bg1"/>
              </a:solidFill>
              <a:latin typeface="メイリオ"/>
              <a:ea typeface="メイリオ"/>
              <a:cs typeface="メイリオ"/>
            </a:endParaRPr>
          </a:p>
        </p:txBody>
      </p:sp>
      <p:sp>
        <p:nvSpPr>
          <p:cNvPr id="7" name="Oval 6"/>
          <p:cNvSpPr/>
          <p:nvPr/>
        </p:nvSpPr>
        <p:spPr>
          <a:xfrm>
            <a:off x="1411103" y="988353"/>
            <a:ext cx="720125" cy="720125"/>
          </a:xfrm>
          <a:prstGeom prst="ellipse">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メイリオ"/>
              <a:ea typeface="メイリオ"/>
              <a:cs typeface="メイリオ"/>
            </a:endParaRPr>
          </a:p>
        </p:txBody>
      </p:sp>
      <p:sp>
        <p:nvSpPr>
          <p:cNvPr id="26" name="Oval 25"/>
          <p:cNvSpPr/>
          <p:nvPr/>
        </p:nvSpPr>
        <p:spPr>
          <a:xfrm>
            <a:off x="4212836" y="988353"/>
            <a:ext cx="720125" cy="720125"/>
          </a:xfrm>
          <a:prstGeom prst="ellipse">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メイリオ"/>
              <a:ea typeface="メイリオ"/>
              <a:cs typeface="メイリオ"/>
            </a:endParaRPr>
          </a:p>
        </p:txBody>
      </p:sp>
      <p:sp>
        <p:nvSpPr>
          <p:cNvPr id="27" name="Oval 26"/>
          <p:cNvSpPr/>
          <p:nvPr/>
        </p:nvSpPr>
        <p:spPr>
          <a:xfrm>
            <a:off x="7014568" y="988353"/>
            <a:ext cx="720125" cy="720125"/>
          </a:xfrm>
          <a:prstGeom prst="ellipse">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メイリオ"/>
              <a:ea typeface="メイリオ"/>
              <a:cs typeface="メイリオ"/>
            </a:endParaRPr>
          </a:p>
        </p:txBody>
      </p:sp>
      <p:sp>
        <p:nvSpPr>
          <p:cNvPr id="37" name="Freeform 36"/>
          <p:cNvSpPr/>
          <p:nvPr/>
        </p:nvSpPr>
        <p:spPr bwMode="auto">
          <a:xfrm flipH="1">
            <a:off x="4306357" y="1093132"/>
            <a:ext cx="543577" cy="297447"/>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accent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defTabSz="685800" eaLnBrk="0" hangingPunct="0">
              <a:defRPr/>
            </a:pPr>
            <a:endParaRPr lang="en-US" sz="1600" kern="0">
              <a:solidFill>
                <a:srgbClr val="505050"/>
              </a:solidFill>
              <a:latin typeface="メイリオ"/>
              <a:ea typeface="メイリオ"/>
              <a:cs typeface="メイリオ"/>
            </a:endParaRPr>
          </a:p>
        </p:txBody>
      </p:sp>
      <p:sp>
        <p:nvSpPr>
          <p:cNvPr id="18" name="Freeform 90"/>
          <p:cNvSpPr>
            <a:spLocks noEditPoints="1"/>
          </p:cNvSpPr>
          <p:nvPr/>
        </p:nvSpPr>
        <p:spPr bwMode="auto">
          <a:xfrm>
            <a:off x="1580169" y="1174850"/>
            <a:ext cx="420082" cy="313454"/>
          </a:xfrm>
          <a:custGeom>
            <a:avLst/>
            <a:gdLst>
              <a:gd name="T0" fmla="*/ 8 w 208"/>
              <a:gd name="T1" fmla="*/ 0 h 156"/>
              <a:gd name="T2" fmla="*/ 149 w 208"/>
              <a:gd name="T3" fmla="*/ 0 h 156"/>
              <a:gd name="T4" fmla="*/ 156 w 208"/>
              <a:gd name="T5" fmla="*/ 0 h 156"/>
              <a:gd name="T6" fmla="*/ 156 w 208"/>
              <a:gd name="T7" fmla="*/ 8 h 156"/>
              <a:gd name="T8" fmla="*/ 156 w 208"/>
              <a:gd name="T9" fmla="*/ 23 h 156"/>
              <a:gd name="T10" fmla="*/ 141 w 208"/>
              <a:gd name="T11" fmla="*/ 39 h 156"/>
              <a:gd name="T12" fmla="*/ 141 w 208"/>
              <a:gd name="T13" fmla="*/ 15 h 156"/>
              <a:gd name="T14" fmla="*/ 15 w 208"/>
              <a:gd name="T15" fmla="*/ 15 h 156"/>
              <a:gd name="T16" fmla="*/ 15 w 208"/>
              <a:gd name="T17" fmla="*/ 141 h 156"/>
              <a:gd name="T18" fmla="*/ 141 w 208"/>
              <a:gd name="T19" fmla="*/ 141 h 156"/>
              <a:gd name="T20" fmla="*/ 141 w 208"/>
              <a:gd name="T21" fmla="*/ 122 h 156"/>
              <a:gd name="T22" fmla="*/ 156 w 208"/>
              <a:gd name="T23" fmla="*/ 105 h 156"/>
              <a:gd name="T24" fmla="*/ 156 w 208"/>
              <a:gd name="T25" fmla="*/ 148 h 156"/>
              <a:gd name="T26" fmla="*/ 156 w 208"/>
              <a:gd name="T27" fmla="*/ 156 h 156"/>
              <a:gd name="T28" fmla="*/ 149 w 208"/>
              <a:gd name="T29" fmla="*/ 156 h 156"/>
              <a:gd name="T30" fmla="*/ 8 w 208"/>
              <a:gd name="T31" fmla="*/ 156 h 156"/>
              <a:gd name="T32" fmla="*/ 0 w 208"/>
              <a:gd name="T33" fmla="*/ 156 h 156"/>
              <a:gd name="T34" fmla="*/ 0 w 208"/>
              <a:gd name="T35" fmla="*/ 148 h 156"/>
              <a:gd name="T36" fmla="*/ 0 w 208"/>
              <a:gd name="T37" fmla="*/ 8 h 156"/>
              <a:gd name="T38" fmla="*/ 0 w 208"/>
              <a:gd name="T39" fmla="*/ 0 h 156"/>
              <a:gd name="T40" fmla="*/ 8 w 208"/>
              <a:gd name="T41" fmla="*/ 0 h 156"/>
              <a:gd name="T42" fmla="*/ 62 w 208"/>
              <a:gd name="T43" fmla="*/ 70 h 156"/>
              <a:gd name="T44" fmla="*/ 103 w 208"/>
              <a:gd name="T45" fmla="*/ 119 h 156"/>
              <a:gd name="T46" fmla="*/ 119 w 208"/>
              <a:gd name="T47" fmla="*/ 121 h 156"/>
              <a:gd name="T48" fmla="*/ 121 w 208"/>
              <a:gd name="T49" fmla="*/ 120 h 156"/>
              <a:gd name="T50" fmla="*/ 121 w 208"/>
              <a:gd name="T51" fmla="*/ 120 h 156"/>
              <a:gd name="T52" fmla="*/ 204 w 208"/>
              <a:gd name="T53" fmla="*/ 30 h 156"/>
              <a:gd name="T54" fmla="*/ 203 w 208"/>
              <a:gd name="T55" fmla="*/ 13 h 156"/>
              <a:gd name="T56" fmla="*/ 186 w 208"/>
              <a:gd name="T57" fmla="*/ 14 h 156"/>
              <a:gd name="T58" fmla="*/ 112 w 208"/>
              <a:gd name="T59" fmla="*/ 94 h 156"/>
              <a:gd name="T60" fmla="*/ 80 w 208"/>
              <a:gd name="T61" fmla="*/ 55 h 156"/>
              <a:gd name="T62" fmla="*/ 63 w 208"/>
              <a:gd name="T63" fmla="*/ 54 h 156"/>
              <a:gd name="T64" fmla="*/ 62 w 208"/>
              <a:gd name="T65" fmla="*/ 7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8" h="156">
                <a:moveTo>
                  <a:pt x="8" y="0"/>
                </a:moveTo>
                <a:cubicBezTo>
                  <a:pt x="149" y="0"/>
                  <a:pt x="149" y="0"/>
                  <a:pt x="149" y="0"/>
                </a:cubicBezTo>
                <a:cubicBezTo>
                  <a:pt x="156" y="0"/>
                  <a:pt x="156" y="0"/>
                  <a:pt x="156" y="0"/>
                </a:cubicBezTo>
                <a:cubicBezTo>
                  <a:pt x="156" y="8"/>
                  <a:pt x="156" y="8"/>
                  <a:pt x="156" y="8"/>
                </a:cubicBezTo>
                <a:cubicBezTo>
                  <a:pt x="156" y="23"/>
                  <a:pt x="156" y="23"/>
                  <a:pt x="156" y="23"/>
                </a:cubicBezTo>
                <a:cubicBezTo>
                  <a:pt x="141" y="39"/>
                  <a:pt x="141" y="39"/>
                  <a:pt x="141" y="39"/>
                </a:cubicBezTo>
                <a:cubicBezTo>
                  <a:pt x="141" y="15"/>
                  <a:pt x="141" y="15"/>
                  <a:pt x="141" y="15"/>
                </a:cubicBezTo>
                <a:cubicBezTo>
                  <a:pt x="15" y="15"/>
                  <a:pt x="15" y="15"/>
                  <a:pt x="15" y="15"/>
                </a:cubicBezTo>
                <a:cubicBezTo>
                  <a:pt x="15" y="141"/>
                  <a:pt x="15" y="141"/>
                  <a:pt x="15" y="141"/>
                </a:cubicBezTo>
                <a:cubicBezTo>
                  <a:pt x="141" y="141"/>
                  <a:pt x="141" y="141"/>
                  <a:pt x="141" y="141"/>
                </a:cubicBezTo>
                <a:cubicBezTo>
                  <a:pt x="141" y="122"/>
                  <a:pt x="141" y="122"/>
                  <a:pt x="141" y="122"/>
                </a:cubicBezTo>
                <a:cubicBezTo>
                  <a:pt x="156" y="105"/>
                  <a:pt x="156" y="105"/>
                  <a:pt x="156" y="105"/>
                </a:cubicBezTo>
                <a:cubicBezTo>
                  <a:pt x="156" y="148"/>
                  <a:pt x="156" y="148"/>
                  <a:pt x="156" y="148"/>
                </a:cubicBezTo>
                <a:cubicBezTo>
                  <a:pt x="156" y="156"/>
                  <a:pt x="156" y="156"/>
                  <a:pt x="156" y="156"/>
                </a:cubicBezTo>
                <a:cubicBezTo>
                  <a:pt x="149" y="156"/>
                  <a:pt x="149" y="156"/>
                  <a:pt x="149" y="156"/>
                </a:cubicBezTo>
                <a:cubicBezTo>
                  <a:pt x="8" y="156"/>
                  <a:pt x="8" y="156"/>
                  <a:pt x="8" y="156"/>
                </a:cubicBezTo>
                <a:cubicBezTo>
                  <a:pt x="0" y="156"/>
                  <a:pt x="0" y="156"/>
                  <a:pt x="0" y="156"/>
                </a:cubicBezTo>
                <a:cubicBezTo>
                  <a:pt x="0" y="148"/>
                  <a:pt x="0" y="148"/>
                  <a:pt x="0" y="148"/>
                </a:cubicBezTo>
                <a:cubicBezTo>
                  <a:pt x="0" y="8"/>
                  <a:pt x="0" y="8"/>
                  <a:pt x="0" y="8"/>
                </a:cubicBezTo>
                <a:cubicBezTo>
                  <a:pt x="0" y="0"/>
                  <a:pt x="0" y="0"/>
                  <a:pt x="0" y="0"/>
                </a:cubicBezTo>
                <a:cubicBezTo>
                  <a:pt x="8" y="0"/>
                  <a:pt x="8" y="0"/>
                  <a:pt x="8" y="0"/>
                </a:cubicBezTo>
                <a:close/>
                <a:moveTo>
                  <a:pt x="62" y="70"/>
                </a:moveTo>
                <a:cubicBezTo>
                  <a:pt x="103" y="119"/>
                  <a:pt x="103" y="119"/>
                  <a:pt x="103" y="119"/>
                </a:cubicBezTo>
                <a:cubicBezTo>
                  <a:pt x="107" y="124"/>
                  <a:pt x="114" y="125"/>
                  <a:pt x="119" y="121"/>
                </a:cubicBezTo>
                <a:cubicBezTo>
                  <a:pt x="120" y="121"/>
                  <a:pt x="120" y="120"/>
                  <a:pt x="121" y="120"/>
                </a:cubicBezTo>
                <a:cubicBezTo>
                  <a:pt x="121" y="120"/>
                  <a:pt x="121" y="120"/>
                  <a:pt x="121" y="120"/>
                </a:cubicBezTo>
                <a:cubicBezTo>
                  <a:pt x="204" y="30"/>
                  <a:pt x="204" y="30"/>
                  <a:pt x="204" y="30"/>
                </a:cubicBezTo>
                <a:cubicBezTo>
                  <a:pt x="208" y="25"/>
                  <a:pt x="208" y="18"/>
                  <a:pt x="203" y="13"/>
                </a:cubicBezTo>
                <a:cubicBezTo>
                  <a:pt x="198" y="9"/>
                  <a:pt x="191" y="9"/>
                  <a:pt x="186" y="14"/>
                </a:cubicBezTo>
                <a:cubicBezTo>
                  <a:pt x="112" y="94"/>
                  <a:pt x="112" y="94"/>
                  <a:pt x="112" y="94"/>
                </a:cubicBezTo>
                <a:cubicBezTo>
                  <a:pt x="80" y="55"/>
                  <a:pt x="80" y="55"/>
                  <a:pt x="80" y="55"/>
                </a:cubicBezTo>
                <a:cubicBezTo>
                  <a:pt x="76" y="51"/>
                  <a:pt x="69" y="50"/>
                  <a:pt x="63" y="54"/>
                </a:cubicBezTo>
                <a:cubicBezTo>
                  <a:pt x="58" y="58"/>
                  <a:pt x="58" y="65"/>
                  <a:pt x="62" y="70"/>
                </a:cubicBezTo>
                <a:close/>
              </a:path>
            </a:pathLst>
          </a:custGeom>
          <a:solidFill>
            <a:srgbClr val="1A315D"/>
          </a:solidFill>
          <a:ln>
            <a:noFill/>
          </a:ln>
        </p:spPr>
        <p:txBody>
          <a:bodyPr vert="horz" wrap="square" lIns="68580" tIns="34290" rIns="68580" bIns="34290" numCol="1" anchor="t" anchorCtr="0" compatLnSpc="1">
            <a:prstTxWarp prst="textNoShape">
              <a:avLst/>
            </a:prstTxWarp>
          </a:bodyPr>
          <a:lstStyle/>
          <a:p>
            <a:endParaRPr lang="en-US" sz="2000">
              <a:latin typeface="メイリオ"/>
              <a:ea typeface="メイリオ"/>
              <a:cs typeface="メイリオ"/>
            </a:endParaRPr>
          </a:p>
        </p:txBody>
      </p:sp>
      <p:grpSp>
        <p:nvGrpSpPr>
          <p:cNvPr id="32" name="Group 8"/>
          <p:cNvGrpSpPr>
            <a:grpSpLocks noChangeAspect="1"/>
          </p:cNvGrpSpPr>
          <p:nvPr/>
        </p:nvGrpSpPr>
        <p:grpSpPr bwMode="auto">
          <a:xfrm>
            <a:off x="7155301" y="1114328"/>
            <a:ext cx="438658" cy="432473"/>
            <a:chOff x="887" y="1554"/>
            <a:chExt cx="4327" cy="4266"/>
          </a:xfrm>
          <a:solidFill>
            <a:srgbClr val="1A315D"/>
          </a:solidFill>
        </p:grpSpPr>
        <p:sp>
          <p:nvSpPr>
            <p:cNvPr id="34" name="Freeform 9"/>
            <p:cNvSpPr>
              <a:spLocks/>
            </p:cNvSpPr>
            <p:nvPr/>
          </p:nvSpPr>
          <p:spPr bwMode="auto">
            <a:xfrm>
              <a:off x="887" y="1554"/>
              <a:ext cx="4327" cy="4266"/>
            </a:xfrm>
            <a:custGeom>
              <a:avLst/>
              <a:gdLst>
                <a:gd name="T0" fmla="*/ 1765 w 1995"/>
                <a:gd name="T1" fmla="*/ 1003 h 1989"/>
                <a:gd name="T2" fmla="*/ 1628 w 1995"/>
                <a:gd name="T3" fmla="*/ 567 h 1989"/>
                <a:gd name="T4" fmla="*/ 1631 w 1995"/>
                <a:gd name="T5" fmla="*/ 527 h 1989"/>
                <a:gd name="T6" fmla="*/ 1719 w 1995"/>
                <a:gd name="T7" fmla="*/ 490 h 1989"/>
                <a:gd name="T8" fmla="*/ 1798 w 1995"/>
                <a:gd name="T9" fmla="*/ 485 h 1989"/>
                <a:gd name="T10" fmla="*/ 1824 w 1995"/>
                <a:gd name="T11" fmla="*/ 497 h 1989"/>
                <a:gd name="T12" fmla="*/ 1954 w 1995"/>
                <a:gd name="T13" fmla="*/ 841 h 1989"/>
                <a:gd name="T14" fmla="*/ 1810 w 1995"/>
                <a:gd name="T15" fmla="*/ 1538 h 1989"/>
                <a:gd name="T16" fmla="*/ 1217 w 1995"/>
                <a:gd name="T17" fmla="*/ 1958 h 1989"/>
                <a:gd name="T18" fmla="*/ 942 w 1995"/>
                <a:gd name="T19" fmla="*/ 1984 h 1989"/>
                <a:gd name="T20" fmla="*/ 478 w 1995"/>
                <a:gd name="T21" fmla="*/ 1840 h 1989"/>
                <a:gd name="T22" fmla="*/ 89 w 1995"/>
                <a:gd name="T23" fmla="*/ 1388 h 1989"/>
                <a:gd name="T24" fmla="*/ 15 w 1995"/>
                <a:gd name="T25" fmla="*/ 1088 h 1989"/>
                <a:gd name="T26" fmla="*/ 122 w 1995"/>
                <a:gd name="T27" fmla="*/ 557 h 1989"/>
                <a:gd name="T28" fmla="*/ 826 w 1995"/>
                <a:gd name="T29" fmla="*/ 43 h 1989"/>
                <a:gd name="T30" fmla="*/ 1500 w 1995"/>
                <a:gd name="T31" fmla="*/ 172 h 1989"/>
                <a:gd name="T32" fmla="*/ 1520 w 1995"/>
                <a:gd name="T33" fmla="*/ 214 h 1989"/>
                <a:gd name="T34" fmla="*/ 1514 w 1995"/>
                <a:gd name="T35" fmla="*/ 318 h 1989"/>
                <a:gd name="T36" fmla="*/ 1463 w 1995"/>
                <a:gd name="T37" fmla="*/ 386 h 1989"/>
                <a:gd name="T38" fmla="*/ 1444 w 1995"/>
                <a:gd name="T39" fmla="*/ 378 h 1989"/>
                <a:gd name="T40" fmla="*/ 1216 w 1995"/>
                <a:gd name="T41" fmla="*/ 265 h 1989"/>
                <a:gd name="T42" fmla="*/ 526 w 1995"/>
                <a:gd name="T43" fmla="*/ 387 h 1989"/>
                <a:gd name="T44" fmla="*/ 224 w 1995"/>
                <a:gd name="T45" fmla="*/ 887 h 1989"/>
                <a:gd name="T46" fmla="*/ 451 w 1995"/>
                <a:gd name="T47" fmla="*/ 1563 h 1989"/>
                <a:gd name="T48" fmla="*/ 873 w 1995"/>
                <a:gd name="T49" fmla="*/ 1773 h 1989"/>
                <a:gd name="T50" fmla="*/ 1497 w 1995"/>
                <a:gd name="T51" fmla="*/ 1592 h 1989"/>
                <a:gd name="T52" fmla="*/ 1754 w 1995"/>
                <a:gd name="T53" fmla="*/ 1136 h 1989"/>
                <a:gd name="T54" fmla="*/ 1765 w 1995"/>
                <a:gd name="T55" fmla="*/ 1003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95" h="1989">
                  <a:moveTo>
                    <a:pt x="1765" y="1003"/>
                  </a:moveTo>
                  <a:cubicBezTo>
                    <a:pt x="1764" y="843"/>
                    <a:pt x="1718" y="698"/>
                    <a:pt x="1628" y="567"/>
                  </a:cubicBezTo>
                  <a:cubicBezTo>
                    <a:pt x="1616" y="551"/>
                    <a:pt x="1619" y="542"/>
                    <a:pt x="1631" y="527"/>
                  </a:cubicBezTo>
                  <a:cubicBezTo>
                    <a:pt x="1655" y="499"/>
                    <a:pt x="1683" y="488"/>
                    <a:pt x="1719" y="490"/>
                  </a:cubicBezTo>
                  <a:cubicBezTo>
                    <a:pt x="1745" y="491"/>
                    <a:pt x="1772" y="488"/>
                    <a:pt x="1798" y="485"/>
                  </a:cubicBezTo>
                  <a:cubicBezTo>
                    <a:pt x="1811" y="483"/>
                    <a:pt x="1818" y="487"/>
                    <a:pt x="1824" y="497"/>
                  </a:cubicBezTo>
                  <a:cubicBezTo>
                    <a:pt x="1889" y="603"/>
                    <a:pt x="1934" y="718"/>
                    <a:pt x="1954" y="841"/>
                  </a:cubicBezTo>
                  <a:cubicBezTo>
                    <a:pt x="1995" y="1092"/>
                    <a:pt x="1949" y="1326"/>
                    <a:pt x="1810" y="1538"/>
                  </a:cubicBezTo>
                  <a:cubicBezTo>
                    <a:pt x="1668" y="1755"/>
                    <a:pt x="1469" y="1895"/>
                    <a:pt x="1217" y="1958"/>
                  </a:cubicBezTo>
                  <a:cubicBezTo>
                    <a:pt x="1127" y="1980"/>
                    <a:pt x="1035" y="1989"/>
                    <a:pt x="942" y="1984"/>
                  </a:cubicBezTo>
                  <a:cubicBezTo>
                    <a:pt x="775" y="1975"/>
                    <a:pt x="620" y="1928"/>
                    <a:pt x="478" y="1840"/>
                  </a:cubicBezTo>
                  <a:cubicBezTo>
                    <a:pt x="301" y="1730"/>
                    <a:pt x="171" y="1579"/>
                    <a:pt x="89" y="1388"/>
                  </a:cubicBezTo>
                  <a:cubicBezTo>
                    <a:pt x="48" y="1292"/>
                    <a:pt x="24" y="1192"/>
                    <a:pt x="15" y="1088"/>
                  </a:cubicBezTo>
                  <a:cubicBezTo>
                    <a:pt x="0" y="901"/>
                    <a:pt x="33" y="722"/>
                    <a:pt x="122" y="557"/>
                  </a:cubicBezTo>
                  <a:cubicBezTo>
                    <a:pt x="274" y="274"/>
                    <a:pt x="509" y="100"/>
                    <a:pt x="826" y="43"/>
                  </a:cubicBezTo>
                  <a:cubicBezTo>
                    <a:pt x="1066" y="0"/>
                    <a:pt x="1290" y="47"/>
                    <a:pt x="1500" y="172"/>
                  </a:cubicBezTo>
                  <a:cubicBezTo>
                    <a:pt x="1517" y="182"/>
                    <a:pt x="1524" y="192"/>
                    <a:pt x="1520" y="214"/>
                  </a:cubicBezTo>
                  <a:cubicBezTo>
                    <a:pt x="1514" y="248"/>
                    <a:pt x="1515" y="283"/>
                    <a:pt x="1514" y="318"/>
                  </a:cubicBezTo>
                  <a:cubicBezTo>
                    <a:pt x="1513" y="336"/>
                    <a:pt x="1479" y="381"/>
                    <a:pt x="1463" y="386"/>
                  </a:cubicBezTo>
                  <a:cubicBezTo>
                    <a:pt x="1455" y="389"/>
                    <a:pt x="1450" y="382"/>
                    <a:pt x="1444" y="378"/>
                  </a:cubicBezTo>
                  <a:cubicBezTo>
                    <a:pt x="1374" y="328"/>
                    <a:pt x="1299" y="289"/>
                    <a:pt x="1216" y="265"/>
                  </a:cubicBezTo>
                  <a:cubicBezTo>
                    <a:pt x="967" y="195"/>
                    <a:pt x="735" y="232"/>
                    <a:pt x="526" y="387"/>
                  </a:cubicBezTo>
                  <a:cubicBezTo>
                    <a:pt x="358" y="511"/>
                    <a:pt x="255" y="680"/>
                    <a:pt x="224" y="887"/>
                  </a:cubicBezTo>
                  <a:cubicBezTo>
                    <a:pt x="185" y="1149"/>
                    <a:pt x="262" y="1376"/>
                    <a:pt x="451" y="1563"/>
                  </a:cubicBezTo>
                  <a:cubicBezTo>
                    <a:pt x="568" y="1679"/>
                    <a:pt x="710" y="1750"/>
                    <a:pt x="873" y="1773"/>
                  </a:cubicBezTo>
                  <a:cubicBezTo>
                    <a:pt x="1108" y="1807"/>
                    <a:pt x="1317" y="1746"/>
                    <a:pt x="1497" y="1592"/>
                  </a:cubicBezTo>
                  <a:cubicBezTo>
                    <a:pt x="1638" y="1471"/>
                    <a:pt x="1722" y="1318"/>
                    <a:pt x="1754" y="1136"/>
                  </a:cubicBezTo>
                  <a:cubicBezTo>
                    <a:pt x="1762" y="1092"/>
                    <a:pt x="1766" y="1047"/>
                    <a:pt x="1765" y="10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latin typeface="メイリオ"/>
                <a:ea typeface="メイリオ"/>
                <a:cs typeface="メイリオ"/>
              </a:endParaRPr>
            </a:p>
          </p:txBody>
        </p:sp>
        <p:sp>
          <p:nvSpPr>
            <p:cNvPr id="35" name="Freeform 10"/>
            <p:cNvSpPr>
              <a:spLocks/>
            </p:cNvSpPr>
            <p:nvPr/>
          </p:nvSpPr>
          <p:spPr bwMode="auto">
            <a:xfrm>
              <a:off x="1750" y="2410"/>
              <a:ext cx="2577" cy="2588"/>
            </a:xfrm>
            <a:custGeom>
              <a:avLst/>
              <a:gdLst>
                <a:gd name="T0" fmla="*/ 2 w 1188"/>
                <a:gd name="T1" fmla="*/ 608 h 1207"/>
                <a:gd name="T2" fmla="*/ 494 w 1188"/>
                <a:gd name="T3" fmla="*/ 25 h 1207"/>
                <a:gd name="T4" fmla="*/ 909 w 1188"/>
                <a:gd name="T5" fmla="*/ 110 h 1207"/>
                <a:gd name="T6" fmla="*/ 912 w 1188"/>
                <a:gd name="T7" fmla="*/ 142 h 1207"/>
                <a:gd name="T8" fmla="*/ 801 w 1188"/>
                <a:gd name="T9" fmla="*/ 254 h 1207"/>
                <a:gd name="T10" fmla="*/ 763 w 1188"/>
                <a:gd name="T11" fmla="*/ 261 h 1207"/>
                <a:gd name="T12" fmla="*/ 215 w 1188"/>
                <a:gd name="T13" fmla="*/ 518 h 1207"/>
                <a:gd name="T14" fmla="*/ 534 w 1188"/>
                <a:gd name="T15" fmla="*/ 991 h 1207"/>
                <a:gd name="T16" fmla="*/ 971 w 1188"/>
                <a:gd name="T17" fmla="*/ 684 h 1207"/>
                <a:gd name="T18" fmla="*/ 946 w 1188"/>
                <a:gd name="T19" fmla="*/ 452 h 1207"/>
                <a:gd name="T20" fmla="*/ 953 w 1188"/>
                <a:gd name="T21" fmla="*/ 408 h 1207"/>
                <a:gd name="T22" fmla="*/ 1066 w 1188"/>
                <a:gd name="T23" fmla="*/ 297 h 1207"/>
                <a:gd name="T24" fmla="*/ 1096 w 1188"/>
                <a:gd name="T25" fmla="*/ 301 h 1207"/>
                <a:gd name="T26" fmla="*/ 1181 w 1188"/>
                <a:gd name="T27" fmla="*/ 577 h 1207"/>
                <a:gd name="T28" fmla="*/ 1011 w 1188"/>
                <a:gd name="T29" fmla="*/ 1023 h 1207"/>
                <a:gd name="T30" fmla="*/ 556 w 1188"/>
                <a:gd name="T31" fmla="*/ 1197 h 1207"/>
                <a:gd name="T32" fmla="*/ 5 w 1188"/>
                <a:gd name="T33" fmla="*/ 676 h 1207"/>
                <a:gd name="T34" fmla="*/ 2 w 1188"/>
                <a:gd name="T35" fmla="*/ 608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8" h="1207">
                  <a:moveTo>
                    <a:pt x="2" y="608"/>
                  </a:moveTo>
                  <a:cubicBezTo>
                    <a:pt x="0" y="322"/>
                    <a:pt x="209" y="73"/>
                    <a:pt x="494" y="25"/>
                  </a:cubicBezTo>
                  <a:cubicBezTo>
                    <a:pt x="643" y="0"/>
                    <a:pt x="781" y="30"/>
                    <a:pt x="909" y="110"/>
                  </a:cubicBezTo>
                  <a:cubicBezTo>
                    <a:pt x="930" y="123"/>
                    <a:pt x="930" y="124"/>
                    <a:pt x="912" y="142"/>
                  </a:cubicBezTo>
                  <a:cubicBezTo>
                    <a:pt x="875" y="179"/>
                    <a:pt x="837" y="216"/>
                    <a:pt x="801" y="254"/>
                  </a:cubicBezTo>
                  <a:cubicBezTo>
                    <a:pt x="789" y="266"/>
                    <a:pt x="780" y="269"/>
                    <a:pt x="763" y="261"/>
                  </a:cubicBezTo>
                  <a:cubicBezTo>
                    <a:pt x="539" y="151"/>
                    <a:pt x="273" y="276"/>
                    <a:pt x="215" y="518"/>
                  </a:cubicBezTo>
                  <a:cubicBezTo>
                    <a:pt x="162" y="737"/>
                    <a:pt x="311" y="959"/>
                    <a:pt x="534" y="991"/>
                  </a:cubicBezTo>
                  <a:cubicBezTo>
                    <a:pt x="739" y="1021"/>
                    <a:pt x="930" y="887"/>
                    <a:pt x="971" y="684"/>
                  </a:cubicBezTo>
                  <a:cubicBezTo>
                    <a:pt x="987" y="604"/>
                    <a:pt x="980" y="526"/>
                    <a:pt x="946" y="452"/>
                  </a:cubicBezTo>
                  <a:cubicBezTo>
                    <a:pt x="937" y="434"/>
                    <a:pt x="939" y="422"/>
                    <a:pt x="953" y="408"/>
                  </a:cubicBezTo>
                  <a:cubicBezTo>
                    <a:pt x="992" y="372"/>
                    <a:pt x="1028" y="334"/>
                    <a:pt x="1066" y="297"/>
                  </a:cubicBezTo>
                  <a:cubicBezTo>
                    <a:pt x="1082" y="281"/>
                    <a:pt x="1084" y="281"/>
                    <a:pt x="1096" y="301"/>
                  </a:cubicBezTo>
                  <a:cubicBezTo>
                    <a:pt x="1147" y="386"/>
                    <a:pt x="1176" y="478"/>
                    <a:pt x="1181" y="577"/>
                  </a:cubicBezTo>
                  <a:cubicBezTo>
                    <a:pt x="1188" y="750"/>
                    <a:pt x="1132" y="900"/>
                    <a:pt x="1011" y="1023"/>
                  </a:cubicBezTo>
                  <a:cubicBezTo>
                    <a:pt x="886" y="1148"/>
                    <a:pt x="733" y="1207"/>
                    <a:pt x="556" y="1197"/>
                  </a:cubicBezTo>
                  <a:cubicBezTo>
                    <a:pt x="273" y="1182"/>
                    <a:pt x="36" y="957"/>
                    <a:pt x="5" y="676"/>
                  </a:cubicBezTo>
                  <a:cubicBezTo>
                    <a:pt x="3" y="653"/>
                    <a:pt x="2" y="631"/>
                    <a:pt x="2" y="6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latin typeface="メイリオ"/>
                <a:ea typeface="メイリオ"/>
                <a:cs typeface="メイリオ"/>
              </a:endParaRPr>
            </a:p>
          </p:txBody>
        </p:sp>
        <p:sp>
          <p:nvSpPr>
            <p:cNvPr id="36" name="Freeform 11"/>
            <p:cNvSpPr>
              <a:spLocks/>
            </p:cNvSpPr>
            <p:nvPr/>
          </p:nvSpPr>
          <p:spPr bwMode="auto">
            <a:xfrm>
              <a:off x="2819" y="1580"/>
              <a:ext cx="2392" cy="2355"/>
            </a:xfrm>
            <a:custGeom>
              <a:avLst/>
              <a:gdLst>
                <a:gd name="T0" fmla="*/ 0 w 1103"/>
                <a:gd name="T1" fmla="*/ 995 h 1098"/>
                <a:gd name="T2" fmla="*/ 123 w 1103"/>
                <a:gd name="T3" fmla="*/ 899 h 1098"/>
                <a:gd name="T4" fmla="*/ 156 w 1103"/>
                <a:gd name="T5" fmla="*/ 891 h 1098"/>
                <a:gd name="T6" fmla="*/ 676 w 1103"/>
                <a:gd name="T7" fmla="*/ 370 h 1098"/>
                <a:gd name="T8" fmla="*/ 689 w 1103"/>
                <a:gd name="T9" fmla="*/ 341 h 1098"/>
                <a:gd name="T10" fmla="*/ 697 w 1103"/>
                <a:gd name="T11" fmla="*/ 215 h 1098"/>
                <a:gd name="T12" fmla="*/ 721 w 1103"/>
                <a:gd name="T13" fmla="*/ 163 h 1098"/>
                <a:gd name="T14" fmla="*/ 868 w 1103"/>
                <a:gd name="T15" fmla="*/ 16 h 1098"/>
                <a:gd name="T16" fmla="*/ 901 w 1103"/>
                <a:gd name="T17" fmla="*/ 5 h 1098"/>
                <a:gd name="T18" fmla="*/ 923 w 1103"/>
                <a:gd name="T19" fmla="*/ 36 h 1098"/>
                <a:gd name="T20" fmla="*/ 938 w 1103"/>
                <a:gd name="T21" fmla="*/ 142 h 1098"/>
                <a:gd name="T22" fmla="*/ 961 w 1103"/>
                <a:gd name="T23" fmla="*/ 164 h 1098"/>
                <a:gd name="T24" fmla="*/ 1065 w 1103"/>
                <a:gd name="T25" fmla="*/ 179 h 1098"/>
                <a:gd name="T26" fmla="*/ 1097 w 1103"/>
                <a:gd name="T27" fmla="*/ 200 h 1098"/>
                <a:gd name="T28" fmla="*/ 1085 w 1103"/>
                <a:gd name="T29" fmla="*/ 235 h 1098"/>
                <a:gd name="T30" fmla="*/ 938 w 1103"/>
                <a:gd name="T31" fmla="*/ 382 h 1098"/>
                <a:gd name="T32" fmla="*/ 889 w 1103"/>
                <a:gd name="T33" fmla="*/ 405 h 1098"/>
                <a:gd name="T34" fmla="*/ 761 w 1103"/>
                <a:gd name="T35" fmla="*/ 413 h 1098"/>
                <a:gd name="T36" fmla="*/ 733 w 1103"/>
                <a:gd name="T37" fmla="*/ 425 h 1098"/>
                <a:gd name="T38" fmla="*/ 207 w 1103"/>
                <a:gd name="T39" fmla="*/ 951 h 1098"/>
                <a:gd name="T40" fmla="*/ 196 w 1103"/>
                <a:gd name="T41" fmla="*/ 981 h 1098"/>
                <a:gd name="T42" fmla="*/ 111 w 1103"/>
                <a:gd name="T43" fmla="*/ 1093 h 1098"/>
                <a:gd name="T44" fmla="*/ 0 w 1103"/>
                <a:gd name="T45" fmla="*/ 995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3" h="1098">
                  <a:moveTo>
                    <a:pt x="0" y="995"/>
                  </a:moveTo>
                  <a:cubicBezTo>
                    <a:pt x="1" y="929"/>
                    <a:pt x="60" y="883"/>
                    <a:pt x="123" y="899"/>
                  </a:cubicBezTo>
                  <a:cubicBezTo>
                    <a:pt x="137" y="903"/>
                    <a:pt x="146" y="901"/>
                    <a:pt x="156" y="891"/>
                  </a:cubicBezTo>
                  <a:cubicBezTo>
                    <a:pt x="329" y="717"/>
                    <a:pt x="503" y="544"/>
                    <a:pt x="676" y="370"/>
                  </a:cubicBezTo>
                  <a:cubicBezTo>
                    <a:pt x="685" y="362"/>
                    <a:pt x="689" y="353"/>
                    <a:pt x="689" y="341"/>
                  </a:cubicBezTo>
                  <a:cubicBezTo>
                    <a:pt x="691" y="299"/>
                    <a:pt x="695" y="257"/>
                    <a:pt x="697" y="215"/>
                  </a:cubicBezTo>
                  <a:cubicBezTo>
                    <a:pt x="698" y="195"/>
                    <a:pt x="706" y="178"/>
                    <a:pt x="721" y="163"/>
                  </a:cubicBezTo>
                  <a:cubicBezTo>
                    <a:pt x="769" y="114"/>
                    <a:pt x="818" y="65"/>
                    <a:pt x="868" y="16"/>
                  </a:cubicBezTo>
                  <a:cubicBezTo>
                    <a:pt x="877" y="7"/>
                    <a:pt x="887" y="0"/>
                    <a:pt x="901" y="5"/>
                  </a:cubicBezTo>
                  <a:cubicBezTo>
                    <a:pt x="916" y="9"/>
                    <a:pt x="921" y="22"/>
                    <a:pt x="923" y="36"/>
                  </a:cubicBezTo>
                  <a:cubicBezTo>
                    <a:pt x="928" y="71"/>
                    <a:pt x="934" y="107"/>
                    <a:pt x="938" y="142"/>
                  </a:cubicBezTo>
                  <a:cubicBezTo>
                    <a:pt x="940" y="157"/>
                    <a:pt x="946" y="162"/>
                    <a:pt x="961" y="164"/>
                  </a:cubicBezTo>
                  <a:cubicBezTo>
                    <a:pt x="996" y="168"/>
                    <a:pt x="1030" y="174"/>
                    <a:pt x="1065" y="179"/>
                  </a:cubicBezTo>
                  <a:cubicBezTo>
                    <a:pt x="1079" y="181"/>
                    <a:pt x="1092" y="185"/>
                    <a:pt x="1097" y="200"/>
                  </a:cubicBezTo>
                  <a:cubicBezTo>
                    <a:pt x="1103" y="214"/>
                    <a:pt x="1095" y="225"/>
                    <a:pt x="1085" y="235"/>
                  </a:cubicBezTo>
                  <a:cubicBezTo>
                    <a:pt x="1036" y="284"/>
                    <a:pt x="987" y="333"/>
                    <a:pt x="938" y="382"/>
                  </a:cubicBezTo>
                  <a:cubicBezTo>
                    <a:pt x="925" y="396"/>
                    <a:pt x="908" y="404"/>
                    <a:pt x="889" y="405"/>
                  </a:cubicBezTo>
                  <a:cubicBezTo>
                    <a:pt x="846" y="408"/>
                    <a:pt x="804" y="411"/>
                    <a:pt x="761" y="413"/>
                  </a:cubicBezTo>
                  <a:cubicBezTo>
                    <a:pt x="750" y="413"/>
                    <a:pt x="741" y="417"/>
                    <a:pt x="733" y="425"/>
                  </a:cubicBezTo>
                  <a:cubicBezTo>
                    <a:pt x="558" y="600"/>
                    <a:pt x="382" y="776"/>
                    <a:pt x="207" y="951"/>
                  </a:cubicBezTo>
                  <a:cubicBezTo>
                    <a:pt x="198" y="959"/>
                    <a:pt x="194" y="968"/>
                    <a:pt x="196" y="981"/>
                  </a:cubicBezTo>
                  <a:cubicBezTo>
                    <a:pt x="205" y="1035"/>
                    <a:pt x="164" y="1089"/>
                    <a:pt x="111" y="1093"/>
                  </a:cubicBezTo>
                  <a:cubicBezTo>
                    <a:pt x="48" y="1098"/>
                    <a:pt x="0" y="1055"/>
                    <a:pt x="0" y="9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latin typeface="メイリオ"/>
                <a:ea typeface="メイリオ"/>
                <a:cs typeface="メイリオ"/>
              </a:endParaRPr>
            </a:p>
          </p:txBody>
        </p:sp>
      </p:grpSp>
    </p:spTree>
    <p:extLst>
      <p:ext uri="{BB962C8B-B14F-4D97-AF65-F5344CB8AC3E}">
        <p14:creationId xmlns:p14="http://schemas.microsoft.com/office/powerpoint/2010/main" val="327015770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0"/>
          </p:nvPr>
        </p:nvSpPr>
        <p:spPr>
          <a:xfrm>
            <a:off x="437766" y="1073150"/>
            <a:ext cx="8345488" cy="3442848"/>
          </a:xfrm>
        </p:spPr>
        <p:txBody>
          <a:bodyPr/>
          <a:lstStyle/>
          <a:p>
            <a:r>
              <a:rPr kumimoji="1" lang="en-US" altLang="ja-JP" sz="2800" dirty="0" smtClean="0"/>
              <a:t>CCO</a:t>
            </a:r>
          </a:p>
          <a:p>
            <a:r>
              <a:rPr kumimoji="1" lang="en-US" altLang="ja-JP" sz="2800" dirty="0">
                <a:hlinkClick r:id="rId2"/>
              </a:rPr>
              <a:t>http://www.cisco.com/c/en/us/products/security/defense-orchestrator/</a:t>
            </a:r>
            <a:r>
              <a:rPr kumimoji="1" lang="en-US" altLang="ja-JP" sz="2800" dirty="0" smtClean="0">
                <a:hlinkClick r:id="rId2"/>
              </a:rPr>
              <a:t>index.html</a:t>
            </a:r>
            <a:endParaRPr kumimoji="1" lang="en-US" altLang="ja-JP" sz="2800" dirty="0" smtClean="0"/>
          </a:p>
          <a:p>
            <a:endParaRPr kumimoji="1" lang="ja-JP" altLang="en-US" sz="2800" dirty="0"/>
          </a:p>
        </p:txBody>
      </p:sp>
      <p:sp>
        <p:nvSpPr>
          <p:cNvPr id="2" name="タイトル 1"/>
          <p:cNvSpPr>
            <a:spLocks noGrp="1"/>
          </p:cNvSpPr>
          <p:nvPr>
            <p:ph type="title"/>
          </p:nvPr>
        </p:nvSpPr>
        <p:spPr/>
        <p:txBody>
          <a:bodyPr/>
          <a:lstStyle/>
          <a:p>
            <a:r>
              <a:rPr kumimoji="1" lang="ja-JP" altLang="en-US" dirty="0" smtClean="0"/>
              <a:t>リファレンス</a:t>
            </a:r>
            <a:endParaRPr kumimoji="1" lang="ja-JP" altLang="en-US" dirty="0"/>
          </a:p>
        </p:txBody>
      </p:sp>
    </p:spTree>
    <p:extLst>
      <p:ext uri="{BB962C8B-B14F-4D97-AF65-F5344CB8AC3E}">
        <p14:creationId xmlns:p14="http://schemas.microsoft.com/office/powerpoint/2010/main" val="105542412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Q&amp;A</a:t>
            </a:r>
            <a:endParaRPr lang="en-US" dirty="0"/>
          </a:p>
        </p:txBody>
      </p:sp>
    </p:spTree>
    <p:extLst>
      <p:ext uri="{BB962C8B-B14F-4D97-AF65-F5344CB8AC3E}">
        <p14:creationId xmlns:p14="http://schemas.microsoft.com/office/powerpoint/2010/main" val="142413258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44932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437766" y="166688"/>
            <a:ext cx="8345488" cy="731837"/>
          </a:xfrm>
        </p:spPr>
        <p:txBody>
          <a:bodyPr/>
          <a:lstStyle/>
          <a:p>
            <a:r>
              <a:rPr kumimoji="1" lang="en-US" altLang="ja-JP" dirty="0" smtClean="0"/>
              <a:t>CDO</a:t>
            </a:r>
            <a:r>
              <a:rPr kumimoji="1" lang="ja-JP" altLang="en-US" dirty="0" smtClean="0"/>
              <a:t>: サポートデバイス</a:t>
            </a:r>
            <a:r>
              <a:rPr kumimoji="1" lang="en-US" altLang="ja-JP" dirty="0" smtClean="0"/>
              <a:t>         </a:t>
            </a:r>
            <a:r>
              <a:rPr kumimoji="1" lang="en-US" altLang="ja-JP" sz="1600" dirty="0" smtClean="0"/>
              <a:t>as of Jun/29/2016</a:t>
            </a:r>
            <a:r>
              <a:rPr kumimoji="1" lang="en-US" altLang="ja-JP" dirty="0" smtClean="0"/>
              <a:t>  </a:t>
            </a:r>
            <a:endParaRPr kumimoji="1" lang="ja-JP" altLang="en-US" dirty="0"/>
          </a:p>
        </p:txBody>
      </p:sp>
      <p:grpSp>
        <p:nvGrpSpPr>
          <p:cNvPr id="5" name="Group 66"/>
          <p:cNvGrpSpPr/>
          <p:nvPr/>
        </p:nvGrpSpPr>
        <p:grpSpPr>
          <a:xfrm>
            <a:off x="8002088" y="210786"/>
            <a:ext cx="1017242" cy="429175"/>
            <a:chOff x="2895600" y="1752600"/>
            <a:chExt cx="1143000" cy="611265"/>
          </a:xfrm>
          <a:solidFill>
            <a:srgbClr val="FF0000"/>
          </a:solidFill>
        </p:grpSpPr>
        <p:sp>
          <p:nvSpPr>
            <p:cNvPr id="6" name="Oval 75"/>
            <p:cNvSpPr/>
            <p:nvPr/>
          </p:nvSpPr>
          <p:spPr>
            <a:xfrm>
              <a:off x="2895600" y="1752600"/>
              <a:ext cx="1143000" cy="611265"/>
            </a:xfrm>
            <a:prstGeom prst="ellipse">
              <a:avLst/>
            </a:prstGeom>
            <a:grp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900" dirty="0" smtClean="0">
                <a:latin typeface="メイリオ"/>
                <a:ea typeface="メイリオ"/>
                <a:cs typeface="メイリオ"/>
              </a:endParaRPr>
            </a:p>
          </p:txBody>
        </p:sp>
        <p:sp>
          <p:nvSpPr>
            <p:cNvPr id="7" name="Rectangle 76"/>
            <p:cNvSpPr/>
            <p:nvPr/>
          </p:nvSpPr>
          <p:spPr>
            <a:xfrm>
              <a:off x="3114168" y="1893850"/>
              <a:ext cx="705844" cy="328769"/>
            </a:xfrm>
            <a:prstGeom prst="rect">
              <a:avLst/>
            </a:prstGeom>
            <a:grpFill/>
          </p:spPr>
          <p:txBody>
            <a:bodyPr wrap="none" anchor="ctr">
              <a:spAutoFit/>
            </a:bodyPr>
            <a:lstStyle/>
            <a:p>
              <a:pPr algn="ctr"/>
              <a:r>
                <a:rPr lang="en-US" altLang="ja-JP" sz="900" dirty="0" smtClean="0">
                  <a:solidFill>
                    <a:schemeClr val="bg1"/>
                  </a:solidFill>
                  <a:latin typeface="メイリオ"/>
                  <a:ea typeface="メイリオ"/>
                  <a:cs typeface="メイリオ"/>
                </a:rPr>
                <a:t>Internal</a:t>
              </a:r>
            </a:p>
          </p:txBody>
        </p:sp>
      </p:grpSp>
      <p:graphicFrame>
        <p:nvGraphicFramePr>
          <p:cNvPr id="8" name="表 7"/>
          <p:cNvGraphicFramePr>
            <a:graphicFrameLocks noGrp="1"/>
          </p:cNvGraphicFramePr>
          <p:nvPr>
            <p:extLst>
              <p:ext uri="{D42A27DB-BD31-4B8C-83A1-F6EECF244321}">
                <p14:modId xmlns:p14="http://schemas.microsoft.com/office/powerpoint/2010/main" val="2902583395"/>
              </p:ext>
            </p:extLst>
          </p:nvPr>
        </p:nvGraphicFramePr>
        <p:xfrm>
          <a:off x="437766" y="1059180"/>
          <a:ext cx="8166484" cy="3210560"/>
        </p:xfrm>
        <a:graphic>
          <a:graphicData uri="http://schemas.openxmlformats.org/drawingml/2006/table">
            <a:tbl>
              <a:tblPr firstRow="1" bandRow="1">
                <a:tableStyleId>{3C2FFA5D-87B4-456A-9821-1D502468CF0F}</a:tableStyleId>
              </a:tblPr>
              <a:tblGrid>
                <a:gridCol w="1816484"/>
                <a:gridCol w="2143125"/>
                <a:gridCol w="2032000"/>
                <a:gridCol w="2174875"/>
              </a:tblGrid>
              <a:tr h="370840">
                <a:tc>
                  <a:txBody>
                    <a:bodyPr/>
                    <a:lstStyle/>
                    <a:p>
                      <a:r>
                        <a:rPr kumimoji="1" lang="en-US" altLang="ja-JP" sz="1200" dirty="0" smtClean="0">
                          <a:latin typeface="メイリオ"/>
                          <a:ea typeface="メイリオ"/>
                          <a:cs typeface="メイリオ"/>
                        </a:rPr>
                        <a:t>Product</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ASA SW Version</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Firepower on ASA</a:t>
                      </a:r>
                    </a:p>
                    <a:p>
                      <a:r>
                        <a:rPr kumimoji="1" lang="en-US" altLang="ja-JP" sz="1200" dirty="0" smtClean="0">
                          <a:latin typeface="メイリオ"/>
                          <a:ea typeface="メイリオ"/>
                          <a:cs typeface="メイリオ"/>
                        </a:rPr>
                        <a:t>SW version</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Firepower Threat Defense SW version</a:t>
                      </a:r>
                      <a:endParaRPr kumimoji="1" lang="ja-JP" altLang="en-US" sz="1200" dirty="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ASA 5505, 5510, 5520, 5540</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8.4 and later</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ASA</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5506X,</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5508X,</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5516X</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9.2.2</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and</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later</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5.4.1</a:t>
                      </a:r>
                      <a:r>
                        <a:rPr kumimoji="1" lang="ja-JP" altLang="en-US" sz="1200" dirty="0" smtClean="0">
                          <a:latin typeface="メイリオ"/>
                          <a:ea typeface="メイリオ"/>
                          <a:cs typeface="メイリオ"/>
                        </a:rPr>
                        <a:t> </a:t>
                      </a:r>
                      <a:r>
                        <a:rPr kumimoji="1" lang="ja-JP" altLang="ja-JP" sz="1200" dirty="0" smtClean="0">
                          <a:latin typeface="メイリオ"/>
                          <a:ea typeface="メイリオ"/>
                          <a:cs typeface="メイリオ"/>
                        </a:rPr>
                        <a:t>o</a:t>
                      </a:r>
                      <a:r>
                        <a:rPr kumimoji="1" lang="en-US" altLang="ja-JP" sz="1200" dirty="0" smtClean="0">
                          <a:latin typeface="メイリオ"/>
                          <a:ea typeface="メイリオ"/>
                          <a:cs typeface="メイリオ"/>
                        </a:rPr>
                        <a:t>r</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later</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6.1.x and later</a:t>
                      </a:r>
                      <a:endParaRPr kumimoji="1" lang="ja-JP" altLang="en-US" sz="1200" dirty="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ASA 5512X, 5515X, 5525X, 5545X, 5555X</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9.2.2</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and</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later</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6.0.0</a:t>
                      </a:r>
                      <a:r>
                        <a:rPr kumimoji="1" lang="ja-JP" altLang="en-US" sz="1200" dirty="0" smtClean="0">
                          <a:latin typeface="メイリオ"/>
                          <a:ea typeface="メイリオ"/>
                          <a:cs typeface="メイリオ"/>
                        </a:rPr>
                        <a:t> </a:t>
                      </a:r>
                      <a:r>
                        <a:rPr kumimoji="1" lang="ja-JP" altLang="ja-JP" sz="1200" dirty="0" smtClean="0">
                          <a:latin typeface="メイリオ"/>
                          <a:ea typeface="メイリオ"/>
                          <a:cs typeface="メイリオ"/>
                        </a:rPr>
                        <a:t>o</a:t>
                      </a:r>
                      <a:r>
                        <a:rPr kumimoji="1" lang="en-US" altLang="ja-JP" sz="1200" dirty="0" smtClean="0">
                          <a:latin typeface="メイリオ"/>
                          <a:ea typeface="メイリオ"/>
                          <a:cs typeface="メイリオ"/>
                        </a:rPr>
                        <a:t>r</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later</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6.1.x and later</a:t>
                      </a:r>
                      <a:endParaRPr kumimoji="1" lang="ja-JP" altLang="en-US" sz="1200" dirty="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ASA 5585-XX</a:t>
                      </a:r>
                      <a:endParaRPr kumimoji="1" lang="ja-JP" altLang="en-US" sz="1200" dirty="0">
                        <a:latin typeface="メイリオ"/>
                        <a:ea typeface="メイリオ"/>
                        <a:cs typeface="メイリオ"/>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200" dirty="0" smtClean="0">
                          <a:latin typeface="メイリオ"/>
                          <a:ea typeface="メイリオ"/>
                          <a:cs typeface="メイリオ"/>
                        </a:rPr>
                        <a:t>9.2.2</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and</a:t>
                      </a:r>
                      <a:r>
                        <a:rPr kumimoji="1" lang="ja-JP" altLang="en-US" sz="1200" dirty="0" smtClean="0">
                          <a:latin typeface="メイリオ"/>
                          <a:ea typeface="メイリオ"/>
                          <a:cs typeface="メイリオ"/>
                        </a:rPr>
                        <a:t> </a:t>
                      </a:r>
                      <a:r>
                        <a:rPr kumimoji="1" lang="en-US" altLang="ja-JP" sz="1200" dirty="0" smtClean="0">
                          <a:latin typeface="メイリオ"/>
                          <a:ea typeface="メイリオ"/>
                          <a:cs typeface="メイリオ"/>
                        </a:rPr>
                        <a:t>later</a:t>
                      </a:r>
                      <a:endParaRPr kumimoji="1" lang="ja-JP" altLang="en-US" sz="1200" dirty="0" smtClean="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Firepower 4110, 4120, 4140, 4150</a:t>
                      </a:r>
                      <a:endParaRPr kumimoji="1" lang="ja-JP" altLang="en-US" sz="1200" dirty="0">
                        <a:latin typeface="メイリオ"/>
                        <a:ea typeface="メイリオ"/>
                        <a:cs typeface="メイリオ"/>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200" dirty="0" smtClean="0">
                          <a:latin typeface="メイリオ"/>
                          <a:ea typeface="メイリオ"/>
                          <a:cs typeface="メイリオ"/>
                        </a:rPr>
                        <a:t>9.6.x and later</a:t>
                      </a:r>
                      <a:endParaRPr kumimoji="1" lang="ja-JP" altLang="en-US" sz="1200" dirty="0" smtClean="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200" dirty="0" smtClean="0">
                          <a:latin typeface="メイリオ"/>
                          <a:ea typeface="メイリオ"/>
                          <a:cs typeface="メイリオ"/>
                        </a:rPr>
                        <a:t>6.1.x and later</a:t>
                      </a:r>
                      <a:endParaRPr kumimoji="1" lang="ja-JP" altLang="en-US" sz="1200" dirty="0" smtClean="0">
                        <a:latin typeface="メイリオ"/>
                        <a:ea typeface="メイリオ"/>
                        <a:cs typeface="メイリオ"/>
                      </a:endParaRPr>
                    </a:p>
                  </a:txBody>
                  <a:tcPr/>
                </a:tc>
              </a:tr>
              <a:tr h="370840">
                <a:tc>
                  <a:txBody>
                    <a:bodyPr/>
                    <a:lstStyle/>
                    <a:p>
                      <a:r>
                        <a:rPr kumimoji="1" lang="en-US" altLang="ja-JP" sz="1200" dirty="0" smtClean="0">
                          <a:latin typeface="メイリオ"/>
                          <a:ea typeface="メイリオ"/>
                          <a:cs typeface="メイリオ"/>
                        </a:rPr>
                        <a:t>Firepower 9300</a:t>
                      </a:r>
                      <a:endParaRPr kumimoji="1" lang="ja-JP" altLang="en-US" sz="1200" dirty="0">
                        <a:latin typeface="メイリオ"/>
                        <a:ea typeface="メイリオ"/>
                        <a:cs typeface="メイリオ"/>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200" dirty="0" smtClean="0">
                          <a:latin typeface="メイリオ"/>
                          <a:ea typeface="メイリオ"/>
                          <a:cs typeface="メイリオ"/>
                        </a:rPr>
                        <a:t>9.6.x and later</a:t>
                      </a:r>
                      <a:endParaRPr kumimoji="1" lang="ja-JP" altLang="en-US" sz="1200" dirty="0" smtClean="0">
                        <a:latin typeface="メイリオ"/>
                        <a:ea typeface="メイリオ"/>
                        <a:cs typeface="メイリオ"/>
                      </a:endParaRPr>
                    </a:p>
                  </a:txBody>
                  <a:tcPr/>
                </a:tc>
                <a:tc>
                  <a:txBody>
                    <a:bodyPr/>
                    <a:lstStyle/>
                    <a:p>
                      <a:r>
                        <a:rPr kumimoji="1" lang="en-US" altLang="ja-JP" sz="1200" dirty="0" smtClean="0">
                          <a:latin typeface="メイリオ"/>
                          <a:ea typeface="メイリオ"/>
                          <a:cs typeface="メイリオ"/>
                        </a:rPr>
                        <a:t>NA</a:t>
                      </a:r>
                      <a:endParaRPr kumimoji="1" lang="ja-JP" altLang="en-US" sz="1200" dirty="0">
                        <a:latin typeface="メイリオ"/>
                        <a:ea typeface="メイリオ"/>
                        <a:cs typeface="メイリオ"/>
                      </a:endParaRPr>
                    </a:p>
                  </a:txBody>
                  <a:tcPr/>
                </a:tc>
                <a:tc>
                  <a:txBody>
                    <a:bodyPr/>
                    <a:lstStyle/>
                    <a:p>
                      <a:pPr marL="0" marR="0" indent="0" algn="l" defTabSz="685777" rtl="0" eaLnBrk="1" fontAlgn="auto" latinLnBrk="0" hangingPunct="1">
                        <a:lnSpc>
                          <a:spcPct val="100000"/>
                        </a:lnSpc>
                        <a:spcBef>
                          <a:spcPts val="0"/>
                        </a:spcBef>
                        <a:spcAft>
                          <a:spcPts val="0"/>
                        </a:spcAft>
                        <a:buClrTx/>
                        <a:buSzTx/>
                        <a:buFontTx/>
                        <a:buNone/>
                        <a:tabLst/>
                        <a:defRPr/>
                      </a:pPr>
                      <a:r>
                        <a:rPr kumimoji="1" lang="en-US" altLang="ja-JP" sz="1200" dirty="0" smtClean="0">
                          <a:latin typeface="メイリオ"/>
                          <a:ea typeface="メイリオ"/>
                          <a:cs typeface="メイリオ"/>
                        </a:rPr>
                        <a:t>6.1.x and later</a:t>
                      </a:r>
                      <a:endParaRPr kumimoji="1" lang="ja-JP" altLang="en-US" sz="1200" dirty="0" smtClean="0">
                        <a:latin typeface="メイリオ"/>
                        <a:ea typeface="メイリオ"/>
                        <a:cs typeface="メイリオ"/>
                      </a:endParaRPr>
                    </a:p>
                  </a:txBody>
                  <a:tcPr/>
                </a:tc>
              </a:tr>
            </a:tbl>
          </a:graphicData>
        </a:graphic>
      </p:graphicFrame>
    </p:spTree>
    <p:extLst>
      <p:ext uri="{BB962C8B-B14F-4D97-AF65-F5344CB8AC3E}">
        <p14:creationId xmlns:p14="http://schemas.microsoft.com/office/powerpoint/2010/main" val="6349655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latin typeface="メイリオ"/>
                <a:ea typeface="メイリオ"/>
                <a:cs typeface="メイリオ"/>
              </a:rPr>
              <a:t>マルチサイト管理に対応</a:t>
            </a:r>
            <a:endParaRPr lang="ja-JP" altLang="en-US" dirty="0">
              <a:latin typeface="メイリオ"/>
              <a:ea typeface="メイリオ"/>
              <a:cs typeface="メイリオ"/>
            </a:endParaRPr>
          </a:p>
        </p:txBody>
      </p:sp>
      <p:pic>
        <p:nvPicPr>
          <p:cNvPr id="4" name="Picture 3"/>
          <p:cNvPicPr>
            <a:picLocks noChangeAspect="1"/>
          </p:cNvPicPr>
          <p:nvPr/>
        </p:nvPicPr>
        <p:blipFill>
          <a:blip r:embed="rId3"/>
          <a:stretch>
            <a:fillRect/>
          </a:stretch>
        </p:blipFill>
        <p:spPr>
          <a:xfrm>
            <a:off x="193248" y="852230"/>
            <a:ext cx="4631469" cy="3170682"/>
          </a:xfrm>
          <a:prstGeom prst="rect">
            <a:avLst/>
          </a:prstGeom>
        </p:spPr>
      </p:pic>
      <p:sp>
        <p:nvSpPr>
          <p:cNvPr id="5" name="TextBox 4"/>
          <p:cNvSpPr txBox="1"/>
          <p:nvPr/>
        </p:nvSpPr>
        <p:spPr>
          <a:xfrm>
            <a:off x="4824716" y="952840"/>
            <a:ext cx="4178731" cy="2769999"/>
          </a:xfrm>
          <a:prstGeom prst="rect">
            <a:avLst/>
          </a:prstGeom>
          <a:noFill/>
        </p:spPr>
        <p:txBody>
          <a:bodyPr wrap="square" lIns="68589" tIns="34295" rIns="68589" bIns="34295" rtlCol="0">
            <a:spAutoFit/>
          </a:bodyPr>
          <a:lstStyle/>
          <a:p>
            <a:pPr>
              <a:spcAft>
                <a:spcPts val="900"/>
              </a:spcAft>
            </a:pPr>
            <a:r>
              <a:rPr lang="en-US" altLang="ja-JP" sz="1700" dirty="0">
                <a:solidFill>
                  <a:schemeClr val="accent3">
                    <a:lumMod val="10000"/>
                  </a:schemeClr>
                </a:solidFill>
                <a:latin typeface="メイリオ"/>
                <a:ea typeface="メイリオ"/>
                <a:cs typeface="メイリオ"/>
              </a:rPr>
              <a:t>Telmex</a:t>
            </a:r>
            <a:r>
              <a:rPr lang="ja-JP" altLang="en-US" dirty="0" smtClean="0">
                <a:latin typeface="メイリオ"/>
                <a:ea typeface="メイリオ"/>
                <a:cs typeface="メイリオ"/>
              </a:rPr>
              <a:t/>
            </a:r>
            <a:br>
              <a:rPr lang="ja-JP" altLang="en-US" dirty="0" smtClean="0">
                <a:latin typeface="メイリオ"/>
                <a:ea typeface="メイリオ"/>
                <a:cs typeface="メイリオ"/>
              </a:rPr>
            </a:br>
            <a:r>
              <a:rPr lang="ja-JP" altLang="en-US" sz="1700" dirty="0">
                <a:solidFill>
                  <a:srgbClr val="A6A6A6"/>
                </a:solidFill>
                <a:latin typeface="メイリオ"/>
                <a:ea typeface="メイリオ"/>
                <a:cs typeface="メイリオ"/>
              </a:rPr>
              <a:t>全国展開するホットスポットと </a:t>
            </a:r>
            <a:r>
              <a:rPr lang="en-US" altLang="ja-JP" sz="1700" dirty="0">
                <a:solidFill>
                  <a:srgbClr val="A6A6A6"/>
                </a:solidFill>
                <a:latin typeface="メイリオ"/>
                <a:ea typeface="メイリオ"/>
                <a:cs typeface="メイリオ"/>
              </a:rPr>
              <a:t>3G </a:t>
            </a:r>
            <a:r>
              <a:rPr lang="ja-JP" altLang="en-US" sz="1700" dirty="0">
                <a:solidFill>
                  <a:srgbClr val="A6A6A6"/>
                </a:solidFill>
                <a:latin typeface="メイリオ"/>
                <a:ea typeface="メイリオ"/>
                <a:cs typeface="メイリオ"/>
              </a:rPr>
              <a:t>オフロード ネットワーク</a:t>
            </a:r>
          </a:p>
          <a:p>
            <a:pPr>
              <a:spcAft>
                <a:spcPts val="900"/>
              </a:spcAft>
            </a:pPr>
            <a:r>
              <a:rPr lang="en-US" altLang="ja-JP" sz="1700" dirty="0">
                <a:solidFill>
                  <a:srgbClr val="061C23"/>
                </a:solidFill>
                <a:latin typeface="メイリオ"/>
                <a:ea typeface="メイリオ"/>
                <a:cs typeface="メイリオ"/>
              </a:rPr>
              <a:t>Next Retail</a:t>
            </a:r>
            <a:r>
              <a:rPr lang="ja-JP" altLang="en-US" dirty="0" smtClean="0">
                <a:latin typeface="メイリオ"/>
                <a:ea typeface="メイリオ"/>
                <a:cs typeface="メイリオ"/>
              </a:rPr>
              <a:t/>
            </a:r>
            <a:br>
              <a:rPr lang="ja-JP" altLang="en-US" dirty="0" smtClean="0">
                <a:latin typeface="メイリオ"/>
                <a:ea typeface="メイリオ"/>
                <a:cs typeface="メイリオ"/>
              </a:rPr>
            </a:br>
            <a:r>
              <a:rPr lang="ja-JP" altLang="en-US" sz="1700" dirty="0">
                <a:solidFill>
                  <a:srgbClr val="A6A6A6"/>
                </a:solidFill>
                <a:latin typeface="メイリオ"/>
                <a:ea typeface="メイリオ"/>
                <a:cs typeface="メイリオ"/>
              </a:rPr>
              <a:t>イギリス国内に </a:t>
            </a:r>
            <a:r>
              <a:rPr lang="en-US" altLang="ja-JP" sz="1700" dirty="0">
                <a:solidFill>
                  <a:srgbClr val="A6A6A6"/>
                </a:solidFill>
                <a:latin typeface="メイリオ"/>
                <a:ea typeface="メイリオ"/>
                <a:cs typeface="メイリオ"/>
              </a:rPr>
              <a:t>550 </a:t>
            </a:r>
            <a:r>
              <a:rPr lang="ja-JP" altLang="en-US" sz="1700" dirty="0">
                <a:solidFill>
                  <a:srgbClr val="A6A6A6"/>
                </a:solidFill>
                <a:latin typeface="メイリオ"/>
                <a:ea typeface="メイリオ"/>
                <a:cs typeface="メイリオ"/>
              </a:rPr>
              <a:t>店舗を展開</a:t>
            </a:r>
          </a:p>
          <a:p>
            <a:pPr>
              <a:spcAft>
                <a:spcPts val="900"/>
              </a:spcAft>
            </a:pPr>
            <a:r>
              <a:rPr lang="en-US" altLang="ja-JP" sz="1700" dirty="0">
                <a:solidFill>
                  <a:srgbClr val="061C23"/>
                </a:solidFill>
                <a:latin typeface="メイリオ"/>
                <a:ea typeface="メイリオ"/>
                <a:cs typeface="メイリオ"/>
              </a:rPr>
              <a:t>Motel 6</a:t>
            </a:r>
            <a:r>
              <a:rPr lang="ja-JP" altLang="en-US" dirty="0" smtClean="0">
                <a:latin typeface="メイリオ"/>
                <a:ea typeface="メイリオ"/>
                <a:cs typeface="メイリオ"/>
              </a:rPr>
              <a:t/>
            </a:r>
            <a:br>
              <a:rPr lang="ja-JP" altLang="en-US" dirty="0" smtClean="0">
                <a:latin typeface="メイリオ"/>
                <a:ea typeface="メイリオ"/>
                <a:cs typeface="メイリオ"/>
              </a:rPr>
            </a:br>
            <a:r>
              <a:rPr lang="ja-JP" altLang="en-US" sz="1700" dirty="0">
                <a:solidFill>
                  <a:srgbClr val="A6A6A6"/>
                </a:solidFill>
                <a:latin typeface="メイリオ"/>
                <a:ea typeface="メイリオ"/>
                <a:cs typeface="メイリオ"/>
              </a:rPr>
              <a:t>ホテルの客室 </a:t>
            </a:r>
            <a:r>
              <a:rPr lang="en-US" altLang="ja-JP" sz="1700" dirty="0">
                <a:solidFill>
                  <a:srgbClr val="A6A6A6"/>
                </a:solidFill>
                <a:latin typeface="メイリオ"/>
                <a:ea typeface="メイリオ"/>
                <a:cs typeface="メイリオ"/>
              </a:rPr>
              <a:t>70,000 </a:t>
            </a:r>
            <a:r>
              <a:rPr lang="ja-JP" altLang="en-US" sz="1700" dirty="0">
                <a:solidFill>
                  <a:srgbClr val="A6A6A6"/>
                </a:solidFill>
                <a:latin typeface="メイリオ"/>
                <a:ea typeface="メイリオ"/>
                <a:cs typeface="メイリオ"/>
              </a:rPr>
              <a:t>室に導入</a:t>
            </a:r>
          </a:p>
          <a:p>
            <a:r>
              <a:rPr lang="en-US" altLang="ja-JP" sz="1700" dirty="0">
                <a:solidFill>
                  <a:srgbClr val="061C23"/>
                </a:solidFill>
                <a:latin typeface="メイリオ"/>
                <a:ea typeface="メイリオ"/>
                <a:cs typeface="メイリオ"/>
              </a:rPr>
              <a:t>Jeffco </a:t>
            </a:r>
            <a:r>
              <a:rPr lang="ja-JP" altLang="en-US" sz="1700" dirty="0">
                <a:solidFill>
                  <a:srgbClr val="061C23"/>
                </a:solidFill>
                <a:latin typeface="メイリオ"/>
                <a:ea typeface="メイリオ"/>
                <a:cs typeface="メイリオ"/>
              </a:rPr>
              <a:t>学区</a:t>
            </a:r>
          </a:p>
          <a:p>
            <a:pPr>
              <a:spcAft>
                <a:spcPts val="900"/>
              </a:spcAft>
            </a:pPr>
            <a:r>
              <a:rPr lang="ja-JP" altLang="en-US" sz="1700" dirty="0">
                <a:solidFill>
                  <a:srgbClr val="A6A6A6"/>
                </a:solidFill>
                <a:latin typeface="メイリオ"/>
                <a:ea typeface="メイリオ"/>
                <a:cs typeface="メイリオ"/>
              </a:rPr>
              <a:t>生徒数 </a:t>
            </a:r>
            <a:r>
              <a:rPr lang="en-US" altLang="ja-JP" sz="1700" dirty="0">
                <a:solidFill>
                  <a:srgbClr val="A6A6A6"/>
                </a:solidFill>
                <a:latin typeface="メイリオ"/>
                <a:ea typeface="メイリオ"/>
                <a:cs typeface="メイリオ"/>
              </a:rPr>
              <a:t>80,000 </a:t>
            </a:r>
            <a:r>
              <a:rPr lang="ja-JP" altLang="en-US" sz="1700" dirty="0">
                <a:solidFill>
                  <a:srgbClr val="A6A6A6"/>
                </a:solidFill>
                <a:latin typeface="メイリオ"/>
                <a:ea typeface="メイリオ"/>
                <a:cs typeface="メイリオ"/>
              </a:rPr>
              <a:t>人の学区（</a:t>
            </a:r>
            <a:r>
              <a:rPr lang="en-US" altLang="ja-JP" sz="1700" dirty="0">
                <a:solidFill>
                  <a:srgbClr val="A6A6A6"/>
                </a:solidFill>
                <a:latin typeface="メイリオ"/>
                <a:ea typeface="メイリオ"/>
                <a:cs typeface="メイリオ"/>
              </a:rPr>
              <a:t>100 </a:t>
            </a:r>
            <a:r>
              <a:rPr lang="ja-JP" altLang="en-US" sz="1700" dirty="0">
                <a:solidFill>
                  <a:srgbClr val="A6A6A6"/>
                </a:solidFill>
                <a:latin typeface="メイリオ"/>
                <a:ea typeface="メイリオ"/>
                <a:cs typeface="メイリオ"/>
              </a:rPr>
              <a:t>校以上）</a:t>
            </a:r>
          </a:p>
        </p:txBody>
      </p:sp>
      <p:sp>
        <p:nvSpPr>
          <p:cNvPr id="7" name="Rectangle 6"/>
          <p:cNvSpPr/>
          <p:nvPr/>
        </p:nvSpPr>
        <p:spPr>
          <a:xfrm>
            <a:off x="2099272" y="4118156"/>
            <a:ext cx="4996221" cy="415636"/>
          </a:xfrm>
          <a:prstGeom prst="rect">
            <a:avLst/>
          </a:prstGeom>
          <a:solidFill>
            <a:schemeClr val="bg1">
              <a:lumMod val="9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ctr"/>
          <a:lstStyle/>
          <a:p>
            <a:pPr algn="ctr"/>
            <a:endParaRPr lang="ja-JP" altLang="en-US" dirty="0">
              <a:latin typeface="メイリオ"/>
              <a:ea typeface="メイリオ"/>
              <a:cs typeface="メイリオ"/>
            </a:endParaRPr>
          </a:p>
        </p:txBody>
      </p:sp>
      <p:sp>
        <p:nvSpPr>
          <p:cNvPr id="6" name="Text Placeholder 11"/>
          <p:cNvSpPr>
            <a:spLocks noGrp="1"/>
          </p:cNvSpPr>
          <p:nvPr>
            <p:ph type="body" sz="quarter" idx="10"/>
          </p:nvPr>
        </p:nvSpPr>
        <p:spPr>
          <a:xfrm>
            <a:off x="2148301" y="4177363"/>
            <a:ext cx="5237894" cy="397817"/>
          </a:xfrm>
        </p:spPr>
        <p:txBody>
          <a:bodyPr lIns="68589" tIns="34295" rIns="68589" bIns="34295">
            <a:noAutofit/>
          </a:bodyPr>
          <a:lstStyle/>
          <a:p>
            <a:pPr>
              <a:buNone/>
            </a:pPr>
            <a:r>
              <a:rPr lang="en-US" altLang="ja-JP" sz="1600" dirty="0" smtClean="0">
                <a:solidFill>
                  <a:schemeClr val="accent2"/>
                </a:solidFill>
                <a:latin typeface="メイリオ"/>
                <a:ea typeface="メイリオ"/>
                <a:cs typeface="メイリオ"/>
              </a:rPr>
              <a:t>10,000 </a:t>
            </a:r>
            <a:r>
              <a:rPr lang="ja-JP" altLang="en-US" sz="1600" dirty="0" smtClean="0">
                <a:solidFill>
                  <a:schemeClr val="accent2"/>
                </a:solidFill>
                <a:latin typeface="メイリオ"/>
                <a:ea typeface="メイリオ"/>
                <a:cs typeface="メイリオ"/>
              </a:rPr>
              <a:t>台以上のデバイスを運用する環境で実証済み</a:t>
            </a:r>
            <a:endParaRPr lang="ja-JP" altLang="en-US" sz="1600" dirty="0">
              <a:solidFill>
                <a:schemeClr val="accent2"/>
              </a:solidFill>
              <a:latin typeface="メイリオ"/>
              <a:ea typeface="メイリオ"/>
              <a:cs typeface="メイリオ"/>
            </a:endParaRPr>
          </a:p>
        </p:txBody>
      </p:sp>
    </p:spTree>
    <p:extLst>
      <p:ext uri="{BB962C8B-B14F-4D97-AF65-F5344CB8AC3E}">
        <p14:creationId xmlns:p14="http://schemas.microsoft.com/office/powerpoint/2010/main" val="8039880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z="2400" dirty="0" err="1" smtClean="0">
                <a:solidFill>
                  <a:srgbClr val="2968AF"/>
                </a:solidFill>
                <a:latin typeface="メイリオ"/>
                <a:ea typeface="メイリオ"/>
                <a:cs typeface="メイリオ"/>
              </a:rPr>
              <a:t>Meraki</a:t>
            </a:r>
            <a:r>
              <a:rPr lang="en-US" altLang="ja-JP" sz="2400" dirty="0">
                <a:solidFill>
                  <a:srgbClr val="2968AF"/>
                </a:solidFill>
                <a:latin typeface="メイリオ"/>
                <a:ea typeface="メイリオ"/>
                <a:cs typeface="メイリオ"/>
              </a:rPr>
              <a:t/>
            </a:r>
            <a:br>
              <a:rPr lang="en-US" altLang="ja-JP" sz="2400" dirty="0">
                <a:solidFill>
                  <a:srgbClr val="2968AF"/>
                </a:solidFill>
                <a:latin typeface="メイリオ"/>
                <a:ea typeface="メイリオ"/>
                <a:cs typeface="メイリオ"/>
              </a:rPr>
            </a:br>
            <a:r>
              <a:rPr lang="ja-JP" altLang="en-US" sz="2000" dirty="0" smtClean="0">
                <a:solidFill>
                  <a:srgbClr val="2968AF"/>
                </a:solidFill>
                <a:latin typeface="メイリオ"/>
                <a:ea typeface="メイリオ"/>
                <a:cs typeface="メイリオ"/>
              </a:rPr>
              <a:t>世界初、エンタープライズ向けクラウド管理によるネットワークシステム</a:t>
            </a:r>
            <a:endParaRPr kumimoji="1" lang="ja-JP" altLang="en-US" sz="2400" dirty="0">
              <a:latin typeface="メイリオ"/>
              <a:ea typeface="メイリオ"/>
              <a:cs typeface="メイリオ"/>
            </a:endParaRPr>
          </a:p>
        </p:txBody>
      </p:sp>
      <p:sp>
        <p:nvSpPr>
          <p:cNvPr id="3" name="Trapezoid 4"/>
          <p:cNvSpPr/>
          <p:nvPr/>
        </p:nvSpPr>
        <p:spPr bwMode="auto">
          <a:xfrm>
            <a:off x="685132" y="2726896"/>
            <a:ext cx="7773737" cy="710811"/>
          </a:xfrm>
          <a:prstGeom prst="trapezoid">
            <a:avLst>
              <a:gd name="adj" fmla="val 421395"/>
            </a:avLst>
          </a:prstGeom>
          <a:gradFill flip="none" rotWithShape="1">
            <a:gsLst>
              <a:gs pos="0">
                <a:schemeClr val="bg1">
                  <a:lumMod val="85000"/>
                </a:schemeClr>
              </a:gs>
              <a:gs pos="100000">
                <a:srgbClr val="FFFFFF"/>
              </a:gs>
            </a:gsLst>
            <a:lin ang="5400000" scaled="0"/>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p:txBody>
      </p:sp>
      <p:pic>
        <p:nvPicPr>
          <p:cNvPr id="4" name="Picture 5" descr="dashboard_screenshots.jpg"/>
          <p:cNvPicPr>
            <a:picLocks noChangeAspect="1"/>
          </p:cNvPicPr>
          <p:nvPr/>
        </p:nvPicPr>
        <p:blipFill rotWithShape="1">
          <a:blip r:embed="rId3" cstate="print">
            <a:extLst>
              <a:ext uri="{28A0092B-C50C-407E-A947-70E740481C1C}">
                <a14:useLocalDpi xmlns:a14="http://schemas.microsoft.com/office/drawing/2010/main"/>
              </a:ext>
            </a:extLst>
          </a:blip>
          <a:srcRect t="-1"/>
          <a:stretch/>
        </p:blipFill>
        <p:spPr>
          <a:xfrm>
            <a:off x="1120221" y="829818"/>
            <a:ext cx="6112388" cy="2500185"/>
          </a:xfrm>
          <a:prstGeom prst="rect">
            <a:avLst/>
          </a:prstGeom>
        </p:spPr>
      </p:pic>
      <p:pic>
        <p:nvPicPr>
          <p:cNvPr id="5"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5839" y="3562140"/>
            <a:ext cx="1658532" cy="983092"/>
          </a:xfrm>
          <a:prstGeom prst="rect">
            <a:avLst/>
          </a:prstGeom>
        </p:spPr>
      </p:pic>
      <p:sp>
        <p:nvSpPr>
          <p:cNvPr id="6" name="TextBox 9"/>
          <p:cNvSpPr txBox="1"/>
          <p:nvPr/>
        </p:nvSpPr>
        <p:spPr>
          <a:xfrm>
            <a:off x="2702963" y="4532704"/>
            <a:ext cx="1795202" cy="461665"/>
          </a:xfrm>
          <a:prstGeom prst="rect">
            <a:avLst/>
          </a:prstGeom>
          <a:noFill/>
        </p:spPr>
        <p:txBody>
          <a:bodyPr wrap="square" rtlCol="0">
            <a:spAutoFit/>
          </a:bodyPr>
          <a:lstStyle/>
          <a:p>
            <a:pPr algn="ctr" defTabSz="457200">
              <a:buNone/>
            </a:pPr>
            <a:r>
              <a:rPr lang="ja-JP" sz="1200" b="0" i="0" dirty="0">
                <a:solidFill>
                  <a:schemeClr val="tx1"/>
                </a:solidFill>
                <a:latin typeface="メイリオ"/>
                <a:ea typeface="メイリオ"/>
                <a:cs typeface="メイリオ"/>
              </a:rPr>
              <a:t>Cisco Meraki MS </a:t>
            </a:r>
          </a:p>
          <a:p>
            <a:pPr algn="ctr" defTabSz="457200">
              <a:buNone/>
            </a:pPr>
            <a:r>
              <a:rPr lang="ja-JP" sz="1200" b="0" i="0" dirty="0" smtClean="0">
                <a:solidFill>
                  <a:schemeClr val="tx1"/>
                </a:solidFill>
                <a:latin typeface="メイリオ"/>
                <a:ea typeface="メイリオ"/>
                <a:cs typeface="メイリオ"/>
              </a:rPr>
              <a:t>イーサネットスイッチ</a:t>
            </a:r>
            <a:endParaRPr lang="en-US" sz="1200" dirty="0">
              <a:latin typeface="メイリオ"/>
              <a:ea typeface="メイリオ"/>
              <a:cs typeface="メイリオ"/>
            </a:endParaRPr>
          </a:p>
        </p:txBody>
      </p:sp>
      <p:pic>
        <p:nvPicPr>
          <p:cNvPr id="7" name="Picture 10" descr="ms-front-top.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702963" y="3616346"/>
            <a:ext cx="1895602" cy="916358"/>
          </a:xfrm>
          <a:prstGeom prst="rect">
            <a:avLst/>
          </a:prstGeom>
        </p:spPr>
      </p:pic>
      <p:pic>
        <p:nvPicPr>
          <p:cNvPr id="8" name="Picture 1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85746" y="3677396"/>
            <a:ext cx="783570" cy="783570"/>
          </a:xfrm>
          <a:prstGeom prst="rect">
            <a:avLst/>
          </a:prstGeom>
        </p:spPr>
      </p:pic>
      <p:sp>
        <p:nvSpPr>
          <p:cNvPr id="9" name="TextBox 12"/>
          <p:cNvSpPr txBox="1"/>
          <p:nvPr/>
        </p:nvSpPr>
        <p:spPr>
          <a:xfrm>
            <a:off x="7141029" y="4532704"/>
            <a:ext cx="1953132" cy="461665"/>
          </a:xfrm>
          <a:prstGeom prst="rect">
            <a:avLst/>
          </a:prstGeom>
          <a:noFill/>
        </p:spPr>
        <p:txBody>
          <a:bodyPr wrap="square" rtlCol="0">
            <a:spAutoFit/>
          </a:bodyPr>
          <a:lstStyle/>
          <a:p>
            <a:pPr algn="ctr" defTabSz="457200">
              <a:buNone/>
            </a:pPr>
            <a:r>
              <a:rPr lang="ja-JP" sz="1200" b="0" i="0" dirty="0">
                <a:solidFill>
                  <a:schemeClr val="tx1"/>
                </a:solidFill>
                <a:latin typeface="メイリオ"/>
                <a:ea typeface="メイリオ"/>
                <a:cs typeface="メイリオ"/>
              </a:rPr>
              <a:t>Cisco Meraki SM</a:t>
            </a:r>
          </a:p>
          <a:p>
            <a:pPr algn="ctr" defTabSz="457200">
              <a:buNone/>
            </a:pPr>
            <a:r>
              <a:rPr lang="ja-JP" sz="1200" b="0" i="0" dirty="0">
                <a:solidFill>
                  <a:schemeClr val="tx1"/>
                </a:solidFill>
                <a:latin typeface="メイリオ"/>
                <a:ea typeface="メイリオ"/>
                <a:cs typeface="メイリオ"/>
              </a:rPr>
              <a:t>モバイル デバイス管理</a:t>
            </a:r>
            <a:endParaRPr lang="en-US" sz="1200" dirty="0">
              <a:latin typeface="メイリオ"/>
              <a:ea typeface="メイリオ"/>
              <a:cs typeface="メイリオ"/>
            </a:endParaRPr>
          </a:p>
        </p:txBody>
      </p:sp>
      <p:sp>
        <p:nvSpPr>
          <p:cNvPr id="10" name="TextBox 13"/>
          <p:cNvSpPr txBox="1"/>
          <p:nvPr/>
        </p:nvSpPr>
        <p:spPr>
          <a:xfrm>
            <a:off x="229706" y="4545232"/>
            <a:ext cx="1795202" cy="461665"/>
          </a:xfrm>
          <a:prstGeom prst="rect">
            <a:avLst/>
          </a:prstGeom>
          <a:noFill/>
        </p:spPr>
        <p:txBody>
          <a:bodyPr wrap="square" rtlCol="0">
            <a:spAutoFit/>
          </a:bodyPr>
          <a:lstStyle/>
          <a:p>
            <a:pPr algn="ctr" defTabSz="457200">
              <a:buNone/>
            </a:pPr>
            <a:r>
              <a:rPr lang="ja-JP" sz="1200" b="0" i="0" dirty="0">
                <a:solidFill>
                  <a:schemeClr val="tx1"/>
                </a:solidFill>
                <a:latin typeface="メイリオ"/>
                <a:ea typeface="メイリオ"/>
                <a:cs typeface="メイリオ"/>
              </a:rPr>
              <a:t>Cisco Meraki MR </a:t>
            </a:r>
          </a:p>
          <a:p>
            <a:pPr algn="ctr" defTabSz="457200">
              <a:buNone/>
            </a:pPr>
            <a:r>
              <a:rPr lang="ja-JP" sz="1200" b="0" i="0" dirty="0">
                <a:solidFill>
                  <a:schemeClr val="tx1"/>
                </a:solidFill>
                <a:latin typeface="メイリオ"/>
                <a:ea typeface="メイリオ"/>
                <a:cs typeface="メイリオ"/>
              </a:rPr>
              <a:t>ワイヤレス LAN</a:t>
            </a:r>
            <a:endParaRPr lang="en-US" sz="1200" dirty="0">
              <a:latin typeface="メイリオ"/>
              <a:ea typeface="メイリオ"/>
              <a:cs typeface="メイリオ"/>
            </a:endParaRPr>
          </a:p>
        </p:txBody>
      </p:sp>
      <p:pic>
        <p:nvPicPr>
          <p:cNvPr id="11" name="Picture 14"/>
          <p:cNvPicPr>
            <a:picLocks noChangeAspect="1"/>
          </p:cNvPicPr>
          <p:nvPr/>
        </p:nvPicPr>
        <p:blipFill>
          <a:blip r:embed="rId7"/>
          <a:stretch>
            <a:fillRect/>
          </a:stretch>
        </p:blipFill>
        <p:spPr>
          <a:xfrm>
            <a:off x="5322774" y="3616346"/>
            <a:ext cx="1521400" cy="1049681"/>
          </a:xfrm>
          <a:prstGeom prst="rect">
            <a:avLst/>
          </a:prstGeom>
        </p:spPr>
      </p:pic>
      <p:sp>
        <p:nvSpPr>
          <p:cNvPr id="12" name="TextBox 15"/>
          <p:cNvSpPr txBox="1"/>
          <p:nvPr/>
        </p:nvSpPr>
        <p:spPr>
          <a:xfrm>
            <a:off x="4897154" y="4523315"/>
            <a:ext cx="2243875" cy="461665"/>
          </a:xfrm>
          <a:prstGeom prst="rect">
            <a:avLst/>
          </a:prstGeom>
          <a:noFill/>
        </p:spPr>
        <p:txBody>
          <a:bodyPr wrap="square" rtlCol="0">
            <a:spAutoFit/>
          </a:bodyPr>
          <a:lstStyle/>
          <a:p>
            <a:pPr algn="ctr" defTabSz="457200">
              <a:buNone/>
            </a:pPr>
            <a:r>
              <a:rPr lang="ja-JP" sz="1200" b="0" i="0" dirty="0">
                <a:solidFill>
                  <a:schemeClr val="tx1"/>
                </a:solidFill>
                <a:latin typeface="メイリオ"/>
                <a:ea typeface="メイリオ"/>
                <a:cs typeface="メイリオ"/>
              </a:rPr>
              <a:t>Cisco Meraki MX </a:t>
            </a:r>
          </a:p>
          <a:p>
            <a:pPr algn="ctr" defTabSz="457200">
              <a:buNone/>
            </a:pPr>
            <a:r>
              <a:rPr lang="ja-JP" sz="1200" b="0" i="0" dirty="0" smtClean="0">
                <a:solidFill>
                  <a:schemeClr val="tx1"/>
                </a:solidFill>
                <a:latin typeface="メイリオ"/>
                <a:ea typeface="メイリオ"/>
                <a:cs typeface="メイリオ"/>
              </a:rPr>
              <a:t>セキュリティアプライアンス</a:t>
            </a:r>
            <a:endParaRPr lang="en-US" sz="1200" dirty="0">
              <a:latin typeface="メイリオ"/>
              <a:ea typeface="メイリオ"/>
              <a:cs typeface="メイリオ"/>
            </a:endParaRPr>
          </a:p>
        </p:txBody>
      </p:sp>
      <p:sp>
        <p:nvSpPr>
          <p:cNvPr id="13" name="角丸四角形 12"/>
          <p:cNvSpPr/>
          <p:nvPr/>
        </p:nvSpPr>
        <p:spPr>
          <a:xfrm>
            <a:off x="4778375" y="3562140"/>
            <a:ext cx="2651125" cy="1444757"/>
          </a:xfrm>
          <a:prstGeom prst="roundRect">
            <a:avLst/>
          </a:prstGeom>
          <a:noFill/>
          <a:ln w="57150" cmpd="sng">
            <a:solidFill>
              <a:srgbClr val="214794"/>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pic>
        <p:nvPicPr>
          <p:cNvPr id="16" name="図 15"/>
          <p:cNvPicPr>
            <a:picLocks noChangeAspect="1"/>
          </p:cNvPicPr>
          <p:nvPr/>
        </p:nvPicPr>
        <p:blipFill rotWithShape="1">
          <a:blip r:embed="rId8">
            <a:clrChange>
              <a:clrFrom>
                <a:srgbClr val="FFFFFF"/>
              </a:clrFrom>
              <a:clrTo>
                <a:srgbClr val="FFFFFF">
                  <a:alpha val="0"/>
                </a:srgbClr>
              </a:clrTo>
            </a:clrChange>
          </a:blip>
          <a:srcRect l="17836" t="28525" r="20171" b="26476"/>
          <a:stretch/>
        </p:blipFill>
        <p:spPr>
          <a:xfrm>
            <a:off x="7501492" y="2148690"/>
            <a:ext cx="1309137" cy="781675"/>
          </a:xfrm>
          <a:prstGeom prst="rect">
            <a:avLst/>
          </a:prstGeom>
        </p:spPr>
      </p:pic>
      <p:sp>
        <p:nvSpPr>
          <p:cNvPr id="17" name="TextBox 12"/>
          <p:cNvSpPr txBox="1"/>
          <p:nvPr/>
        </p:nvSpPr>
        <p:spPr>
          <a:xfrm>
            <a:off x="7190868" y="2868338"/>
            <a:ext cx="1953132" cy="461665"/>
          </a:xfrm>
          <a:prstGeom prst="rect">
            <a:avLst/>
          </a:prstGeom>
          <a:noFill/>
        </p:spPr>
        <p:txBody>
          <a:bodyPr wrap="square" rtlCol="0">
            <a:spAutoFit/>
          </a:bodyPr>
          <a:lstStyle/>
          <a:p>
            <a:pPr algn="ctr" defTabSz="457200">
              <a:buNone/>
            </a:pPr>
            <a:r>
              <a:rPr lang="ja-JP" sz="1200" b="0" i="0" dirty="0">
                <a:solidFill>
                  <a:schemeClr val="tx1"/>
                </a:solidFill>
                <a:latin typeface="メイリオ"/>
                <a:ea typeface="メイリオ"/>
                <a:cs typeface="メイリオ"/>
              </a:rPr>
              <a:t>Cisco Meraki </a:t>
            </a:r>
            <a:r>
              <a:rPr lang="en-US" altLang="ja-JP" sz="1200" b="0" i="0" dirty="0" smtClean="0">
                <a:solidFill>
                  <a:schemeClr val="tx1"/>
                </a:solidFill>
                <a:latin typeface="メイリオ"/>
                <a:ea typeface="メイリオ"/>
                <a:cs typeface="メイリオ"/>
              </a:rPr>
              <a:t>MC</a:t>
            </a:r>
            <a:endParaRPr lang="ja-JP" sz="1200" b="0" i="0" dirty="0">
              <a:solidFill>
                <a:schemeClr val="tx1"/>
              </a:solidFill>
              <a:latin typeface="メイリオ"/>
              <a:ea typeface="メイリオ"/>
              <a:cs typeface="メイリオ"/>
            </a:endParaRPr>
          </a:p>
          <a:p>
            <a:pPr algn="ctr" defTabSz="457200">
              <a:buNone/>
            </a:pPr>
            <a:r>
              <a:rPr lang="en-US" sz="1200" dirty="0" smtClean="0">
                <a:latin typeface="メイリオ"/>
                <a:ea typeface="メイリオ"/>
                <a:cs typeface="メイリオ"/>
              </a:rPr>
              <a:t>クラウド管理電話</a:t>
            </a:r>
            <a:endParaRPr lang="en-US" sz="1200" dirty="0">
              <a:latin typeface="メイリオ"/>
              <a:ea typeface="メイリオ"/>
              <a:cs typeface="メイリオ"/>
            </a:endParaRPr>
          </a:p>
        </p:txBody>
      </p:sp>
    </p:spTree>
    <p:extLst>
      <p:ext uri="{BB962C8B-B14F-4D97-AF65-F5344CB8AC3E}">
        <p14:creationId xmlns:p14="http://schemas.microsoft.com/office/powerpoint/2010/main" val="283788047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checkerboard(across)">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r-mx-ms.jpg"/>
          <p:cNvPicPr>
            <a:picLocks noChangeAspect="1"/>
          </p:cNvPicPr>
          <p:nvPr/>
        </p:nvPicPr>
        <p:blipFill rotWithShape="1">
          <a:blip r:embed="rId3" cstate="print">
            <a:extLst>
              <a:ext uri="{28A0092B-C50C-407E-A947-70E740481C1C}">
                <a14:useLocalDpi xmlns:a14="http://schemas.microsoft.com/office/drawing/2010/main" val="0"/>
              </a:ext>
            </a:extLst>
          </a:blip>
          <a:srcRect l="40005" t="14206" r="24465"/>
          <a:stretch/>
        </p:blipFill>
        <p:spPr>
          <a:xfrm>
            <a:off x="927268" y="829818"/>
            <a:ext cx="4125110" cy="3000017"/>
          </a:xfrm>
          <a:prstGeom prst="rect">
            <a:avLst/>
          </a:prstGeom>
        </p:spPr>
      </p:pic>
      <p:sp>
        <p:nvSpPr>
          <p:cNvPr id="2" name="Title 1"/>
          <p:cNvSpPr>
            <a:spLocks noGrp="1"/>
          </p:cNvSpPr>
          <p:nvPr>
            <p:ph type="title"/>
          </p:nvPr>
        </p:nvSpPr>
        <p:spPr/>
        <p:txBody>
          <a:bodyPr/>
          <a:lstStyle/>
          <a:p>
            <a:r>
              <a:rPr lang="en-US" altLang="ja-JP" smtClean="0">
                <a:latin typeface="メイリオ"/>
                <a:ea typeface="メイリオ"/>
                <a:cs typeface="メイリオ"/>
              </a:rPr>
              <a:t>MX </a:t>
            </a:r>
            <a:r>
              <a:rPr lang="ja-JP" altLang="en-US" smtClean="0">
                <a:latin typeface="メイリオ"/>
                <a:ea typeface="メイリオ"/>
                <a:cs typeface="メイリオ"/>
              </a:rPr>
              <a:t>セキュリティ アプライアンス</a:t>
            </a:r>
            <a:endParaRPr lang="ja-JP" altLang="en-US">
              <a:latin typeface="メイリオ"/>
              <a:ea typeface="メイリオ"/>
              <a:cs typeface="メイリオ"/>
            </a:endParaRPr>
          </a:p>
        </p:txBody>
      </p:sp>
      <p:sp>
        <p:nvSpPr>
          <p:cNvPr id="10" name="Rectangle 9"/>
          <p:cNvSpPr/>
          <p:nvPr/>
        </p:nvSpPr>
        <p:spPr>
          <a:xfrm>
            <a:off x="5419540" y="858939"/>
            <a:ext cx="2326950" cy="2409741"/>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rtlCol="0" anchor="ctr"/>
          <a:lstStyle/>
          <a:p>
            <a:pPr algn="ctr"/>
            <a:endParaRPr lang="ja-JP" altLang="en-US">
              <a:latin typeface="メイリオ"/>
              <a:ea typeface="メイリオ"/>
              <a:cs typeface="メイリオ"/>
            </a:endParaRPr>
          </a:p>
        </p:txBody>
      </p:sp>
      <p:sp>
        <p:nvSpPr>
          <p:cNvPr id="12" name="TextBox 11"/>
          <p:cNvSpPr txBox="1"/>
          <p:nvPr/>
        </p:nvSpPr>
        <p:spPr>
          <a:xfrm>
            <a:off x="6299054" y="1053574"/>
            <a:ext cx="1256877" cy="346259"/>
          </a:xfrm>
          <a:prstGeom prst="rect">
            <a:avLst/>
          </a:prstGeom>
          <a:noFill/>
        </p:spPr>
        <p:txBody>
          <a:bodyPr wrap="square" lIns="68589" tIns="34295" rIns="68589" bIns="34295" rtlCol="0">
            <a:spAutoFit/>
          </a:bodyPr>
          <a:lstStyle/>
          <a:p>
            <a:r>
              <a:rPr lang="ja-JP" altLang="en-US" b="1" smtClean="0">
                <a:solidFill>
                  <a:srgbClr val="595959"/>
                </a:solidFill>
                <a:latin typeface="メイリオ"/>
                <a:ea typeface="メイリオ"/>
                <a:cs typeface="メイリオ"/>
              </a:rPr>
              <a:t>主な機能</a:t>
            </a:r>
            <a:endParaRPr lang="ja-JP" altLang="en-US" b="1">
              <a:solidFill>
                <a:srgbClr val="595959"/>
              </a:solidFill>
              <a:latin typeface="メイリオ"/>
              <a:ea typeface="メイリオ"/>
              <a:cs typeface="メイリオ"/>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46571" y="992620"/>
            <a:ext cx="652483" cy="652313"/>
          </a:xfrm>
          <a:prstGeom prst="rect">
            <a:avLst/>
          </a:prstGeom>
        </p:spPr>
      </p:pic>
      <p:sp>
        <p:nvSpPr>
          <p:cNvPr id="16" name="TextBox 15"/>
          <p:cNvSpPr txBox="1"/>
          <p:nvPr/>
        </p:nvSpPr>
        <p:spPr>
          <a:xfrm>
            <a:off x="5579106" y="1678550"/>
            <a:ext cx="2330219" cy="1377300"/>
          </a:xfrm>
          <a:prstGeom prst="rect">
            <a:avLst/>
          </a:prstGeom>
          <a:noFill/>
        </p:spPr>
        <p:txBody>
          <a:bodyPr wrap="square" lIns="68589" tIns="34295" rIns="68589" bIns="34295" rtlCol="0">
            <a:spAutoFit/>
          </a:bodyPr>
          <a:lstStyle/>
          <a:p>
            <a:pPr>
              <a:spcAft>
                <a:spcPts val="750"/>
              </a:spcAft>
            </a:pPr>
            <a:r>
              <a:rPr lang="ja-JP" altLang="en-US" sz="1200">
                <a:solidFill>
                  <a:srgbClr val="7F7F7F"/>
                </a:solidFill>
                <a:latin typeface="メイリオ"/>
                <a:ea typeface="メイリオ"/>
                <a:cs typeface="メイリオ"/>
              </a:rPr>
              <a:t>ゼロタッチのサイト間 </a:t>
            </a:r>
            <a:r>
              <a:rPr lang="en-US" altLang="ja-JP" sz="1200">
                <a:solidFill>
                  <a:srgbClr val="7F7F7F"/>
                </a:solidFill>
                <a:latin typeface="メイリオ"/>
                <a:ea typeface="メイリオ"/>
                <a:cs typeface="メイリオ"/>
              </a:rPr>
              <a:t>VPN</a:t>
            </a:r>
          </a:p>
          <a:p>
            <a:pPr>
              <a:spcAft>
                <a:spcPts val="750"/>
              </a:spcAft>
            </a:pPr>
            <a:r>
              <a:rPr lang="en-US" altLang="ja-JP" sz="1200">
                <a:solidFill>
                  <a:srgbClr val="7F7F7F"/>
                </a:solidFill>
                <a:latin typeface="メイリオ"/>
                <a:ea typeface="メイリオ"/>
                <a:cs typeface="メイリオ"/>
              </a:rPr>
              <a:t>NG </a:t>
            </a:r>
            <a:r>
              <a:rPr lang="ja-JP" altLang="en-US" sz="1200">
                <a:solidFill>
                  <a:srgbClr val="7F7F7F"/>
                </a:solidFill>
                <a:latin typeface="メイリオ"/>
                <a:ea typeface="メイリオ"/>
                <a:cs typeface="メイリオ"/>
              </a:rPr>
              <a:t>ファイアウォール</a:t>
            </a:r>
          </a:p>
          <a:p>
            <a:pPr>
              <a:spcAft>
                <a:spcPts val="750"/>
              </a:spcAft>
            </a:pPr>
            <a:r>
              <a:rPr lang="ja-JP" altLang="en-US" sz="1200">
                <a:solidFill>
                  <a:srgbClr val="7F7F7F"/>
                </a:solidFill>
                <a:latin typeface="メイリオ"/>
                <a:ea typeface="メイリオ"/>
                <a:cs typeface="メイリオ"/>
              </a:rPr>
              <a:t>コンテンツ フィルタリング</a:t>
            </a:r>
          </a:p>
          <a:p>
            <a:pPr>
              <a:spcAft>
                <a:spcPts val="750"/>
              </a:spcAft>
            </a:pPr>
            <a:r>
              <a:rPr lang="en-US" altLang="ja-JP" sz="1200">
                <a:solidFill>
                  <a:srgbClr val="7F7F7F"/>
                </a:solidFill>
                <a:latin typeface="メイリオ"/>
                <a:ea typeface="メイリオ"/>
                <a:cs typeface="メイリオ"/>
              </a:rPr>
              <a:t>WAN </a:t>
            </a:r>
            <a:r>
              <a:rPr lang="ja-JP" altLang="en-US" sz="1200">
                <a:solidFill>
                  <a:srgbClr val="7F7F7F"/>
                </a:solidFill>
                <a:latin typeface="メイリオ"/>
                <a:ea typeface="メイリオ"/>
                <a:cs typeface="メイリオ"/>
              </a:rPr>
              <a:t>リンク ボンディング</a:t>
            </a:r>
          </a:p>
          <a:p>
            <a:pPr>
              <a:spcAft>
                <a:spcPts val="750"/>
              </a:spcAft>
            </a:pPr>
            <a:r>
              <a:rPr lang="ja-JP" altLang="en-US" sz="1200">
                <a:solidFill>
                  <a:srgbClr val="7F7F7F"/>
                </a:solidFill>
                <a:latin typeface="メイリオ"/>
                <a:ea typeface="メイリオ"/>
                <a:cs typeface="メイリオ"/>
              </a:rPr>
              <a:t>侵入検知と防御</a:t>
            </a:r>
          </a:p>
        </p:txBody>
      </p:sp>
      <p:sp>
        <p:nvSpPr>
          <p:cNvPr id="13" name="TextBox 12"/>
          <p:cNvSpPr txBox="1"/>
          <p:nvPr/>
        </p:nvSpPr>
        <p:spPr>
          <a:xfrm>
            <a:off x="1190626" y="3845561"/>
            <a:ext cx="7334249" cy="957965"/>
          </a:xfrm>
          <a:prstGeom prst="rect">
            <a:avLst/>
          </a:prstGeom>
          <a:noFill/>
        </p:spPr>
        <p:txBody>
          <a:bodyPr wrap="square" lIns="68589" tIns="34295" rIns="68589" bIns="34295" rtlCol="0">
            <a:spAutoFit/>
          </a:bodyPr>
          <a:lstStyle/>
          <a:p>
            <a:pPr>
              <a:spcAft>
                <a:spcPts val="450"/>
              </a:spcAft>
            </a:pPr>
            <a:r>
              <a:rPr lang="ja-JP" altLang="en-US" dirty="0" smtClean="0">
                <a:solidFill>
                  <a:srgbClr val="061C23"/>
                </a:solidFill>
                <a:latin typeface="メイリオ"/>
                <a:ea typeface="メイリオ"/>
                <a:cs typeface="メイリオ"/>
              </a:rPr>
              <a:t>小規模ブランチから大規模キャンパスやデータセンターを対象とした</a:t>
            </a:r>
            <a:r>
              <a:rPr lang="en-US" altLang="ja-JP" dirty="0" smtClean="0">
                <a:solidFill>
                  <a:srgbClr val="061C23"/>
                </a:solidFill>
                <a:latin typeface="メイリオ"/>
                <a:ea typeface="メイリオ"/>
                <a:cs typeface="メイリオ"/>
              </a:rPr>
              <a:t>6 </a:t>
            </a:r>
            <a:r>
              <a:rPr lang="ja-JP" altLang="en-US" dirty="0" smtClean="0">
                <a:solidFill>
                  <a:srgbClr val="061C23"/>
                </a:solidFill>
                <a:latin typeface="メイリオ"/>
                <a:ea typeface="メイリオ"/>
                <a:cs typeface="メイリオ"/>
              </a:rPr>
              <a:t>種類のモデル</a:t>
            </a:r>
          </a:p>
          <a:p>
            <a:pPr>
              <a:spcAft>
                <a:spcPts val="450"/>
              </a:spcAft>
            </a:pPr>
            <a:r>
              <a:rPr lang="en-US" altLang="ja-JP" dirty="0" smtClean="0">
                <a:solidFill>
                  <a:srgbClr val="061C23"/>
                </a:solidFill>
                <a:latin typeface="メイリオ"/>
                <a:ea typeface="メイリオ"/>
                <a:cs typeface="メイリオ"/>
              </a:rPr>
              <a:t>1 </a:t>
            </a:r>
            <a:r>
              <a:rPr lang="ja-JP" altLang="en-US" dirty="0" smtClean="0">
                <a:solidFill>
                  <a:srgbClr val="061C23"/>
                </a:solidFill>
                <a:latin typeface="メイリオ"/>
                <a:ea typeface="メイリオ"/>
                <a:cs typeface="メイリオ"/>
              </a:rPr>
              <a:t>つのアプライアンスにネットワーキングとセキュリティを完備</a:t>
            </a:r>
          </a:p>
        </p:txBody>
      </p:sp>
    </p:spTree>
    <p:extLst>
      <p:ext uri="{BB962C8B-B14F-4D97-AF65-F5344CB8AC3E}">
        <p14:creationId xmlns:p14="http://schemas.microsoft.com/office/powerpoint/2010/main" val="8830315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err="1" smtClean="0">
                <a:solidFill>
                  <a:srgbClr val="2968AF"/>
                </a:solidFill>
                <a:latin typeface="メイリオ"/>
                <a:ea typeface="メイリオ"/>
                <a:cs typeface="メイリオ"/>
              </a:rPr>
              <a:t>Meraki</a:t>
            </a:r>
            <a:r>
              <a:rPr lang="en-US" altLang="ja-JP" dirty="0" smtClean="0">
                <a:solidFill>
                  <a:srgbClr val="2968AF"/>
                </a:solidFill>
                <a:latin typeface="メイリオ"/>
                <a:ea typeface="メイリオ"/>
                <a:cs typeface="メイリオ"/>
              </a:rPr>
              <a:t> MX</a:t>
            </a:r>
            <a:r>
              <a:rPr lang="ja-JP" altLang="en-US" dirty="0" smtClean="0">
                <a:solidFill>
                  <a:srgbClr val="2968AF"/>
                </a:solidFill>
                <a:latin typeface="メイリオ"/>
                <a:ea typeface="メイリオ"/>
                <a:cs typeface="メイリオ"/>
              </a:rPr>
              <a:t> セキュリティ機能</a:t>
            </a:r>
            <a:endParaRPr lang="en-US" dirty="0">
              <a:solidFill>
                <a:srgbClr val="2968AF"/>
              </a:solidFill>
              <a:latin typeface="メイリオ"/>
              <a:ea typeface="メイリオ"/>
              <a:cs typeface="メイリオ"/>
            </a:endParaRPr>
          </a:p>
        </p:txBody>
      </p:sp>
      <p:graphicFrame>
        <p:nvGraphicFramePr>
          <p:cNvPr id="6" name="Table 5"/>
          <p:cNvGraphicFramePr>
            <a:graphicFrameLocks noGrp="1"/>
          </p:cNvGraphicFramePr>
          <p:nvPr>
            <p:extLst>
              <p:ext uri="{D42A27DB-BD31-4B8C-83A1-F6EECF244321}">
                <p14:modId xmlns:p14="http://schemas.microsoft.com/office/powerpoint/2010/main" val="1151681681"/>
              </p:ext>
            </p:extLst>
          </p:nvPr>
        </p:nvGraphicFramePr>
        <p:xfrm>
          <a:off x="113649" y="875654"/>
          <a:ext cx="3878184" cy="3801416"/>
        </p:xfrm>
        <a:graphic>
          <a:graphicData uri="http://schemas.openxmlformats.org/drawingml/2006/table">
            <a:tbl>
              <a:tblPr firstRow="1" bandRow="1">
                <a:tableStyleId>{2D5ABB26-0587-4C30-8999-92F81FD0307C}</a:tableStyleId>
              </a:tblPr>
              <a:tblGrid>
                <a:gridCol w="1989471"/>
                <a:gridCol w="1888713"/>
              </a:tblGrid>
              <a:tr h="814613">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侵入検知 </a:t>
                      </a:r>
                      <a:r>
                        <a:rPr lang="en-US" altLang="ja-JP" sz="1400" b="1" dirty="0" smtClean="0">
                          <a:latin typeface="メイリオ"/>
                          <a:ea typeface="メイリオ"/>
                          <a:cs typeface="メイリオ"/>
                        </a:rPr>
                        <a:t>/</a:t>
                      </a:r>
                      <a:r>
                        <a:rPr lang="ja-JP" altLang="en-US" sz="1400" b="1" dirty="0" smtClean="0">
                          <a:latin typeface="メイリオ"/>
                          <a:ea typeface="メイリオ"/>
                          <a:cs typeface="メイリオ"/>
                        </a:rPr>
                        <a:t> 防御</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bg1">
                              <a:lumMod val="50000"/>
                            </a:schemeClr>
                          </a:solidFill>
                          <a:latin typeface="メイリオ"/>
                          <a:ea typeface="メイリオ"/>
                          <a:cs typeface="メイリオ"/>
                        </a:rPr>
                        <a:t>Snort IDS</a:t>
                      </a:r>
                      <a:r>
                        <a:rPr lang="en-US" sz="1400" i="0" baseline="0" dirty="0" smtClean="0">
                          <a:solidFill>
                            <a:schemeClr val="bg1">
                              <a:lumMod val="50000"/>
                            </a:schemeClr>
                          </a:solidFill>
                          <a:latin typeface="メイリオ"/>
                          <a:ea typeface="メイリオ"/>
                          <a:cs typeface="メイリオ"/>
                        </a:rPr>
                        <a:t> / IPS</a:t>
                      </a:r>
                      <a:r>
                        <a:rPr lang="en-US" sz="1400" i="0" baseline="0" dirty="0" smtClean="0">
                          <a:solidFill>
                            <a:schemeClr val="bg1">
                              <a:lumMod val="50000"/>
                            </a:schemeClr>
                          </a:solidFill>
                          <a:latin typeface="メイリオ"/>
                          <a:ea typeface="メイリオ"/>
                          <a:cs typeface="メイリオ"/>
                        </a:rPr>
                        <a:t>,</a:t>
                      </a:r>
                      <a:r>
                        <a:rPr lang="en-US" sz="1400" i="0" baseline="0" dirty="0" smtClean="0">
                          <a:solidFill>
                            <a:schemeClr val="bg1">
                              <a:lumMod val="50000"/>
                            </a:schemeClr>
                          </a:solidFill>
                          <a:latin typeface="メイリオ"/>
                          <a:ea typeface="メイリオ"/>
                          <a:cs typeface="メイリオ"/>
                        </a:rPr>
                        <a:t> </a:t>
                      </a:r>
                      <a:r>
                        <a:rPr lang="ja-JP" altLang="en-US" sz="1400" i="0" baseline="0" dirty="0" smtClean="0">
                          <a:solidFill>
                            <a:schemeClr val="bg1">
                              <a:lumMod val="50000"/>
                            </a:schemeClr>
                          </a:solidFill>
                          <a:latin typeface="メイリオ"/>
                          <a:ea typeface="メイリオ"/>
                          <a:cs typeface="メイリオ"/>
                        </a:rPr>
                        <a:t>日々</a:t>
                      </a:r>
                      <a:r>
                        <a:rPr lang="ja-JP" altLang="en-US" sz="1400" i="0" baseline="0" dirty="0" smtClean="0">
                          <a:solidFill>
                            <a:schemeClr val="bg1">
                              <a:lumMod val="50000"/>
                            </a:schemeClr>
                          </a:solidFill>
                          <a:latin typeface="メイリオ"/>
                          <a:ea typeface="メイリオ"/>
                          <a:cs typeface="メイリオ"/>
                        </a:rPr>
                        <a:t>更新</a:t>
                      </a:r>
                      <a:endParaRPr lang="en-US" sz="1400" i="0" dirty="0" smtClean="0">
                        <a:solidFill>
                          <a:schemeClr val="bg1">
                            <a:lumMod val="50000"/>
                          </a:schemeClr>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コンテンツフィルタリング</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i="0" dirty="0" err="1" smtClean="0">
                          <a:solidFill>
                            <a:srgbClr val="7F7F7F"/>
                          </a:solidFill>
                          <a:latin typeface="メイリオ"/>
                          <a:ea typeface="メイリオ"/>
                          <a:cs typeface="メイリオ"/>
                        </a:rPr>
                        <a:t>BrightCloud</a:t>
                      </a:r>
                      <a:r>
                        <a:rPr lang="en-US" sz="1400" i="0" dirty="0" smtClean="0">
                          <a:solidFill>
                            <a:srgbClr val="7F7F7F"/>
                          </a:solidFill>
                          <a:latin typeface="メイリオ"/>
                          <a:ea typeface="メイリオ"/>
                          <a:cs typeface="メイリオ"/>
                        </a:rPr>
                        <a:t> </a:t>
                      </a:r>
                      <a:r>
                        <a:rPr lang="en-US" sz="1400" i="0" dirty="0" smtClean="0">
                          <a:solidFill>
                            <a:srgbClr val="7F7F7F"/>
                          </a:solidFill>
                          <a:latin typeface="メイリオ"/>
                          <a:ea typeface="メイリオ"/>
                          <a:cs typeface="メイリオ"/>
                        </a:rPr>
                        <a:t>–</a:t>
                      </a:r>
                      <a:r>
                        <a:rPr lang="en-US" sz="1400" i="0" baseline="0" dirty="0" smtClean="0">
                          <a:solidFill>
                            <a:srgbClr val="7F7F7F"/>
                          </a:solidFill>
                          <a:latin typeface="メイリオ"/>
                          <a:ea typeface="メイリオ"/>
                          <a:cs typeface="メイリオ"/>
                        </a:rPr>
                        <a:t> </a:t>
                      </a:r>
                      <a:r>
                        <a:rPr lang="en-US" altLang="ja-JP" sz="1400" i="0" baseline="0" dirty="0" smtClean="0">
                          <a:solidFill>
                            <a:srgbClr val="7F7F7F"/>
                          </a:solidFill>
                          <a:latin typeface="メイリオ"/>
                          <a:ea typeface="メイリオ"/>
                          <a:cs typeface="メイリオ"/>
                        </a:rPr>
                        <a:t>40</a:t>
                      </a:r>
                      <a:r>
                        <a:rPr lang="ja-JP" altLang="en-US" sz="1400" i="0" baseline="0" dirty="0" smtClean="0">
                          <a:solidFill>
                            <a:srgbClr val="7F7F7F"/>
                          </a:solidFill>
                          <a:latin typeface="メイリオ"/>
                          <a:ea typeface="メイリオ"/>
                          <a:cs typeface="メイリオ"/>
                        </a:rPr>
                        <a:t> 億</a:t>
                      </a:r>
                      <a:r>
                        <a:rPr lang="en-US" sz="1400" i="0" dirty="0" smtClean="0">
                          <a:solidFill>
                            <a:srgbClr val="7F7F7F"/>
                          </a:solidFill>
                          <a:latin typeface="メイリオ"/>
                          <a:ea typeface="メイリオ"/>
                          <a:cs typeface="メイリオ"/>
                        </a:rPr>
                        <a:t>URLs</a:t>
                      </a:r>
                      <a:r>
                        <a:rPr lang="en-US" sz="1400" i="0" baseline="0" dirty="0" smtClean="0">
                          <a:solidFill>
                            <a:srgbClr val="7F7F7F"/>
                          </a:solidFill>
                          <a:latin typeface="メイリオ"/>
                          <a:ea typeface="メイリオ"/>
                          <a:cs typeface="メイリオ"/>
                        </a:rPr>
                        <a:t>,  </a:t>
                      </a:r>
                      <a:r>
                        <a:rPr lang="ja-JP" altLang="en-US" sz="1400" i="0" baseline="0" dirty="0" smtClean="0">
                          <a:solidFill>
                            <a:srgbClr val="7F7F7F"/>
                          </a:solidFill>
                          <a:latin typeface="メイリオ"/>
                          <a:ea typeface="メイリオ"/>
                          <a:cs typeface="メイリオ"/>
                        </a:rPr>
                        <a:t>リアルタイム更新</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b="1" dirty="0" smtClean="0">
                          <a:latin typeface="メイリオ"/>
                          <a:ea typeface="メイリオ"/>
                          <a:cs typeface="メイリオ"/>
                        </a:rPr>
                        <a:t>ジオロケーション</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ja-JP" altLang="en-US" sz="1400" i="0" dirty="0" smtClean="0">
                          <a:solidFill>
                            <a:srgbClr val="7F7F7F"/>
                          </a:solidFill>
                          <a:latin typeface="メイリオ"/>
                          <a:ea typeface="メイリオ"/>
                          <a:cs typeface="メイリオ"/>
                        </a:rPr>
                        <a:t>国地域による通信制御</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b="1" dirty="0" smtClean="0">
                          <a:latin typeface="メイリオ"/>
                          <a:ea typeface="メイリオ"/>
                          <a:cs typeface="メイリオ"/>
                        </a:rPr>
                        <a:t>アンチウィルス / </a:t>
                      </a:r>
                      <a:r>
                        <a:rPr lang="ja-JP" altLang="en-US" sz="1400" b="1" dirty="0" smtClean="0">
                          <a:latin typeface="メイリオ"/>
                          <a:ea typeface="メイリオ"/>
                          <a:cs typeface="メイリオ"/>
                        </a:rPr>
                        <a:t>アンチフィッシング</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a:noFill/>
                    </a:lnB>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i="0" dirty="0" smtClean="0">
                          <a:solidFill>
                            <a:srgbClr val="7F7F7F"/>
                          </a:solidFill>
                          <a:latin typeface="メイリオ"/>
                          <a:ea typeface="メイリオ"/>
                          <a:cs typeface="メイリオ"/>
                        </a:rPr>
                        <a:t>Kaspersky AV</a:t>
                      </a:r>
                      <a:r>
                        <a:rPr lang="ja-JP" altLang="en-US" sz="1400" i="0" baseline="0" dirty="0" smtClean="0">
                          <a:solidFill>
                            <a:srgbClr val="7F7F7F"/>
                          </a:solidFill>
                          <a:latin typeface="メイリオ"/>
                          <a:ea typeface="メイリオ"/>
                          <a:cs typeface="メイリオ"/>
                        </a:rPr>
                        <a:t>　</a:t>
                      </a:r>
                      <a:r>
                        <a:rPr lang="en-US" altLang="ja-JP" sz="1400" i="0" baseline="0" dirty="0" smtClean="0">
                          <a:solidFill>
                            <a:srgbClr val="7F7F7F"/>
                          </a:solidFill>
                          <a:latin typeface="メイリオ"/>
                          <a:ea typeface="メイリオ"/>
                          <a:cs typeface="メイリオ"/>
                        </a:rPr>
                        <a:t>1</a:t>
                      </a:r>
                      <a:r>
                        <a:rPr lang="ja-JP" altLang="en-US" sz="1400" i="0" baseline="0" dirty="0" smtClean="0">
                          <a:solidFill>
                            <a:srgbClr val="7F7F7F"/>
                          </a:solidFill>
                          <a:latin typeface="メイリオ"/>
                          <a:ea typeface="メイリオ"/>
                          <a:cs typeface="メイリオ"/>
                        </a:rPr>
                        <a:t>時間毎更新</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lnB>
                      <a:noFill/>
                    </a:lnB>
                  </a:tcPr>
                </a:tc>
              </a:tr>
              <a:tr h="716162">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b="1" dirty="0" smtClean="0">
                          <a:latin typeface="メイリオ"/>
                          <a:ea typeface="メイリオ"/>
                          <a:cs typeface="メイリオ"/>
                        </a:rPr>
                        <a:t>PCI </a:t>
                      </a:r>
                      <a:r>
                        <a:rPr lang="ja-JP" altLang="en-US" sz="1400" b="1" dirty="0" smtClean="0">
                          <a:latin typeface="メイリオ"/>
                          <a:ea typeface="メイリオ"/>
                          <a:cs typeface="メイリオ"/>
                        </a:rPr>
                        <a:t>コンプライアンス</a:t>
                      </a:r>
                      <a:endParaRPr lang="en-US" sz="1400" b="1" dirty="0" smtClean="0">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tcP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i="0" dirty="0" smtClean="0">
                          <a:solidFill>
                            <a:srgbClr val="7F7F7F"/>
                          </a:solidFill>
                          <a:latin typeface="メイリオ"/>
                          <a:ea typeface="メイリオ"/>
                          <a:cs typeface="メイリオ"/>
                        </a:rPr>
                        <a:t>PCI</a:t>
                      </a:r>
                      <a:r>
                        <a:rPr lang="en-US" sz="1400" i="0" baseline="0" dirty="0" smtClean="0">
                          <a:solidFill>
                            <a:srgbClr val="7F7F7F"/>
                          </a:solidFill>
                          <a:latin typeface="メイリオ"/>
                          <a:ea typeface="メイリオ"/>
                          <a:cs typeface="メイリオ"/>
                        </a:rPr>
                        <a:t> 3.1 certified cloud-based management</a:t>
                      </a:r>
                      <a:endParaRPr lang="en-US" sz="1400" i="0" dirty="0" smtClean="0">
                        <a:solidFill>
                          <a:srgbClr val="7F7F7F"/>
                        </a:solidFill>
                        <a:latin typeface="メイリオ"/>
                        <a:ea typeface="メイリオ"/>
                        <a:cs typeface="メイリオ"/>
                      </a:endParaRPr>
                    </a:p>
                  </a:txBody>
                  <a:tcPr marL="68580" marR="68580" marT="34290" marB="102870" anchor="ctr">
                    <a:lnT w="12700" cap="flat" cmpd="sng" algn="ctr">
                      <a:noFill/>
                      <a:prstDash val="solid"/>
                      <a:round/>
                      <a:headEnd type="none" w="med" len="med"/>
                      <a:tailEnd type="none" w="med" len="med"/>
                    </a:lnT>
                  </a:tcPr>
                </a:tc>
              </a:tr>
            </a:tbl>
          </a:graphicData>
        </a:graphic>
      </p:graphicFrame>
      <p:grpSp>
        <p:nvGrpSpPr>
          <p:cNvPr id="7" name="Group 6"/>
          <p:cNvGrpSpPr/>
          <p:nvPr/>
        </p:nvGrpSpPr>
        <p:grpSpPr>
          <a:xfrm>
            <a:off x="4032473" y="984530"/>
            <a:ext cx="4975319" cy="3097222"/>
            <a:chOff x="293988" y="450952"/>
            <a:chExt cx="9925104" cy="5433126"/>
          </a:xfrm>
        </p:grpSpPr>
        <p:pic>
          <p:nvPicPr>
            <p:cNvPr id="8" name="Picture 7"/>
            <p:cNvPicPr>
              <a:picLocks noChangeAspect="1"/>
            </p:cNvPicPr>
            <p:nvPr/>
          </p:nvPicPr>
          <p:blipFill rotWithShape="1">
            <a:blip r:embed="rId3"/>
            <a:srcRect b="27098"/>
            <a:stretch/>
          </p:blipFill>
          <p:spPr>
            <a:xfrm>
              <a:off x="293989" y="470212"/>
              <a:ext cx="9925103" cy="4315395"/>
            </a:xfrm>
            <a:prstGeom prst="rect">
              <a:avLst/>
            </a:prstGeom>
          </p:spPr>
        </p:pic>
        <p:pic>
          <p:nvPicPr>
            <p:cNvPr id="9" name="Picture 8"/>
            <p:cNvPicPr>
              <a:picLocks noChangeAspect="1"/>
            </p:cNvPicPr>
            <p:nvPr/>
          </p:nvPicPr>
          <p:blipFill rotWithShape="1">
            <a:blip r:embed="rId3"/>
            <a:srcRect t="81642"/>
            <a:stretch/>
          </p:blipFill>
          <p:spPr>
            <a:xfrm>
              <a:off x="293989" y="4797379"/>
              <a:ext cx="9925103" cy="1086699"/>
            </a:xfrm>
            <a:prstGeom prst="rect">
              <a:avLst/>
            </a:prstGeom>
          </p:spPr>
        </p:pic>
        <p:sp>
          <p:nvSpPr>
            <p:cNvPr id="10" name="Rectangle 9"/>
            <p:cNvSpPr/>
            <p:nvPr/>
          </p:nvSpPr>
          <p:spPr>
            <a:xfrm>
              <a:off x="293988" y="450952"/>
              <a:ext cx="9925103" cy="5433123"/>
            </a:xfrm>
            <a:prstGeom prst="rect">
              <a:avLst/>
            </a:prstGeom>
            <a:noFill/>
            <a:ln w="6350" cmpd="sng">
              <a:solidFill>
                <a:schemeClr val="bg1">
                  <a:lumMod val="75000"/>
                </a:schemeClr>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dirty="0" smtClean="0">
                <a:latin typeface="メイリオ"/>
                <a:ea typeface="メイリオ"/>
                <a:cs typeface="メイリオ"/>
              </a:endParaRPr>
            </a:p>
          </p:txBody>
        </p:sp>
      </p:grpSp>
      <p:sp>
        <p:nvSpPr>
          <p:cNvPr id="3" name="正方形/長方形 2"/>
          <p:cNvSpPr/>
          <p:nvPr/>
        </p:nvSpPr>
        <p:spPr>
          <a:xfrm>
            <a:off x="5327925" y="4155222"/>
            <a:ext cx="2044149" cy="369332"/>
          </a:xfrm>
          <a:prstGeom prst="rect">
            <a:avLst/>
          </a:prstGeom>
        </p:spPr>
        <p:txBody>
          <a:bodyPr wrap="none">
            <a:spAutoFit/>
          </a:bodyPr>
          <a:lstStyle/>
          <a:p>
            <a:r>
              <a:rPr lang="en-US" altLang="ja-JP" dirty="0">
                <a:solidFill>
                  <a:srgbClr val="2968AF"/>
                </a:solidFill>
                <a:latin typeface="メイリオ"/>
                <a:ea typeface="メイリオ"/>
                <a:cs typeface="メイリオ"/>
              </a:rPr>
              <a:t>Security Reports</a:t>
            </a:r>
            <a:endParaRPr lang="ja-JP" altLang="en-US" dirty="0"/>
          </a:p>
        </p:txBody>
      </p:sp>
    </p:spTree>
    <p:extLst>
      <p:ext uri="{BB962C8B-B14F-4D97-AF65-F5344CB8AC3E}">
        <p14:creationId xmlns:p14="http://schemas.microsoft.com/office/powerpoint/2010/main" val="135467526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err="1" smtClean="0">
                <a:solidFill>
                  <a:srgbClr val="2968AF"/>
                </a:solidFill>
                <a:latin typeface="メイリオ"/>
                <a:ea typeface="メイリオ"/>
                <a:cs typeface="メイリオ"/>
              </a:rPr>
              <a:t>Meraki</a:t>
            </a:r>
            <a:r>
              <a:rPr lang="ja-JP" altLang="en-US" dirty="0" smtClean="0">
                <a:solidFill>
                  <a:srgbClr val="2968AF"/>
                </a:solidFill>
                <a:latin typeface="メイリオ"/>
                <a:ea typeface="メイリオ"/>
                <a:cs typeface="メイリオ"/>
              </a:rPr>
              <a:t> </a:t>
            </a:r>
            <a:r>
              <a:rPr lang="en-US" altLang="ja-JP" dirty="0" smtClean="0">
                <a:solidFill>
                  <a:srgbClr val="2968AF"/>
                </a:solidFill>
                <a:latin typeface="メイリオ"/>
                <a:ea typeface="メイリオ"/>
                <a:cs typeface="メイリオ"/>
              </a:rPr>
              <a:t>MX </a:t>
            </a:r>
            <a:r>
              <a:rPr lang="ja-JP" altLang="en-US" dirty="0" smtClean="0">
                <a:solidFill>
                  <a:srgbClr val="2968AF"/>
                </a:solidFill>
                <a:latin typeface="メイリオ"/>
                <a:ea typeface="メイリオ"/>
                <a:cs typeface="メイリオ"/>
              </a:rPr>
              <a:t>ライセンス</a:t>
            </a:r>
            <a:endParaRPr kumimoji="1" lang="ja-JP" altLang="en-US" dirty="0">
              <a:latin typeface="メイリオ"/>
              <a:ea typeface="メイリオ"/>
              <a:cs typeface="メイリオ"/>
            </a:endParaRPr>
          </a:p>
        </p:txBody>
      </p:sp>
      <p:sp>
        <p:nvSpPr>
          <p:cNvPr id="3" name="Rectangle 20"/>
          <p:cNvSpPr/>
          <p:nvPr/>
        </p:nvSpPr>
        <p:spPr bwMode="auto">
          <a:xfrm>
            <a:off x="464508" y="4245427"/>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4" name="Rectangle 17"/>
          <p:cNvSpPr/>
          <p:nvPr/>
        </p:nvSpPr>
        <p:spPr bwMode="auto">
          <a:xfrm>
            <a:off x="4819466" y="1879670"/>
            <a:ext cx="3994335"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5" name="Rectangle 18"/>
          <p:cNvSpPr/>
          <p:nvPr/>
        </p:nvSpPr>
        <p:spPr bwMode="auto">
          <a:xfrm>
            <a:off x="4819466" y="2352588"/>
            <a:ext cx="3994335"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6" name="Rectangle 19"/>
          <p:cNvSpPr/>
          <p:nvPr/>
        </p:nvSpPr>
        <p:spPr bwMode="auto">
          <a:xfrm>
            <a:off x="4819466" y="2825506"/>
            <a:ext cx="3994335"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7" name="Rectangle 2"/>
          <p:cNvSpPr/>
          <p:nvPr/>
        </p:nvSpPr>
        <p:spPr bwMode="auto">
          <a:xfrm>
            <a:off x="464508" y="1406752"/>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8" name="Rectangle 11"/>
          <p:cNvSpPr/>
          <p:nvPr/>
        </p:nvSpPr>
        <p:spPr bwMode="auto">
          <a:xfrm>
            <a:off x="464508" y="1879670"/>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9" name="Rectangle 13"/>
          <p:cNvSpPr/>
          <p:nvPr/>
        </p:nvSpPr>
        <p:spPr bwMode="auto">
          <a:xfrm>
            <a:off x="464508" y="2352588"/>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10" name="Rectangle 14"/>
          <p:cNvSpPr/>
          <p:nvPr/>
        </p:nvSpPr>
        <p:spPr bwMode="auto">
          <a:xfrm>
            <a:off x="464508" y="2825506"/>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11" name="Rectangle 15"/>
          <p:cNvSpPr/>
          <p:nvPr/>
        </p:nvSpPr>
        <p:spPr bwMode="auto">
          <a:xfrm>
            <a:off x="464508" y="3298424"/>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12" name="Rectangle 16"/>
          <p:cNvSpPr/>
          <p:nvPr/>
        </p:nvSpPr>
        <p:spPr bwMode="auto">
          <a:xfrm>
            <a:off x="464508" y="3771340"/>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pic>
        <p:nvPicPr>
          <p:cNvPr id="13"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2120" y="768768"/>
            <a:ext cx="1003660" cy="574384"/>
          </a:xfrm>
          <a:prstGeom prst="rect">
            <a:avLst/>
          </a:prstGeom>
        </p:spPr>
      </p:pic>
      <p:cxnSp>
        <p:nvCxnSpPr>
          <p:cNvPr id="14" name="Straight Connector 7"/>
          <p:cNvCxnSpPr/>
          <p:nvPr/>
        </p:nvCxnSpPr>
        <p:spPr bwMode="auto">
          <a:xfrm>
            <a:off x="4585368" y="1278646"/>
            <a:ext cx="0" cy="3561356"/>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p:spPr>
      </p:cxnSp>
      <p:sp>
        <p:nvSpPr>
          <p:cNvPr id="15" name="TextBox 8"/>
          <p:cNvSpPr txBox="1"/>
          <p:nvPr/>
        </p:nvSpPr>
        <p:spPr>
          <a:xfrm>
            <a:off x="1125780" y="848264"/>
            <a:ext cx="2916509" cy="369332"/>
          </a:xfrm>
          <a:prstGeom prst="rect">
            <a:avLst/>
          </a:prstGeom>
          <a:noFill/>
        </p:spPr>
        <p:txBody>
          <a:bodyPr wrap="square" rtlCol="0">
            <a:spAutoFit/>
          </a:bodyPr>
          <a:lstStyle/>
          <a:p>
            <a:r>
              <a:rPr lang="en-US" b="1" dirty="0" smtClean="0">
                <a:latin typeface="メイリオ"/>
                <a:ea typeface="メイリオ"/>
                <a:cs typeface="メイリオ"/>
              </a:rPr>
              <a:t>Enterprise </a:t>
            </a:r>
            <a:r>
              <a:rPr lang="ja-JP" altLang="en-US" b="1" dirty="0" smtClean="0">
                <a:latin typeface="メイリオ"/>
                <a:ea typeface="メイリオ"/>
                <a:cs typeface="メイリオ"/>
              </a:rPr>
              <a:t>ライセンス</a:t>
            </a:r>
            <a:endParaRPr lang="en-US" b="1" dirty="0">
              <a:latin typeface="メイリオ"/>
              <a:ea typeface="メイリオ"/>
              <a:cs typeface="メイリオ"/>
            </a:endParaRPr>
          </a:p>
        </p:txBody>
      </p:sp>
      <p:sp>
        <p:nvSpPr>
          <p:cNvPr id="17" name="TextBox 10"/>
          <p:cNvSpPr txBox="1"/>
          <p:nvPr/>
        </p:nvSpPr>
        <p:spPr>
          <a:xfrm>
            <a:off x="5704050" y="768768"/>
            <a:ext cx="2621257" cy="646331"/>
          </a:xfrm>
          <a:prstGeom prst="rect">
            <a:avLst/>
          </a:prstGeom>
          <a:noFill/>
        </p:spPr>
        <p:txBody>
          <a:bodyPr wrap="square" rtlCol="0">
            <a:spAutoFit/>
          </a:bodyPr>
          <a:lstStyle/>
          <a:p>
            <a:r>
              <a:rPr lang="en-US" b="1" dirty="0" smtClean="0">
                <a:latin typeface="メイリオ"/>
                <a:ea typeface="メイリオ"/>
                <a:cs typeface="メイリオ"/>
              </a:rPr>
              <a:t>Advanced Security </a:t>
            </a:r>
            <a:r>
              <a:rPr lang="en-US" b="1" dirty="0">
                <a:latin typeface="メイリオ"/>
                <a:ea typeface="メイリオ"/>
                <a:cs typeface="メイリオ"/>
              </a:rPr>
              <a:t/>
            </a:r>
            <a:br>
              <a:rPr lang="en-US" b="1" dirty="0">
                <a:latin typeface="メイリオ"/>
                <a:ea typeface="メイリオ"/>
                <a:cs typeface="メイリオ"/>
              </a:rPr>
            </a:br>
            <a:r>
              <a:rPr lang="ja-JP" altLang="en-US" b="1" dirty="0" smtClean="0">
                <a:latin typeface="メイリオ"/>
                <a:ea typeface="メイリオ"/>
                <a:cs typeface="メイリオ"/>
              </a:rPr>
              <a:t>ライセンス</a:t>
            </a:r>
            <a:endParaRPr lang="en-US" b="1" dirty="0">
              <a:latin typeface="メイリオ"/>
              <a:ea typeface="メイリオ"/>
              <a:cs typeface="メイリオ"/>
            </a:endParaRPr>
          </a:p>
        </p:txBody>
      </p:sp>
      <p:sp>
        <p:nvSpPr>
          <p:cNvPr id="18" name="Rectangle 12"/>
          <p:cNvSpPr/>
          <p:nvPr/>
        </p:nvSpPr>
        <p:spPr>
          <a:xfrm>
            <a:off x="4821140" y="1406752"/>
            <a:ext cx="3992660" cy="1785104"/>
          </a:xfrm>
          <a:prstGeom prst="rect">
            <a:avLst/>
          </a:prstGeom>
        </p:spPr>
        <p:txBody>
          <a:bodyPr wrap="square">
            <a:spAutoFit/>
          </a:bodyPr>
          <a:lstStyle/>
          <a:p>
            <a:r>
              <a:rPr lang="en-US" sz="1600" b="1" dirty="0" smtClean="0">
                <a:solidFill>
                  <a:srgbClr val="7AC142"/>
                </a:solidFill>
                <a:latin typeface="メイリオ"/>
                <a:ea typeface="メイリオ"/>
                <a:cs typeface="メイリオ"/>
              </a:rPr>
              <a:t>All Enterprise features, plus</a:t>
            </a:r>
          </a:p>
          <a:p>
            <a:endParaRPr lang="en-US" sz="1600" dirty="0">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コンテンツフィルタリング</a:t>
            </a:r>
            <a:r>
              <a:rPr lang="en-US" sz="1600" dirty="0" smtClean="0">
                <a:solidFill>
                  <a:srgbClr val="595959"/>
                </a:solidFill>
                <a:latin typeface="メイリオ"/>
                <a:ea typeface="メイリオ"/>
                <a:cs typeface="メイリオ"/>
              </a:rPr>
              <a:t> </a:t>
            </a:r>
            <a:endParaRPr lang="en-US" sz="1600" dirty="0">
              <a:solidFill>
                <a:srgbClr val="595959"/>
              </a:solidFill>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アンチウィルス</a:t>
            </a:r>
            <a:r>
              <a:rPr lang="en-US" sz="1600" dirty="0" smtClean="0">
                <a:solidFill>
                  <a:srgbClr val="595959"/>
                </a:solidFill>
                <a:latin typeface="メイリオ"/>
                <a:ea typeface="メイリオ"/>
                <a:cs typeface="メイリオ"/>
              </a:rPr>
              <a:t>-</a:t>
            </a:r>
            <a:r>
              <a:rPr lang="ja-JP" altLang="en-US" sz="1600" dirty="0" smtClean="0">
                <a:solidFill>
                  <a:srgbClr val="595959"/>
                </a:solidFill>
                <a:latin typeface="メイリオ"/>
                <a:ea typeface="メイリオ"/>
                <a:cs typeface="メイリオ"/>
              </a:rPr>
              <a:t>アンチフィッシング</a:t>
            </a:r>
          </a:p>
          <a:p>
            <a:pPr>
              <a:spcAft>
                <a:spcPts val="1800"/>
              </a:spcAft>
            </a:pPr>
            <a:r>
              <a:rPr lang="ja-JP" altLang="en-US" sz="1600" dirty="0" smtClean="0">
                <a:solidFill>
                  <a:srgbClr val="595959"/>
                </a:solidFill>
                <a:latin typeface="メイリオ"/>
                <a:ea typeface="メイリオ"/>
                <a:cs typeface="メイリオ"/>
              </a:rPr>
              <a:t>侵入検知</a:t>
            </a:r>
            <a:r>
              <a:rPr lang="en-US" altLang="ja-JP" sz="1600" dirty="0" smtClean="0">
                <a:solidFill>
                  <a:srgbClr val="595959"/>
                </a:solidFill>
                <a:latin typeface="メイリオ"/>
                <a:ea typeface="メイリオ"/>
                <a:cs typeface="メイリオ"/>
              </a:rPr>
              <a:t> / </a:t>
            </a:r>
            <a:r>
              <a:rPr lang="ja-JP" altLang="en-US" sz="1600" dirty="0" smtClean="0">
                <a:solidFill>
                  <a:srgbClr val="595959"/>
                </a:solidFill>
                <a:latin typeface="メイリオ"/>
                <a:ea typeface="メイリオ"/>
                <a:cs typeface="メイリオ"/>
              </a:rPr>
              <a:t>防御</a:t>
            </a:r>
            <a:endParaRPr lang="en-US" sz="1600" dirty="0" smtClean="0">
              <a:solidFill>
                <a:srgbClr val="595959"/>
              </a:solidFill>
              <a:latin typeface="メイリオ"/>
              <a:ea typeface="メイリオ"/>
              <a:cs typeface="メイリオ"/>
            </a:endParaRPr>
          </a:p>
        </p:txBody>
      </p:sp>
      <p:sp>
        <p:nvSpPr>
          <p:cNvPr id="19" name="Rectangle 21"/>
          <p:cNvSpPr/>
          <p:nvPr/>
        </p:nvSpPr>
        <p:spPr bwMode="auto">
          <a:xfrm>
            <a:off x="462028" y="4723117"/>
            <a:ext cx="3899751" cy="352794"/>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tx1"/>
              </a:solidFill>
              <a:effectLst/>
              <a:latin typeface="メイリオ"/>
              <a:ea typeface="メイリオ"/>
              <a:cs typeface="メイリオ"/>
            </a:endParaRPr>
          </a:p>
        </p:txBody>
      </p:sp>
      <p:sp>
        <p:nvSpPr>
          <p:cNvPr id="20" name="TextBox 4"/>
          <p:cNvSpPr txBox="1"/>
          <p:nvPr/>
        </p:nvSpPr>
        <p:spPr>
          <a:xfrm>
            <a:off x="473471" y="1401295"/>
            <a:ext cx="3861651" cy="3677930"/>
          </a:xfrm>
          <a:prstGeom prst="rect">
            <a:avLst/>
          </a:prstGeom>
          <a:noFill/>
        </p:spPr>
        <p:txBody>
          <a:bodyPr wrap="square" rtlCol="0">
            <a:spAutoFit/>
          </a:bodyPr>
          <a:lstStyle/>
          <a:p>
            <a:pPr>
              <a:spcAft>
                <a:spcPts val="1800"/>
              </a:spcAft>
            </a:pPr>
            <a:r>
              <a:rPr lang="en-US" sz="1600" dirty="0" smtClean="0">
                <a:solidFill>
                  <a:srgbClr val="595959"/>
                </a:solidFill>
                <a:latin typeface="メイリオ"/>
                <a:ea typeface="メイリオ"/>
                <a:cs typeface="メイリオ"/>
              </a:rPr>
              <a:t>ステートフルファイアウォール</a:t>
            </a:r>
          </a:p>
          <a:p>
            <a:pPr>
              <a:spcAft>
                <a:spcPts val="1800"/>
              </a:spcAft>
            </a:pPr>
            <a:r>
              <a:rPr lang="ja-JP" altLang="en-US" sz="1600" dirty="0" smtClean="0">
                <a:solidFill>
                  <a:srgbClr val="595959"/>
                </a:solidFill>
                <a:latin typeface="メイリオ"/>
                <a:ea typeface="メイリオ"/>
                <a:cs typeface="メイリオ"/>
              </a:rPr>
              <a:t>サイト間</a:t>
            </a:r>
            <a:r>
              <a:rPr lang="en-US" sz="1600" dirty="0" smtClean="0">
                <a:solidFill>
                  <a:srgbClr val="595959"/>
                </a:solidFill>
                <a:latin typeface="メイリオ"/>
                <a:ea typeface="メイリオ"/>
                <a:cs typeface="メイリオ"/>
              </a:rPr>
              <a:t> </a:t>
            </a:r>
            <a:r>
              <a:rPr lang="en-US" sz="1600" dirty="0">
                <a:solidFill>
                  <a:srgbClr val="595959"/>
                </a:solidFill>
                <a:latin typeface="メイリオ"/>
                <a:ea typeface="メイリオ"/>
                <a:cs typeface="メイリオ"/>
              </a:rPr>
              <a:t>VPN</a:t>
            </a:r>
          </a:p>
          <a:p>
            <a:pPr>
              <a:spcAft>
                <a:spcPts val="1800"/>
              </a:spcAft>
            </a:pPr>
            <a:r>
              <a:rPr lang="ja-JP" altLang="en-US" sz="1600" dirty="0" smtClean="0">
                <a:solidFill>
                  <a:srgbClr val="595959"/>
                </a:solidFill>
                <a:latin typeface="メイリオ"/>
                <a:ea typeface="メイリオ"/>
                <a:cs typeface="メイリオ"/>
              </a:rPr>
              <a:t>ブランチルーティング</a:t>
            </a:r>
            <a:endParaRPr lang="en-US" sz="1600" dirty="0">
              <a:solidFill>
                <a:srgbClr val="595959"/>
              </a:solidFill>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リンクボンディング ファイルオーバー</a:t>
            </a:r>
            <a:endParaRPr lang="en-US" altLang="ja-JP" sz="1600" dirty="0" smtClean="0">
              <a:solidFill>
                <a:srgbClr val="595959"/>
              </a:solidFill>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アプリケーションコントロール</a:t>
            </a:r>
            <a:endParaRPr lang="en-US" sz="1600" dirty="0" smtClean="0">
              <a:solidFill>
                <a:srgbClr val="595959"/>
              </a:solidFill>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ウェブキャッシング</a:t>
            </a:r>
            <a:endParaRPr lang="en-US" sz="1600" dirty="0" smtClean="0">
              <a:solidFill>
                <a:srgbClr val="595959"/>
              </a:solidFill>
              <a:latin typeface="メイリオ"/>
              <a:ea typeface="メイリオ"/>
              <a:cs typeface="メイリオ"/>
            </a:endParaRPr>
          </a:p>
          <a:p>
            <a:pPr>
              <a:spcAft>
                <a:spcPts val="1800"/>
              </a:spcAft>
            </a:pPr>
            <a:r>
              <a:rPr lang="en-US" sz="1600" dirty="0" smtClean="0">
                <a:solidFill>
                  <a:srgbClr val="595959"/>
                </a:solidFill>
                <a:latin typeface="メイリオ"/>
                <a:ea typeface="メイリオ"/>
                <a:cs typeface="メイリオ"/>
              </a:rPr>
              <a:t>WAN </a:t>
            </a:r>
            <a:r>
              <a:rPr lang="ja-JP" altLang="en-US" sz="1600" dirty="0" smtClean="0">
                <a:solidFill>
                  <a:srgbClr val="595959"/>
                </a:solidFill>
                <a:latin typeface="メイリオ"/>
                <a:ea typeface="メイリオ"/>
                <a:cs typeface="メイリオ"/>
              </a:rPr>
              <a:t>オプチマイゼーション</a:t>
            </a:r>
            <a:endParaRPr lang="en-US" sz="1600" dirty="0" smtClean="0">
              <a:solidFill>
                <a:srgbClr val="595959"/>
              </a:solidFill>
              <a:latin typeface="メイリオ"/>
              <a:ea typeface="メイリオ"/>
              <a:cs typeface="メイリオ"/>
            </a:endParaRPr>
          </a:p>
          <a:p>
            <a:pPr>
              <a:spcAft>
                <a:spcPts val="1800"/>
              </a:spcAft>
            </a:pPr>
            <a:r>
              <a:rPr lang="ja-JP" altLang="en-US" sz="1600" dirty="0" smtClean="0">
                <a:solidFill>
                  <a:srgbClr val="595959"/>
                </a:solidFill>
                <a:latin typeface="メイリオ"/>
                <a:ea typeface="メイリオ"/>
                <a:cs typeface="メイリオ"/>
              </a:rPr>
              <a:t>クライアント</a:t>
            </a:r>
            <a:r>
              <a:rPr lang="en-US" sz="1600" dirty="0" smtClean="0">
                <a:solidFill>
                  <a:srgbClr val="595959"/>
                </a:solidFill>
                <a:latin typeface="メイリオ"/>
                <a:ea typeface="メイリオ"/>
                <a:cs typeface="メイリオ"/>
              </a:rPr>
              <a:t>VPN</a:t>
            </a:r>
          </a:p>
        </p:txBody>
      </p:sp>
      <p:pic>
        <p:nvPicPr>
          <p:cNvPr id="21"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85368" y="740935"/>
            <a:ext cx="1003660" cy="574384"/>
          </a:xfrm>
          <a:prstGeom prst="rect">
            <a:avLst/>
          </a:prstGeom>
        </p:spPr>
      </p:pic>
    </p:spTree>
    <p:extLst>
      <p:ext uri="{BB962C8B-B14F-4D97-AF65-F5344CB8AC3E}">
        <p14:creationId xmlns:p14="http://schemas.microsoft.com/office/powerpoint/2010/main" val="200146984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4 16x9</Template>
  <TotalTime>67110</TotalTime>
  <Words>3836</Words>
  <Application>Microsoft Macintosh PowerPoint</Application>
  <PresentationFormat>画面に合わせる (16:9)</PresentationFormat>
  <Paragraphs>664</Paragraphs>
  <Slides>44</Slides>
  <Notes>33</Notes>
  <HiddenSlides>1</HiddenSlides>
  <MMClips>0</MMClips>
  <ScaleCrop>false</ScaleCrop>
  <HeadingPairs>
    <vt:vector size="6" baseType="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46" baseType="lpstr">
      <vt:lpstr>Blue theme 2014 16x9</vt:lpstr>
      <vt:lpstr>think-cell Slide</vt:lpstr>
      <vt:lpstr> クラウドベースのセキュリティ管理</vt:lpstr>
      <vt:lpstr>アジェンダ</vt:lpstr>
      <vt:lpstr>Meraki MX Update</vt:lpstr>
      <vt:lpstr>Cisco Meraki：製品サービスと特長</vt:lpstr>
      <vt:lpstr>マルチサイト管理に対応</vt:lpstr>
      <vt:lpstr>Meraki 世界初、エンタープライズ向けクラウド管理によるネットワークシステム</vt:lpstr>
      <vt:lpstr>MX セキュリティ アプライアンス</vt:lpstr>
      <vt:lpstr>Meraki MX セキュリティ機能</vt:lpstr>
      <vt:lpstr>Meraki MX ライセンス</vt:lpstr>
      <vt:lpstr>Meraki MX アップデート </vt:lpstr>
      <vt:lpstr>MX IWAN 機能</vt:lpstr>
      <vt:lpstr>MX65 / MX65W – Branch in a box</vt:lpstr>
      <vt:lpstr>AMP on MX </vt:lpstr>
      <vt:lpstr>MX AMP の構成</vt:lpstr>
      <vt:lpstr>Security Center (Security Reports を変更)</vt:lpstr>
      <vt:lpstr>Meraki MX セキュリティ機能 – New -</vt:lpstr>
      <vt:lpstr>The 2016 MX ファミリー</vt:lpstr>
      <vt:lpstr>ロードマップ、その他..</vt:lpstr>
      <vt:lpstr>今後の予定</vt:lpstr>
      <vt:lpstr>Cisco Meraki の無料体験サービス</vt:lpstr>
      <vt:lpstr>次のステップ</vt:lpstr>
      <vt:lpstr>リソース</vt:lpstr>
      <vt:lpstr>Meraki MX Update まとめ</vt:lpstr>
      <vt:lpstr>Q&amp;A</vt:lpstr>
      <vt:lpstr>Cisco Defense Orchestrator</vt:lpstr>
      <vt:lpstr>Cisco Defense Orchestrator (CDO) とは</vt:lpstr>
      <vt:lpstr>「次世代」ソリューションを簡単に管理</vt:lpstr>
      <vt:lpstr>セキュリティポリシーマネージメント</vt:lpstr>
      <vt:lpstr>オンボーディング</vt:lpstr>
      <vt:lpstr>Search – 簡単にどのポリシーがどこで適用されてるかを可視化</vt:lpstr>
      <vt:lpstr>ポリシーやオブジェクトを効果的に分析</vt:lpstr>
      <vt:lpstr>ポリシーやオブジェクトを効果的に分析</vt:lpstr>
      <vt:lpstr>ポリシーやオブジェクトを効果的に分析</vt:lpstr>
      <vt:lpstr>テンプレート</vt:lpstr>
      <vt:lpstr>レポート – ネットワークセキュリティ全体での可視化</vt:lpstr>
      <vt:lpstr>CDO でお客様の課題を解決</vt:lpstr>
      <vt:lpstr>デモ</vt:lpstr>
      <vt:lpstr>ロードマップ、その他</vt:lpstr>
      <vt:lpstr>CDOの これまで と これから!</vt:lpstr>
      <vt:lpstr>Cisco Defense Orchestrator まとめ </vt:lpstr>
      <vt:lpstr>リファレンス</vt:lpstr>
      <vt:lpstr>Q&amp;A</vt:lpstr>
      <vt:lpstr>PowerPoint プレゼンテーション</vt:lpstr>
      <vt:lpstr>CDO: サポートデバイス         as of Jun/29/2016  </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Kirsten Lemmons</dc:creator>
  <cp:lastModifiedBy>Sato Tetsu</cp:lastModifiedBy>
  <cp:revision>222</cp:revision>
  <cp:lastPrinted>2016-01-05T16:55:54Z</cp:lastPrinted>
  <dcterms:created xsi:type="dcterms:W3CDTF">2014-12-11T18:27:23Z</dcterms:created>
  <dcterms:modified xsi:type="dcterms:W3CDTF">2016-07-01T07:18:23Z</dcterms:modified>
</cp:coreProperties>
</file>